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65.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32.xml" ContentType="application/vnd.openxmlformats-officedocument.presentationml.slideLayout+xml"/>
  <Override PartName="/ppt/slideLayouts/slideLayout34.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33.xml" ContentType="application/vnd.openxmlformats-officedocument.presentationml.slideLayout+xml"/>
  <Override PartName="/ppt/slideLayouts/slideLayout50.xml" ContentType="application/vnd.openxmlformats-officedocument.presentationml.slideLayout+xml"/>
  <Override PartName="/ppt/slideLayouts/slideLayout48.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9.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5.xml" ContentType="application/vnd.openxmlformats-officedocument.presentationml.tags+xml"/>
  <Override PartName="/ppt/tags/tag60.xml" ContentType="application/vnd.openxmlformats-officedocument.presentationml.tags+xml"/>
  <Override PartName="/ppt/tags/tag13.xml" ContentType="application/vnd.openxmlformats-officedocument.presentationml.tags+xml"/>
  <Override PartName="/ppt/tags/tag64.xml" ContentType="application/vnd.openxmlformats-officedocument.presentationml.tags+xml"/>
  <Override PartName="/ppt/tags/tag14.xml" ContentType="application/vnd.openxmlformats-officedocument.presentationml.tags+xml"/>
  <Override PartName="/ppt/tags/tag72.xml" ContentType="application/vnd.openxmlformats-officedocument.presentationml.tags+xml"/>
  <Override PartName="/ppt/tags/tag20.xml" ContentType="application/vnd.openxmlformats-officedocument.presentationml.tags+xml"/>
  <Override PartName="/ppt/tags/tag17.xml" ContentType="application/vnd.openxmlformats-officedocument.presentationml.tags+xml"/>
  <Override PartName="/ppt/tags/tag22.xml" ContentType="application/vnd.openxmlformats-officedocument.presentationml.tags+xml"/>
  <Override PartName="/ppt/tags/tag73.xml" ContentType="application/vnd.openxmlformats-officedocument.presentationml.tags+xml"/>
  <Override PartName="/ppt/tags/tag21.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6.xml" ContentType="application/vnd.openxmlformats-officedocument.presentationml.tags+xml"/>
  <Override PartName="/ppt/tags/tag10.xml" ContentType="application/vnd.openxmlformats-officedocument.presentationml.tags+xml"/>
  <Override PartName="/ppt/tags/tag12.xml" ContentType="application/vnd.openxmlformats-officedocument.presentationml.tags+xml"/>
  <Override PartName="/ppt/tags/tag3.xml" ContentType="application/vnd.openxmlformats-officedocument.presentationml.tags+xml"/>
  <Override PartName="/ppt/tags/tag66.xml" ContentType="application/vnd.openxmlformats-officedocument.presentationml.tags+xml"/>
  <Override PartName="/ppt/tags/tag2.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1.xml" ContentType="application/vnd.openxmlformats-officedocument.presentationml.tags+xml"/>
  <Override PartName="/ppt/tags/tag11.xml" ContentType="application/vnd.openxmlformats-officedocument.presentationml.tags+xml"/>
  <Override PartName="/ppt/tags/tag23.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65.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75.xml" ContentType="application/vnd.openxmlformats-officedocument.presentationml.tags+xml"/>
  <Override PartName="/ppt/tags/tag47.xml" ContentType="application/vnd.openxmlformats-officedocument.presentationml.tags+xml"/>
  <Override PartName="/ppt/tags/tag54.xml" ContentType="application/vnd.openxmlformats-officedocument.presentationml.tags+xml"/>
  <Override PartName="/docProps/core.xml" ContentType="application/vnd.openxmlformats-package.core-properties+xml"/>
  <Override PartName="/ppt/tags/tag55.xml" ContentType="application/vnd.openxmlformats-officedocument.presentationml.tags+xml"/>
  <Override PartName="/ppt/tags/tag59.xml" ContentType="application/vnd.openxmlformats-officedocument.presentationml.tags+xml"/>
  <Override PartName="/ppt/tags/tag61.xml" ContentType="application/vnd.openxmlformats-officedocument.presentationml.tags+xml"/>
  <Override PartName="/ppt/tags/tag58.xml" ContentType="application/vnd.openxmlformats-officedocument.presentationml.tags+xml"/>
  <Override PartName="/ppt/tags/tag62.xml" ContentType="application/vnd.openxmlformats-officedocument.presentationml.tags+xml"/>
  <Override PartName="/docProps/custom.xml" ContentType="application/vnd.openxmlformats-officedocument.custom-properties+xml"/>
  <Override PartName="/ppt/tags/tag57.xml" ContentType="application/vnd.openxmlformats-officedocument.presentationml.tags+xml"/>
  <Override PartName="/docProps/app.xml" ContentType="application/vnd.openxmlformats-officedocument.extended-properties+xml"/>
  <Override PartName="/ppt/tags/tag56.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63.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74.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2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8"/>
  </p:notesMasterIdLst>
  <p:handoutMasterIdLst>
    <p:handoutMasterId r:id="rId9"/>
  </p:handoutMasterIdLst>
  <p:sldIdLst>
    <p:sldId id="276" r:id="rId2"/>
    <p:sldId id="281" r:id="rId3"/>
    <p:sldId id="277" r:id="rId4"/>
    <p:sldId id="282" r:id="rId5"/>
    <p:sldId id="283" r:id="rId6"/>
    <p:sldId id="279" r:id="rId7"/>
  </p:sldIdLst>
  <p:sldSz cx="12192000" cy="6858000"/>
  <p:notesSz cx="9236075" cy="6950075"/>
  <p:custShowLst>
    <p:custShow name="Format Guide Workshop" id="0">
      <p:sldLst/>
    </p:custShow>
  </p:custShowLst>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AD93"/>
    <a:srgbClr val="E4E4E4"/>
    <a:srgbClr val="C9C9C9"/>
    <a:srgbClr val="AFAFAF"/>
    <a:srgbClr val="797979"/>
    <a:srgbClr val="5B5B5B"/>
    <a:srgbClr val="A0D9BC"/>
    <a:srgbClr val="FFFF66"/>
    <a:srgbClr val="D7D7D7"/>
    <a:srgbClr val="BFB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6187" autoAdjust="0"/>
  </p:normalViewPr>
  <p:slideViewPr>
    <p:cSldViewPr snapToGrid="0">
      <p:cViewPr varScale="1">
        <p:scale>
          <a:sx n="117" d="100"/>
          <a:sy n="117" d="100"/>
        </p:scale>
        <p:origin x="400" y="17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17"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customXml" Target="../customXml/item1.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1/20/19</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1/20/19</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5.png"/><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5.v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0.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4.png"/><Relationship Id="rId2" Type="http://schemas.openxmlformats.org/officeDocument/2006/relationships/tags" Target="../tags/tag5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4.png"/><Relationship Id="rId2" Type="http://schemas.openxmlformats.org/officeDocument/2006/relationships/tags" Target="../tags/tag6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b="23056"/>
          <a:stretch/>
        </p:blipFill>
        <p:spPr>
          <a:xfrm>
            <a:off x="0" y="0"/>
            <a:ext cx="12192000" cy="5276850"/>
          </a:xfrm>
          <a:prstGeom prst="rect">
            <a:avLst/>
          </a:prstGeom>
        </p:spPr>
      </p:pic>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19" name="Rectangle 18"/>
          <p:cNvSpPr/>
          <p:nvPr userDrawn="1"/>
        </p:nvSpPr>
        <p:spPr bwMode="black">
          <a:xfrm>
            <a:off x="630936" y="626200"/>
            <a:ext cx="8125200" cy="5529600"/>
          </a:xfrm>
          <a:prstGeom prst="rect">
            <a:avLst/>
          </a:prstGeom>
          <a:gradFill flip="none" rotWithShape="1">
            <a:gsLst>
              <a:gs pos="0">
                <a:srgbClr val="97DF65">
                  <a:alpha val="89804"/>
                </a:srgbClr>
              </a:gs>
              <a:gs pos="100000">
                <a:srgbClr val="60C090">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8"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rgbClr val="575757"/>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9"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0"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dirty="0"/>
              <a:t>Click to edit Master title style</a:t>
            </a:r>
          </a:p>
        </p:txBody>
      </p:sp>
      <p:pic>
        <p:nvPicPr>
          <p:cNvPr id="31" name="Picture 3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9325" y="885825"/>
            <a:ext cx="3032202" cy="848410"/>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60C090"/>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60C090"/>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60C090"/>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60C090"/>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60C090"/>
              </a:gs>
              <a:gs pos="100000">
                <a:srgbClr val="97DF6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60C090"/>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44AD9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44AD93"/>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1564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60C090"/>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Rectangle 9"/>
          <p:cNvSpPr/>
          <p:nvPr userDrawn="1"/>
        </p:nvSpPr>
        <p:spPr bwMode="black">
          <a:xfrm>
            <a:off x="626289" y="626321"/>
            <a:ext cx="5610517" cy="5532504"/>
          </a:xfrm>
          <a:prstGeom prst="rect">
            <a:avLst/>
          </a:prstGeom>
          <a:gradFill flip="none" rotWithShape="1">
            <a:gsLst>
              <a:gs pos="0">
                <a:srgbClr val="97DF65">
                  <a:alpha val="89804"/>
                </a:srgbClr>
              </a:gs>
              <a:gs pos="100000">
                <a:srgbClr val="60C090">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6" name="TextBox 15"/>
          <p:cNvSpPr txBox="1"/>
          <p:nvPr userDrawn="1"/>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2175" y="2692143"/>
            <a:ext cx="5006648" cy="1400860"/>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b="23056"/>
          <a:stretch/>
        </p:blipFill>
        <p:spPr>
          <a:xfrm>
            <a:off x="0" y="0"/>
            <a:ext cx="12192000" cy="5276850"/>
          </a:xfrm>
          <a:prstGeom prst="rect">
            <a:avLst/>
          </a:prstGeom>
        </p:spPr>
      </p:pic>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19" name="Rectangle 18"/>
          <p:cNvSpPr/>
          <p:nvPr userDrawn="1"/>
        </p:nvSpPr>
        <p:spPr bwMode="black">
          <a:xfrm>
            <a:off x="630936" y="626200"/>
            <a:ext cx="8125200" cy="5529600"/>
          </a:xfrm>
          <a:prstGeom prst="rect">
            <a:avLst/>
          </a:prstGeom>
          <a:gradFill flip="none" rotWithShape="1">
            <a:gsLst>
              <a:gs pos="0">
                <a:srgbClr val="97DF65">
                  <a:alpha val="89804"/>
                </a:srgbClr>
              </a:gs>
              <a:gs pos="100000">
                <a:srgbClr val="60C090">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8"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rgbClr val="575757"/>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9" name="Subtitle 2"/>
          <p:cNvSpPr>
            <a:spLocks noGrp="1"/>
          </p:cNvSpPr>
          <p:nvPr>
            <p:ph type="subTitle" idx="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30" name="Title 1"/>
          <p:cNvSpPr>
            <a:spLocks noGrp="1"/>
          </p:cNvSpPr>
          <p:nvPr>
            <p:ph type="ctrTitle"/>
          </p:nvPr>
        </p:nvSpPr>
        <p:spPr bwMode="ltGray">
          <a:xfrm>
            <a:off x="957600" y="1886242"/>
            <a:ext cx="6868800" cy="3138423"/>
          </a:xfrm>
          <a:prstGeom prst="rect">
            <a:avLst/>
          </a:prstGeom>
        </p:spPr>
        <p:txBody>
          <a:bodyPr anchor="b">
            <a:normAutofit/>
          </a:bodyPr>
          <a:lstStyle>
            <a:lvl1pPr algn="l">
              <a:lnSpc>
                <a:spcPct val="93000"/>
              </a:lnSpc>
              <a:defRPr sz="5400">
                <a:solidFill>
                  <a:schemeClr val="bg1"/>
                </a:solidFill>
                <a:latin typeface="Trebuchet MS" panose="020B0603020202020204" pitchFamily="34" charset="0"/>
                <a:sym typeface="Trebuchet MS" panose="020B0603020202020204" pitchFamily="34" charset="0"/>
              </a:defRPr>
            </a:lvl1pPr>
          </a:lstStyle>
          <a:p>
            <a:r>
              <a:rPr lang="en-US" dirty="0"/>
              <a:t>Click to edit Master title style</a:t>
            </a:r>
          </a:p>
        </p:txBody>
      </p:sp>
      <p:pic>
        <p:nvPicPr>
          <p:cNvPr id="31" name="Picture 3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49325" y="885825"/>
            <a:ext cx="3032202" cy="84841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solidFill>
                  <a:srgbClr val="60C090"/>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60C090"/>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60C090"/>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60C090"/>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60C090"/>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44AD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rgbClr val="60C090"/>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44AD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60C090"/>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60C090"/>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rgbClr val="60C090"/>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60C090"/>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60C090"/>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60C090"/>
                </a:solidFill>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flip="none" rotWithShape="1">
            <a:gsLst>
              <a:gs pos="0">
                <a:srgbClr val="60C090"/>
              </a:gs>
              <a:gs pos="100000">
                <a:srgbClr val="97DF65"/>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60C090"/>
                </a:solidFill>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60C090"/>
              </a:gs>
              <a:gs pos="100000">
                <a:srgbClr val="97DF65"/>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rgbClr val="44AD9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44AD93"/>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215649"/>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60C090"/>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60C090"/>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Rectangle 9"/>
          <p:cNvSpPr/>
          <p:nvPr userDrawn="1"/>
        </p:nvSpPr>
        <p:spPr bwMode="black">
          <a:xfrm>
            <a:off x="626289" y="626321"/>
            <a:ext cx="5610517" cy="5532504"/>
          </a:xfrm>
          <a:prstGeom prst="rect">
            <a:avLst/>
          </a:prstGeom>
          <a:gradFill flip="none" rotWithShape="1">
            <a:gsLst>
              <a:gs pos="0">
                <a:srgbClr val="97DF65">
                  <a:alpha val="89804"/>
                </a:srgbClr>
              </a:gs>
              <a:gs pos="100000">
                <a:srgbClr val="60C090">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6" name="TextBox 15"/>
          <p:cNvSpPr txBox="1"/>
          <p:nvPr userDrawn="1"/>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2175" y="2692143"/>
            <a:ext cx="5006648" cy="1400860"/>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rgbClr val="60C090"/>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rgbClr val="44AD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44AD93"/>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rgbClr val="44AD93"/>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44AD93"/>
                </a:solidFill>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rgbClr val="44AD9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44AD9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44AD93"/>
                </a:solidFill>
              </a:rPr>
              <a:t>Agenda</a:t>
            </a:r>
          </a:p>
        </p:txBody>
      </p:sp>
      <p:cxnSp>
        <p:nvCxnSpPr>
          <p:cNvPr id="9" name="Straight Connector 8"/>
          <p:cNvCxnSpPr/>
          <p:nvPr userDrawn="1"/>
        </p:nvCxnSpPr>
        <p:spPr bwMode="white">
          <a:xfrm>
            <a:off x="618898" y="1206000"/>
            <a:ext cx="11576304" cy="0"/>
          </a:xfrm>
          <a:prstGeom prst="line">
            <a:avLst/>
          </a:prstGeom>
          <a:ln w="9525" cmpd="sng">
            <a:solidFill>
              <a:srgbClr val="44AD93"/>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44AD93"/>
                </a:solidFill>
                <a:latin typeface="Trebuchet MS" panose="020B0603020202020204" pitchFamily="34" charset="0"/>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The Boston Consulting Group, Inc.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The Boston Consulting Group, Inc.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60C090"/>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solidFill>
                <a:latin typeface="+mn-lt"/>
                <a:sym typeface="Trebuchet MS" panose="020B0603020202020204" pitchFamily="34" charset="0"/>
              </a:rPr>
              <a:t>BHI__Drucker forum Ecosystems__v1.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60C090"/>
            </a:gs>
            <a:gs pos="100000">
              <a:srgbClr val="97DF65"/>
            </a:gs>
          </a:gsLst>
          <a:lin ang="8100000" scaled="1"/>
          <a:tileRect/>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The Boston Consulting Group, Inc. All rights reserved.</a:t>
            </a:r>
            <a:endParaRPr lang="en-US" sz="700" dirty="0">
              <a:solidFill>
                <a:schemeClr val="bg1">
                  <a:lumMod val="50000"/>
                </a:schemeClr>
              </a:solidFill>
              <a:latin typeface="+mn-lt"/>
              <a:sym typeface="Trebuchet MS" panose="020B060302020202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de-DE" sz="700">
                <a:solidFill>
                  <a:schemeClr val="bg1">
                    <a:lumMod val="50000"/>
                  </a:schemeClr>
                </a:solidFill>
                <a:latin typeface="+mn-lt"/>
                <a:sym typeface="Trebuchet MS" panose="020B0603020202020204" pitchFamily="34" charset="0"/>
              </a:rPr>
              <a:t>BHI__Drucker forum Ecosystems__v1.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3518717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69" imgW="270" imgH="270" progId="TCLayout.ActiveDocument.1">
                  <p:embed/>
                </p:oleObj>
              </mc:Choice>
              <mc:Fallback>
                <p:oleObj name="think-cell Slide" r:id="rId69" imgW="270" imgH="270" progId="TCLayout.ActiveDocument.1">
                  <p:embed/>
                  <p:pic>
                    <p:nvPicPr>
                      <p:cNvPr id="2" name="Object 1" hidden="1"/>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60C09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60C090"/>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60C090"/>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60C090"/>
        </a:buClr>
        <a:buFont typeface="Arial" panose="020B0604020202020204" pitchFamily="34" charset="0"/>
        <a:buChar char="​"/>
        <a:defRPr lang="en-US" sz="1600" kern="1200">
          <a:solidFill>
            <a:srgbClr val="60C09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60C090"/>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60C090"/>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60C090"/>
        </a:buClr>
        <a:buFont typeface="Arial" panose="020B0604020202020204" pitchFamily="34" charset="0"/>
        <a:buChar char="​"/>
        <a:defRPr lang="en-US" sz="4400" kern="1200" baseline="0" smtClean="0">
          <a:solidFill>
            <a:srgbClr val="575757"/>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60C090"/>
        </a:buClr>
        <a:buFont typeface="Arial" panose="020B0604020202020204" pitchFamily="34" charset="0"/>
        <a:buChar char="​"/>
        <a:defRPr lang="en-US" sz="5400" kern="1200" baseline="0" smtClean="0">
          <a:solidFill>
            <a:srgbClr val="60C09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60C090"/>
        </a:buClr>
        <a:buFont typeface="Arial" panose="020B0604020202020204" pitchFamily="34" charset="0"/>
        <a:buChar char="​"/>
        <a:defRPr lang="en-US" sz="2400" kern="1200" baseline="0" dirty="0">
          <a:solidFill>
            <a:srgbClr val="60C090"/>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2.jpeg"/><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3.jpg"/><Relationship Id="rId2" Type="http://schemas.openxmlformats.org/officeDocument/2006/relationships/tags" Target="../tags/tag70.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17.vml"/><Relationship Id="rId6" Type="http://schemas.openxmlformats.org/officeDocument/2006/relationships/image" Target="../media/image14.emf"/><Relationship Id="rId5" Type="http://schemas.openxmlformats.org/officeDocument/2006/relationships/oleObject" Target="../embeddings/oleObject17.bin"/><Relationship Id="rId4"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18.vml"/><Relationship Id="rId6" Type="http://schemas.openxmlformats.org/officeDocument/2006/relationships/image" Target="../media/image15.emf"/><Relationship Id="rId5" Type="http://schemas.openxmlformats.org/officeDocument/2006/relationships/oleObject" Target="../embeddings/oleObject18.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64759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95" imgH="394" progId="TCLayout.ActiveDocument.1">
                  <p:embed/>
                </p:oleObj>
              </mc:Choice>
              <mc:Fallback>
                <p:oleObj name="think-cell Slide" r:id="rId5" imgW="395" imgH="39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60C090"/>
          </a:solidFill>
          <a:ln w="9525" cap="rnd" cmpd="sng" algn="ctr">
            <a:solidFill>
              <a:srgbClr val="60C09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icture Placeholder 8"/>
          <p:cNvSpPr>
            <a:spLocks noGrp="1"/>
          </p:cNvSpPr>
          <p:nvPr>
            <p:ph type="pic" sz="quarter" idx="13"/>
          </p:nvPr>
        </p:nvSpPr>
        <p:spPr/>
      </p:sp>
      <p:sp>
        <p:nvSpPr>
          <p:cNvPr id="8" name="Text Placeholder 7"/>
          <p:cNvSpPr>
            <a:spLocks noGrp="1"/>
          </p:cNvSpPr>
          <p:nvPr>
            <p:ph type="body" sz="quarter" idx="12"/>
          </p:nvPr>
        </p:nvSpPr>
        <p:spPr/>
        <p:txBody>
          <a:bodyPr/>
          <a:lstStyle/>
          <a:p>
            <a:r>
              <a:rPr lang="en-US" dirty="0"/>
              <a:t>November 2019</a:t>
            </a:r>
          </a:p>
        </p:txBody>
      </p:sp>
      <p:sp>
        <p:nvSpPr>
          <p:cNvPr id="7" name="Subtitle 6"/>
          <p:cNvSpPr>
            <a:spLocks noGrp="1"/>
          </p:cNvSpPr>
          <p:nvPr>
            <p:ph type="subTitle" idx="1"/>
          </p:nvPr>
        </p:nvSpPr>
        <p:spPr/>
        <p:txBody>
          <a:bodyPr/>
          <a:lstStyle/>
          <a:p>
            <a:r>
              <a:rPr lang="en-US" dirty="0"/>
              <a:t>Martin Reeves | Chairman, BCG Henderson Institute </a:t>
            </a:r>
          </a:p>
        </p:txBody>
      </p:sp>
      <p:sp>
        <p:nvSpPr>
          <p:cNvPr id="2" name="Title 1"/>
          <p:cNvSpPr>
            <a:spLocks noGrp="1"/>
          </p:cNvSpPr>
          <p:nvPr>
            <p:ph type="ctrTitle"/>
          </p:nvPr>
        </p:nvSpPr>
        <p:spPr/>
        <p:txBody>
          <a:bodyPr/>
          <a:lstStyle/>
          <a:p>
            <a:r>
              <a:rPr lang="en-US" dirty="0"/>
              <a:t>Ecosystem strategy?</a:t>
            </a:r>
          </a:p>
        </p:txBody>
      </p:sp>
      <p:pic>
        <p:nvPicPr>
          <p:cNvPr id="93186" name="Picture 2" descr="Image result for drucker forum"/>
          <p:cNvPicPr>
            <a:picLocks noChangeAspect="1" noChangeArrowheads="1"/>
          </p:cNvPicPr>
          <p:nvPr/>
        </p:nvPicPr>
        <p:blipFill rotWithShape="1">
          <a:blip r:embed="rId7">
            <a:extLst>
              <a:ext uri="{28A0092B-C50C-407E-A947-70E740481C1C}">
                <a14:useLocalDpi xmlns:a14="http://schemas.microsoft.com/office/drawing/2010/main" val="0"/>
              </a:ext>
            </a:extLst>
          </a:blip>
          <a:srcRect t="24508" b="24508"/>
          <a:stretch/>
        </p:blipFill>
        <p:spPr bwMode="auto">
          <a:xfrm>
            <a:off x="9280526" y="5472731"/>
            <a:ext cx="2143125" cy="10926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290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136476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95" imgH="394" progId="TCLayout.ActiveDocument.1">
                  <p:embed/>
                </p:oleObj>
              </mc:Choice>
              <mc:Fallback>
                <p:oleObj name="think-cell Slide" r:id="rId5" imgW="395" imgH="394"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3"/>
            </p:custDataLst>
          </p:nvPr>
        </p:nvSpPr>
        <p:spPr>
          <a:xfrm>
            <a:off x="0" y="0"/>
            <a:ext cx="158750" cy="158750"/>
          </a:xfrm>
          <a:prstGeom prst="rect">
            <a:avLst/>
          </a:prstGeom>
          <a:solidFill>
            <a:srgbClr val="60C090"/>
          </a:solidFill>
          <a:ln w="9525" cap="rnd" cmpd="sng" algn="ctr">
            <a:solidFill>
              <a:srgbClr val="60C09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p:txBody>
          <a:bodyPr/>
          <a:lstStyle/>
          <a:p>
            <a:r>
              <a:rPr lang="en-US" dirty="0"/>
              <a:t>What is a business ecosystem?</a:t>
            </a:r>
          </a:p>
        </p:txBody>
      </p:sp>
      <p:pic>
        <p:nvPicPr>
          <p:cNvPr id="3" name="Picture 2"/>
          <p:cNvPicPr>
            <a:picLocks noChangeAspect="1"/>
          </p:cNvPicPr>
          <p:nvPr/>
        </p:nvPicPr>
        <p:blipFill rotWithShape="1">
          <a:blip r:embed="rId7">
            <a:clrChange>
              <a:clrFrom>
                <a:srgbClr val="FDF9FA"/>
              </a:clrFrom>
              <a:clrTo>
                <a:srgbClr val="FDF9FA">
                  <a:alpha val="0"/>
                </a:srgbClr>
              </a:clrTo>
            </a:clrChange>
            <a:extLst>
              <a:ext uri="{28A0092B-C50C-407E-A947-70E740481C1C}">
                <a14:useLocalDpi xmlns:a14="http://schemas.microsoft.com/office/drawing/2010/main" val="0"/>
              </a:ext>
            </a:extLst>
          </a:blip>
          <a:srcRect l="16058" t="28971" r="16058" b="26122"/>
          <a:stretch/>
        </p:blipFill>
        <p:spPr>
          <a:xfrm>
            <a:off x="1789063" y="1778000"/>
            <a:ext cx="7940812" cy="2954868"/>
          </a:xfrm>
          <a:prstGeom prst="rect">
            <a:avLst/>
          </a:prstGeom>
        </p:spPr>
      </p:pic>
      <p:pic>
        <p:nvPicPr>
          <p:cNvPr id="4" name="Picture 3"/>
          <p:cNvPicPr>
            <a:picLocks noChangeAspect="1"/>
          </p:cNvPicPr>
          <p:nvPr/>
        </p:nvPicPr>
        <p:blipFill rotWithShape="1">
          <a:blip r:embed="rId7">
            <a:clrChange>
              <a:clrFrom>
                <a:srgbClr val="FDF9FA"/>
              </a:clrFrom>
              <a:clrTo>
                <a:srgbClr val="FDF9FA">
                  <a:alpha val="0"/>
                </a:srgbClr>
              </a:clrTo>
            </a:clrChange>
            <a:extLst>
              <a:ext uri="{28A0092B-C50C-407E-A947-70E740481C1C}">
                <a14:useLocalDpi xmlns:a14="http://schemas.microsoft.com/office/drawing/2010/main" val="0"/>
              </a:ext>
            </a:extLst>
          </a:blip>
          <a:srcRect l="27124" t="84173" r="67736" b="5276"/>
          <a:stretch/>
        </p:blipFill>
        <p:spPr>
          <a:xfrm>
            <a:off x="2342460" y="5410200"/>
            <a:ext cx="601133" cy="694268"/>
          </a:xfrm>
          <a:prstGeom prst="rect">
            <a:avLst/>
          </a:prstGeom>
        </p:spPr>
      </p:pic>
      <p:sp>
        <p:nvSpPr>
          <p:cNvPr id="5" name="TextBox 4"/>
          <p:cNvSpPr txBox="1"/>
          <p:nvPr/>
        </p:nvSpPr>
        <p:spPr>
          <a:xfrm>
            <a:off x="1809981" y="4698999"/>
            <a:ext cx="1870211"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i="1" dirty="0">
                <a:solidFill>
                  <a:srgbClr val="575757"/>
                </a:solidFill>
              </a:rPr>
              <a:t>Vertically</a:t>
            </a:r>
            <a:br>
              <a:rPr lang="en-US" b="1" i="1" dirty="0">
                <a:solidFill>
                  <a:srgbClr val="575757"/>
                </a:solidFill>
              </a:rPr>
            </a:br>
            <a:r>
              <a:rPr lang="en-US" b="1" i="1" dirty="0">
                <a:solidFill>
                  <a:srgbClr val="575757"/>
                </a:solidFill>
              </a:rPr>
              <a:t>integrated</a:t>
            </a:r>
          </a:p>
        </p:txBody>
      </p:sp>
      <p:sp>
        <p:nvSpPr>
          <p:cNvPr id="6" name="TextBox 5"/>
          <p:cNvSpPr txBox="1"/>
          <p:nvPr/>
        </p:nvSpPr>
        <p:spPr>
          <a:xfrm>
            <a:off x="3760137" y="4698999"/>
            <a:ext cx="1870211"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i="1" dirty="0">
                <a:solidFill>
                  <a:srgbClr val="575757"/>
                </a:solidFill>
              </a:rPr>
              <a:t>Static</a:t>
            </a:r>
            <a:br>
              <a:rPr lang="en-US" b="1" i="1" dirty="0">
                <a:solidFill>
                  <a:srgbClr val="575757"/>
                </a:solidFill>
              </a:rPr>
            </a:br>
            <a:r>
              <a:rPr lang="en-US" b="1" i="1" dirty="0">
                <a:solidFill>
                  <a:srgbClr val="575757"/>
                </a:solidFill>
              </a:rPr>
              <a:t>supply chain</a:t>
            </a:r>
          </a:p>
        </p:txBody>
      </p:sp>
      <p:sp>
        <p:nvSpPr>
          <p:cNvPr id="7" name="TextBox 6"/>
          <p:cNvSpPr txBox="1"/>
          <p:nvPr/>
        </p:nvSpPr>
        <p:spPr>
          <a:xfrm>
            <a:off x="5710293" y="4698999"/>
            <a:ext cx="1870211"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i="1" dirty="0">
                <a:solidFill>
                  <a:srgbClr val="575757"/>
                </a:solidFill>
              </a:rPr>
              <a:t>Ecosystem</a:t>
            </a:r>
          </a:p>
        </p:txBody>
      </p:sp>
      <p:sp>
        <p:nvSpPr>
          <p:cNvPr id="8" name="TextBox 7"/>
          <p:cNvSpPr txBox="1"/>
          <p:nvPr/>
        </p:nvSpPr>
        <p:spPr>
          <a:xfrm>
            <a:off x="7660450" y="4698999"/>
            <a:ext cx="1870211"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b="1" i="1" dirty="0">
                <a:solidFill>
                  <a:srgbClr val="575757"/>
                </a:solidFill>
              </a:rPr>
              <a:t>Open market</a:t>
            </a:r>
          </a:p>
        </p:txBody>
      </p:sp>
      <p:pic>
        <p:nvPicPr>
          <p:cNvPr id="9" name="Picture 8"/>
          <p:cNvPicPr>
            <a:picLocks noChangeAspect="1"/>
          </p:cNvPicPr>
          <p:nvPr/>
        </p:nvPicPr>
        <p:blipFill rotWithShape="1">
          <a:blip r:embed="rId7">
            <a:clrChange>
              <a:clrFrom>
                <a:srgbClr val="FDF9FA"/>
              </a:clrFrom>
              <a:clrTo>
                <a:srgbClr val="FDF9FA">
                  <a:alpha val="0"/>
                </a:srgbClr>
              </a:clrTo>
            </a:clrChange>
            <a:extLst>
              <a:ext uri="{28A0092B-C50C-407E-A947-70E740481C1C}">
                <a14:useLocalDpi xmlns:a14="http://schemas.microsoft.com/office/drawing/2010/main" val="0"/>
              </a:ext>
            </a:extLst>
          </a:blip>
          <a:srcRect l="42809" t="85716" r="54753" b="7850"/>
          <a:stretch/>
        </p:blipFill>
        <p:spPr>
          <a:xfrm>
            <a:off x="5132199" y="5545667"/>
            <a:ext cx="285098" cy="423334"/>
          </a:xfrm>
          <a:prstGeom prst="rect">
            <a:avLst/>
          </a:prstGeom>
        </p:spPr>
      </p:pic>
      <p:pic>
        <p:nvPicPr>
          <p:cNvPr id="10" name="Picture 9"/>
          <p:cNvPicPr>
            <a:picLocks noChangeAspect="1"/>
          </p:cNvPicPr>
          <p:nvPr/>
        </p:nvPicPr>
        <p:blipFill rotWithShape="1">
          <a:blip r:embed="rId7">
            <a:clrChange>
              <a:clrFrom>
                <a:srgbClr val="FDF9FA"/>
              </a:clrFrom>
              <a:clrTo>
                <a:srgbClr val="FDF9FA">
                  <a:alpha val="0"/>
                </a:srgbClr>
              </a:clrTo>
            </a:clrChange>
            <a:extLst>
              <a:ext uri="{28A0092B-C50C-407E-A947-70E740481C1C}">
                <a14:useLocalDpi xmlns:a14="http://schemas.microsoft.com/office/drawing/2010/main" val="0"/>
              </a:ext>
            </a:extLst>
          </a:blip>
          <a:srcRect l="57217" t="85716" r="40345" b="7850"/>
          <a:stretch/>
        </p:blipFill>
        <p:spPr>
          <a:xfrm>
            <a:off x="7295406" y="5545667"/>
            <a:ext cx="285098" cy="423334"/>
          </a:xfrm>
          <a:prstGeom prst="rect">
            <a:avLst/>
          </a:prstGeom>
        </p:spPr>
      </p:pic>
      <p:sp>
        <p:nvSpPr>
          <p:cNvPr id="11" name="TextBox 10"/>
          <p:cNvSpPr txBox="1"/>
          <p:nvPr/>
        </p:nvSpPr>
        <p:spPr>
          <a:xfrm>
            <a:off x="2943594" y="5503334"/>
            <a:ext cx="1185332"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i="1" dirty="0">
                <a:solidFill>
                  <a:srgbClr val="575757"/>
                </a:solidFill>
              </a:rPr>
              <a:t>Company</a:t>
            </a:r>
          </a:p>
        </p:txBody>
      </p:sp>
      <p:sp>
        <p:nvSpPr>
          <p:cNvPr id="12" name="TextBox 11"/>
          <p:cNvSpPr txBox="1"/>
          <p:nvPr/>
        </p:nvSpPr>
        <p:spPr>
          <a:xfrm>
            <a:off x="5399386" y="5503334"/>
            <a:ext cx="1376783"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i="1" dirty="0">
                <a:solidFill>
                  <a:srgbClr val="575757"/>
                </a:solidFill>
              </a:rPr>
              <a:t>Consumer</a:t>
            </a:r>
          </a:p>
        </p:txBody>
      </p:sp>
      <p:sp>
        <p:nvSpPr>
          <p:cNvPr id="13" name="TextBox 12"/>
          <p:cNvSpPr txBox="1"/>
          <p:nvPr/>
        </p:nvSpPr>
        <p:spPr>
          <a:xfrm>
            <a:off x="7580504" y="5503334"/>
            <a:ext cx="1376783" cy="50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i="1" dirty="0">
                <a:solidFill>
                  <a:srgbClr val="575757"/>
                </a:solidFill>
              </a:rPr>
              <a:t>Product/</a:t>
            </a:r>
            <a:br>
              <a:rPr lang="en-US" i="1" dirty="0">
                <a:solidFill>
                  <a:srgbClr val="575757"/>
                </a:solidFill>
              </a:rPr>
            </a:br>
            <a:r>
              <a:rPr lang="en-US" i="1" dirty="0">
                <a:solidFill>
                  <a:srgbClr val="575757"/>
                </a:solidFill>
              </a:rPr>
              <a:t>Component</a:t>
            </a:r>
          </a:p>
        </p:txBody>
      </p:sp>
      <p:sp>
        <p:nvSpPr>
          <p:cNvPr id="16" name="Rectangle 15"/>
          <p:cNvSpPr/>
          <p:nvPr/>
        </p:nvSpPr>
        <p:spPr>
          <a:xfrm>
            <a:off x="5642799" y="1913467"/>
            <a:ext cx="1950156" cy="3293532"/>
          </a:xfrm>
          <a:prstGeom prst="rect">
            <a:avLst/>
          </a:prstGeom>
          <a:noFill/>
          <a:ln w="31750" cap="rnd" cmpd="sng" algn="ctr">
            <a:solidFill>
              <a:srgbClr val="0070C0"/>
            </a:solidFill>
            <a:prstDash val="lgDash"/>
            <a:round/>
            <a:headEnd type="none" w="med" len="med"/>
            <a:tailEnd type="none" w="med" len="med"/>
          </a:ln>
          <a:extLst>
            <a:ext uri="{909E8E84-426E-40DD-AFC4-6F175D3DCCD1}">
              <a14:hiddenFill xmlns:a14="http://schemas.microsoft.com/office/drawing/2010/main">
                <a:solidFill>
                  <a:srgbClr val="60C09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8"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575757">
                    <a:lumMod val="100000"/>
                  </a:srgbClr>
                </a:solidFill>
                <a:latin typeface="Trebuchet MS" panose="020B0603020202020204" pitchFamily="34" charset="0"/>
                <a:cs typeface="Arial" pitchFamily="34" charset="0"/>
              </a:rPr>
              <a:t>Source: "Myths and Realities of Business Ecosystems," J. Fuller, M. Jacobides, M. Reeves (SMR, Feb. 2019)</a:t>
            </a:r>
          </a:p>
        </p:txBody>
      </p:sp>
    </p:spTree>
    <p:extLst>
      <p:ext uri="{BB962C8B-B14F-4D97-AF65-F5344CB8AC3E}">
        <p14:creationId xmlns:p14="http://schemas.microsoft.com/office/powerpoint/2010/main" val="819715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5" name="Object 314" hidden="1"/>
          <p:cNvGraphicFramePr>
            <a:graphicFrameLocks noChangeAspect="1"/>
          </p:cNvGraphicFramePr>
          <p:nvPr>
            <p:custDataLst>
              <p:tags r:id="rId2"/>
            </p:custDataLst>
            <p:extLst>
              <p:ext uri="{D42A27DB-BD31-4B8C-83A1-F6EECF244321}">
                <p14:modId xmlns:p14="http://schemas.microsoft.com/office/powerpoint/2010/main" val="3465155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352" imgH="355" progId="TCLayout.ActiveDocument.1">
                  <p:embed/>
                </p:oleObj>
              </mc:Choice>
              <mc:Fallback>
                <p:oleObj name="think-cell Slide" r:id="rId5" imgW="352" imgH="355" progId="TCLayout.ActiveDocument.1">
                  <p:embed/>
                  <p:pic>
                    <p:nvPicPr>
                      <p:cNvPr id="315" name="Object 31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10" name="Rectangle 309" hidden="1"/>
          <p:cNvSpPr/>
          <p:nvPr>
            <p:custDataLst>
              <p:tags r:id="rId3"/>
            </p:custDataLst>
          </p:nvPr>
        </p:nvSpPr>
        <p:spPr bwMode="gray">
          <a:xfrm>
            <a:off x="0" y="0"/>
            <a:ext cx="158750" cy="158750"/>
          </a:xfrm>
          <a:prstGeom prst="rect">
            <a:avLst/>
          </a:prstGeom>
          <a:solidFill>
            <a:srgbClr val="60C090"/>
          </a:solidFill>
          <a:ln w="9525" cap="rnd" cmpd="sng" algn="ctr">
            <a:solidFill>
              <a:srgbClr val="60C09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p:txBody>
          <a:bodyPr/>
          <a:lstStyle/>
          <a:p>
            <a:r>
              <a:rPr lang="en-US" dirty="0"/>
              <a:t>When do you need an ecosystem? </a:t>
            </a:r>
          </a:p>
        </p:txBody>
      </p:sp>
      <p:grpSp>
        <p:nvGrpSpPr>
          <p:cNvPr id="5" name="Group 4"/>
          <p:cNvGrpSpPr>
            <a:grpSpLocks/>
          </p:cNvGrpSpPr>
          <p:nvPr/>
        </p:nvGrpSpPr>
        <p:grpSpPr>
          <a:xfrm>
            <a:off x="4986556" y="596305"/>
            <a:ext cx="6500699" cy="5654521"/>
            <a:chOff x="1465025" y="1653144"/>
            <a:chExt cx="4744106" cy="4126576"/>
          </a:xfrm>
        </p:grpSpPr>
        <p:sp>
          <p:nvSpPr>
            <p:cNvPr id="6" name="Freeform 157"/>
            <p:cNvSpPr>
              <a:spLocks/>
            </p:cNvSpPr>
            <p:nvPr/>
          </p:nvSpPr>
          <p:spPr bwMode="auto">
            <a:xfrm rot="10800000" flipH="1">
              <a:off x="1661740" y="2232935"/>
              <a:ext cx="251668" cy="184362"/>
            </a:xfrm>
            <a:custGeom>
              <a:avLst/>
              <a:gdLst>
                <a:gd name="T0" fmla="*/ 432 w 635"/>
                <a:gd name="T1" fmla="*/ 463 h 514"/>
                <a:gd name="T2" fmla="*/ 452 w 635"/>
                <a:gd name="T3" fmla="*/ 438 h 514"/>
                <a:gd name="T4" fmla="*/ 463 w 635"/>
                <a:gd name="T5" fmla="*/ 399 h 514"/>
                <a:gd name="T6" fmla="*/ 474 w 635"/>
                <a:gd name="T7" fmla="*/ 380 h 514"/>
                <a:gd name="T8" fmla="*/ 483 w 635"/>
                <a:gd name="T9" fmla="*/ 358 h 514"/>
                <a:gd name="T10" fmla="*/ 487 w 635"/>
                <a:gd name="T11" fmla="*/ 347 h 514"/>
                <a:gd name="T12" fmla="*/ 497 w 635"/>
                <a:gd name="T13" fmla="*/ 336 h 514"/>
                <a:gd name="T14" fmla="*/ 511 w 635"/>
                <a:gd name="T15" fmla="*/ 317 h 514"/>
                <a:gd name="T16" fmla="*/ 522 w 635"/>
                <a:gd name="T17" fmla="*/ 291 h 514"/>
                <a:gd name="T18" fmla="*/ 533 w 635"/>
                <a:gd name="T19" fmla="*/ 262 h 514"/>
                <a:gd name="T20" fmla="*/ 536 w 635"/>
                <a:gd name="T21" fmla="*/ 242 h 514"/>
                <a:gd name="T22" fmla="*/ 560 w 635"/>
                <a:gd name="T23" fmla="*/ 220 h 514"/>
                <a:gd name="T24" fmla="*/ 558 w 635"/>
                <a:gd name="T25" fmla="*/ 190 h 514"/>
                <a:gd name="T26" fmla="*/ 573 w 635"/>
                <a:gd name="T27" fmla="*/ 159 h 514"/>
                <a:gd name="T28" fmla="*/ 589 w 635"/>
                <a:gd name="T29" fmla="*/ 124 h 514"/>
                <a:gd name="T30" fmla="*/ 584 w 635"/>
                <a:gd name="T31" fmla="*/ 105 h 514"/>
                <a:gd name="T32" fmla="*/ 608 w 635"/>
                <a:gd name="T33" fmla="*/ 100 h 514"/>
                <a:gd name="T34" fmla="*/ 599 w 635"/>
                <a:gd name="T35" fmla="*/ 86 h 514"/>
                <a:gd name="T36" fmla="*/ 609 w 635"/>
                <a:gd name="T37" fmla="*/ 73 h 514"/>
                <a:gd name="T38" fmla="*/ 610 w 635"/>
                <a:gd name="T39" fmla="*/ 60 h 514"/>
                <a:gd name="T40" fmla="*/ 627 w 635"/>
                <a:gd name="T41" fmla="*/ 20 h 514"/>
                <a:gd name="T42" fmla="*/ 628 w 635"/>
                <a:gd name="T43" fmla="*/ 0 h 514"/>
                <a:gd name="T44" fmla="*/ 610 w 635"/>
                <a:gd name="T45" fmla="*/ 17 h 514"/>
                <a:gd name="T46" fmla="*/ 599 w 635"/>
                <a:gd name="T47" fmla="*/ 32 h 514"/>
                <a:gd name="T48" fmla="*/ 583 w 635"/>
                <a:gd name="T49" fmla="*/ 63 h 514"/>
                <a:gd name="T50" fmla="*/ 574 w 635"/>
                <a:gd name="T51" fmla="*/ 76 h 514"/>
                <a:gd name="T52" fmla="*/ 569 w 635"/>
                <a:gd name="T53" fmla="*/ 91 h 514"/>
                <a:gd name="T54" fmla="*/ 547 w 635"/>
                <a:gd name="T55" fmla="*/ 132 h 514"/>
                <a:gd name="T56" fmla="*/ 537 w 635"/>
                <a:gd name="T57" fmla="*/ 157 h 514"/>
                <a:gd name="T58" fmla="*/ 529 w 635"/>
                <a:gd name="T59" fmla="*/ 173 h 514"/>
                <a:gd name="T60" fmla="*/ 518 w 635"/>
                <a:gd name="T61" fmla="*/ 187 h 514"/>
                <a:gd name="T62" fmla="*/ 504 w 635"/>
                <a:gd name="T63" fmla="*/ 208 h 514"/>
                <a:gd name="T64" fmla="*/ 483 w 635"/>
                <a:gd name="T65" fmla="*/ 251 h 514"/>
                <a:gd name="T66" fmla="*/ 462 w 635"/>
                <a:gd name="T67" fmla="*/ 276 h 514"/>
                <a:gd name="T68" fmla="*/ 450 w 635"/>
                <a:gd name="T69" fmla="*/ 306 h 514"/>
                <a:gd name="T70" fmla="*/ 429 w 635"/>
                <a:gd name="T71" fmla="*/ 329 h 514"/>
                <a:gd name="T72" fmla="*/ 410 w 635"/>
                <a:gd name="T73" fmla="*/ 359 h 514"/>
                <a:gd name="T74" fmla="*/ 395 w 635"/>
                <a:gd name="T75" fmla="*/ 380 h 514"/>
                <a:gd name="T76" fmla="*/ 370 w 635"/>
                <a:gd name="T77" fmla="*/ 426 h 514"/>
                <a:gd name="T78" fmla="*/ 361 w 635"/>
                <a:gd name="T79" fmla="*/ 432 h 514"/>
                <a:gd name="T80" fmla="*/ 340 w 635"/>
                <a:gd name="T81" fmla="*/ 430 h 514"/>
                <a:gd name="T82" fmla="*/ 336 w 635"/>
                <a:gd name="T83" fmla="*/ 432 h 514"/>
                <a:gd name="T84" fmla="*/ 333 w 635"/>
                <a:gd name="T85" fmla="*/ 430 h 514"/>
                <a:gd name="T86" fmla="*/ 312 w 635"/>
                <a:gd name="T87" fmla="*/ 402 h 514"/>
                <a:gd name="T88" fmla="*/ 271 w 635"/>
                <a:gd name="T89" fmla="*/ 338 h 514"/>
                <a:gd name="T90" fmla="*/ 229 w 635"/>
                <a:gd name="T91" fmla="*/ 282 h 514"/>
                <a:gd name="T92" fmla="*/ 181 w 635"/>
                <a:gd name="T93" fmla="*/ 226 h 514"/>
                <a:gd name="T94" fmla="*/ 4 w 635"/>
                <a:gd name="T95" fmla="*/ 84 h 514"/>
                <a:gd name="T96" fmla="*/ 13 w 635"/>
                <a:gd name="T97" fmla="*/ 93 h 514"/>
                <a:gd name="T98" fmla="*/ 18 w 635"/>
                <a:gd name="T99" fmla="*/ 111 h 514"/>
                <a:gd name="T100" fmla="*/ 32 w 635"/>
                <a:gd name="T101" fmla="*/ 134 h 514"/>
                <a:gd name="T102" fmla="*/ 78 w 635"/>
                <a:gd name="T103" fmla="*/ 216 h 514"/>
                <a:gd name="T104" fmla="*/ 167 w 635"/>
                <a:gd name="T105" fmla="*/ 326 h 514"/>
                <a:gd name="T106" fmla="*/ 203 w 635"/>
                <a:gd name="T107" fmla="*/ 371 h 514"/>
                <a:gd name="T108" fmla="*/ 245 w 635"/>
                <a:gd name="T109" fmla="*/ 431 h 514"/>
                <a:gd name="T110" fmla="*/ 265 w 635"/>
                <a:gd name="T111" fmla="*/ 467 h 514"/>
                <a:gd name="T112" fmla="*/ 296 w 635"/>
                <a:gd name="T113" fmla="*/ 505 h 514"/>
                <a:gd name="T114" fmla="*/ 341 w 635"/>
                <a:gd name="T115" fmla="*/ 50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5" h="514">
                  <a:moveTo>
                    <a:pt x="360" y="513"/>
                  </a:moveTo>
                  <a:lnTo>
                    <a:pt x="360" y="513"/>
                  </a:lnTo>
                  <a:cubicBezTo>
                    <a:pt x="373" y="513"/>
                    <a:pt x="388" y="512"/>
                    <a:pt x="403" y="511"/>
                  </a:cubicBezTo>
                  <a:cubicBezTo>
                    <a:pt x="412" y="513"/>
                    <a:pt x="414" y="502"/>
                    <a:pt x="418" y="496"/>
                  </a:cubicBezTo>
                  <a:cubicBezTo>
                    <a:pt x="421" y="490"/>
                    <a:pt x="425" y="484"/>
                    <a:pt x="428" y="478"/>
                  </a:cubicBezTo>
                  <a:cubicBezTo>
                    <a:pt x="428" y="474"/>
                    <a:pt x="429" y="471"/>
                    <a:pt x="430" y="467"/>
                  </a:cubicBezTo>
                  <a:lnTo>
                    <a:pt x="432" y="464"/>
                  </a:lnTo>
                  <a:lnTo>
                    <a:pt x="432" y="463"/>
                  </a:lnTo>
                  <a:lnTo>
                    <a:pt x="433" y="460"/>
                  </a:lnTo>
                  <a:lnTo>
                    <a:pt x="438" y="462"/>
                  </a:lnTo>
                  <a:lnTo>
                    <a:pt x="438" y="458"/>
                  </a:lnTo>
                  <a:cubicBezTo>
                    <a:pt x="441" y="457"/>
                    <a:pt x="438" y="461"/>
                    <a:pt x="441" y="459"/>
                  </a:cubicBezTo>
                  <a:lnTo>
                    <a:pt x="439" y="457"/>
                  </a:lnTo>
                  <a:cubicBezTo>
                    <a:pt x="441" y="457"/>
                    <a:pt x="444" y="449"/>
                    <a:pt x="445" y="456"/>
                  </a:cubicBezTo>
                  <a:lnTo>
                    <a:pt x="452" y="444"/>
                  </a:lnTo>
                  <a:cubicBezTo>
                    <a:pt x="454" y="442"/>
                    <a:pt x="449" y="441"/>
                    <a:pt x="452" y="438"/>
                  </a:cubicBezTo>
                  <a:cubicBezTo>
                    <a:pt x="454" y="438"/>
                    <a:pt x="452" y="440"/>
                    <a:pt x="454" y="441"/>
                  </a:cubicBezTo>
                  <a:cubicBezTo>
                    <a:pt x="463" y="434"/>
                    <a:pt x="451" y="425"/>
                    <a:pt x="458" y="418"/>
                  </a:cubicBezTo>
                  <a:lnTo>
                    <a:pt x="458" y="419"/>
                  </a:lnTo>
                  <a:cubicBezTo>
                    <a:pt x="457" y="417"/>
                    <a:pt x="459" y="414"/>
                    <a:pt x="459" y="414"/>
                  </a:cubicBezTo>
                  <a:cubicBezTo>
                    <a:pt x="453" y="412"/>
                    <a:pt x="460" y="417"/>
                    <a:pt x="456" y="418"/>
                  </a:cubicBezTo>
                  <a:cubicBezTo>
                    <a:pt x="452" y="415"/>
                    <a:pt x="456" y="413"/>
                    <a:pt x="453" y="412"/>
                  </a:cubicBezTo>
                  <a:cubicBezTo>
                    <a:pt x="455" y="411"/>
                    <a:pt x="453" y="408"/>
                    <a:pt x="454" y="406"/>
                  </a:cubicBezTo>
                  <a:cubicBezTo>
                    <a:pt x="458" y="405"/>
                    <a:pt x="459" y="400"/>
                    <a:pt x="463" y="399"/>
                  </a:cubicBezTo>
                  <a:cubicBezTo>
                    <a:pt x="463" y="397"/>
                    <a:pt x="460" y="393"/>
                    <a:pt x="462" y="390"/>
                  </a:cubicBezTo>
                  <a:cubicBezTo>
                    <a:pt x="466" y="390"/>
                    <a:pt x="464" y="392"/>
                    <a:pt x="467" y="390"/>
                  </a:cubicBezTo>
                  <a:lnTo>
                    <a:pt x="465" y="388"/>
                  </a:lnTo>
                  <a:cubicBezTo>
                    <a:pt x="467" y="386"/>
                    <a:pt x="467" y="387"/>
                    <a:pt x="468" y="388"/>
                  </a:cubicBezTo>
                  <a:cubicBezTo>
                    <a:pt x="470" y="385"/>
                    <a:pt x="466" y="384"/>
                    <a:pt x="470" y="381"/>
                  </a:cubicBezTo>
                  <a:lnTo>
                    <a:pt x="471" y="384"/>
                  </a:lnTo>
                  <a:cubicBezTo>
                    <a:pt x="472" y="381"/>
                    <a:pt x="473" y="381"/>
                    <a:pt x="475" y="377"/>
                  </a:cubicBezTo>
                  <a:cubicBezTo>
                    <a:pt x="476" y="378"/>
                    <a:pt x="475" y="380"/>
                    <a:pt x="474" y="380"/>
                  </a:cubicBezTo>
                  <a:cubicBezTo>
                    <a:pt x="479" y="380"/>
                    <a:pt x="475" y="376"/>
                    <a:pt x="475" y="376"/>
                  </a:cubicBezTo>
                  <a:cubicBezTo>
                    <a:pt x="474" y="375"/>
                    <a:pt x="472" y="377"/>
                    <a:pt x="471" y="375"/>
                  </a:cubicBezTo>
                  <a:cubicBezTo>
                    <a:pt x="472" y="373"/>
                    <a:pt x="470" y="369"/>
                    <a:pt x="473" y="370"/>
                  </a:cubicBezTo>
                  <a:lnTo>
                    <a:pt x="474" y="373"/>
                  </a:lnTo>
                  <a:cubicBezTo>
                    <a:pt x="475" y="368"/>
                    <a:pt x="473" y="369"/>
                    <a:pt x="476" y="366"/>
                  </a:cubicBezTo>
                  <a:cubicBezTo>
                    <a:pt x="476" y="366"/>
                    <a:pt x="476" y="366"/>
                    <a:pt x="477" y="367"/>
                  </a:cubicBezTo>
                  <a:cubicBezTo>
                    <a:pt x="475" y="363"/>
                    <a:pt x="480" y="361"/>
                    <a:pt x="482" y="357"/>
                  </a:cubicBezTo>
                  <a:lnTo>
                    <a:pt x="483" y="358"/>
                  </a:lnTo>
                  <a:cubicBezTo>
                    <a:pt x="483" y="356"/>
                    <a:pt x="481" y="354"/>
                    <a:pt x="482" y="354"/>
                  </a:cubicBezTo>
                  <a:cubicBezTo>
                    <a:pt x="479" y="355"/>
                    <a:pt x="479" y="354"/>
                    <a:pt x="477" y="353"/>
                  </a:cubicBezTo>
                  <a:cubicBezTo>
                    <a:pt x="482" y="352"/>
                    <a:pt x="475" y="346"/>
                    <a:pt x="480" y="343"/>
                  </a:cubicBezTo>
                  <a:cubicBezTo>
                    <a:pt x="481" y="343"/>
                    <a:pt x="482" y="346"/>
                    <a:pt x="480" y="346"/>
                  </a:cubicBezTo>
                  <a:cubicBezTo>
                    <a:pt x="483" y="350"/>
                    <a:pt x="486" y="352"/>
                    <a:pt x="486" y="356"/>
                  </a:cubicBezTo>
                  <a:cubicBezTo>
                    <a:pt x="486" y="354"/>
                    <a:pt x="487" y="351"/>
                    <a:pt x="488" y="353"/>
                  </a:cubicBezTo>
                  <a:lnTo>
                    <a:pt x="485" y="350"/>
                  </a:lnTo>
                  <a:cubicBezTo>
                    <a:pt x="485" y="349"/>
                    <a:pt x="486" y="348"/>
                    <a:pt x="487" y="347"/>
                  </a:cubicBezTo>
                  <a:cubicBezTo>
                    <a:pt x="485" y="346"/>
                    <a:pt x="482" y="347"/>
                    <a:pt x="481" y="344"/>
                  </a:cubicBezTo>
                  <a:cubicBezTo>
                    <a:pt x="482" y="340"/>
                    <a:pt x="486" y="345"/>
                    <a:pt x="485" y="343"/>
                  </a:cubicBezTo>
                  <a:cubicBezTo>
                    <a:pt x="485" y="339"/>
                    <a:pt x="482" y="339"/>
                    <a:pt x="485" y="336"/>
                  </a:cubicBezTo>
                  <a:cubicBezTo>
                    <a:pt x="485" y="337"/>
                    <a:pt x="485" y="338"/>
                    <a:pt x="485" y="338"/>
                  </a:cubicBezTo>
                  <a:cubicBezTo>
                    <a:pt x="488" y="336"/>
                    <a:pt x="488" y="331"/>
                    <a:pt x="493" y="333"/>
                  </a:cubicBezTo>
                  <a:cubicBezTo>
                    <a:pt x="493" y="334"/>
                    <a:pt x="495" y="335"/>
                    <a:pt x="494" y="336"/>
                  </a:cubicBezTo>
                  <a:lnTo>
                    <a:pt x="493" y="335"/>
                  </a:lnTo>
                  <a:cubicBezTo>
                    <a:pt x="495" y="340"/>
                    <a:pt x="494" y="332"/>
                    <a:pt x="497" y="336"/>
                  </a:cubicBezTo>
                  <a:cubicBezTo>
                    <a:pt x="495" y="334"/>
                    <a:pt x="497" y="331"/>
                    <a:pt x="499" y="330"/>
                  </a:cubicBezTo>
                  <a:lnTo>
                    <a:pt x="496" y="329"/>
                  </a:lnTo>
                  <a:cubicBezTo>
                    <a:pt x="491" y="318"/>
                    <a:pt x="501" y="332"/>
                    <a:pt x="503" y="326"/>
                  </a:cubicBezTo>
                  <a:cubicBezTo>
                    <a:pt x="503" y="321"/>
                    <a:pt x="502" y="327"/>
                    <a:pt x="501" y="324"/>
                  </a:cubicBezTo>
                  <a:cubicBezTo>
                    <a:pt x="503" y="321"/>
                    <a:pt x="506" y="322"/>
                    <a:pt x="506" y="318"/>
                  </a:cubicBezTo>
                  <a:cubicBezTo>
                    <a:pt x="508" y="318"/>
                    <a:pt x="511" y="317"/>
                    <a:pt x="514" y="318"/>
                  </a:cubicBezTo>
                  <a:cubicBezTo>
                    <a:pt x="514" y="315"/>
                    <a:pt x="519" y="312"/>
                    <a:pt x="517" y="309"/>
                  </a:cubicBezTo>
                  <a:cubicBezTo>
                    <a:pt x="512" y="312"/>
                    <a:pt x="518" y="315"/>
                    <a:pt x="511" y="317"/>
                  </a:cubicBezTo>
                  <a:lnTo>
                    <a:pt x="509" y="314"/>
                  </a:lnTo>
                  <a:cubicBezTo>
                    <a:pt x="511" y="311"/>
                    <a:pt x="512" y="306"/>
                    <a:pt x="514" y="305"/>
                  </a:cubicBezTo>
                  <a:cubicBezTo>
                    <a:pt x="513" y="305"/>
                    <a:pt x="512" y="305"/>
                    <a:pt x="512" y="304"/>
                  </a:cubicBezTo>
                  <a:cubicBezTo>
                    <a:pt x="513" y="299"/>
                    <a:pt x="511" y="296"/>
                    <a:pt x="514" y="292"/>
                  </a:cubicBezTo>
                  <a:cubicBezTo>
                    <a:pt x="517" y="293"/>
                    <a:pt x="515" y="296"/>
                    <a:pt x="515" y="298"/>
                  </a:cubicBezTo>
                  <a:cubicBezTo>
                    <a:pt x="518" y="296"/>
                    <a:pt x="516" y="295"/>
                    <a:pt x="520" y="291"/>
                  </a:cubicBezTo>
                  <a:cubicBezTo>
                    <a:pt x="522" y="292"/>
                    <a:pt x="518" y="294"/>
                    <a:pt x="520" y="296"/>
                  </a:cubicBezTo>
                  <a:lnTo>
                    <a:pt x="522" y="291"/>
                  </a:lnTo>
                  <a:lnTo>
                    <a:pt x="522" y="291"/>
                  </a:lnTo>
                  <a:cubicBezTo>
                    <a:pt x="519" y="288"/>
                    <a:pt x="525" y="287"/>
                    <a:pt x="525" y="284"/>
                  </a:cubicBezTo>
                  <a:cubicBezTo>
                    <a:pt x="529" y="277"/>
                    <a:pt x="524" y="273"/>
                    <a:pt x="522" y="268"/>
                  </a:cubicBezTo>
                  <a:cubicBezTo>
                    <a:pt x="524" y="267"/>
                    <a:pt x="525" y="268"/>
                    <a:pt x="526" y="269"/>
                  </a:cubicBezTo>
                  <a:cubicBezTo>
                    <a:pt x="523" y="269"/>
                    <a:pt x="525" y="270"/>
                    <a:pt x="526" y="271"/>
                  </a:cubicBezTo>
                  <a:cubicBezTo>
                    <a:pt x="526" y="268"/>
                    <a:pt x="532" y="268"/>
                    <a:pt x="533" y="270"/>
                  </a:cubicBezTo>
                  <a:cubicBezTo>
                    <a:pt x="534" y="266"/>
                    <a:pt x="530" y="270"/>
                    <a:pt x="530" y="267"/>
                  </a:cubicBezTo>
                  <a:lnTo>
                    <a:pt x="533" y="262"/>
                  </a:lnTo>
                  <a:cubicBezTo>
                    <a:pt x="531" y="262"/>
                    <a:pt x="529" y="264"/>
                    <a:pt x="529" y="260"/>
                  </a:cubicBezTo>
                  <a:cubicBezTo>
                    <a:pt x="530" y="258"/>
                    <a:pt x="530" y="257"/>
                    <a:pt x="532" y="254"/>
                  </a:cubicBezTo>
                  <a:cubicBezTo>
                    <a:pt x="533" y="255"/>
                    <a:pt x="536" y="255"/>
                    <a:pt x="534" y="257"/>
                  </a:cubicBezTo>
                  <a:cubicBezTo>
                    <a:pt x="536" y="256"/>
                    <a:pt x="537" y="254"/>
                    <a:pt x="535" y="252"/>
                  </a:cubicBezTo>
                  <a:cubicBezTo>
                    <a:pt x="532" y="254"/>
                    <a:pt x="536" y="246"/>
                    <a:pt x="532" y="247"/>
                  </a:cubicBezTo>
                  <a:lnTo>
                    <a:pt x="535" y="244"/>
                  </a:lnTo>
                  <a:cubicBezTo>
                    <a:pt x="535" y="245"/>
                    <a:pt x="536" y="246"/>
                    <a:pt x="535" y="247"/>
                  </a:cubicBezTo>
                  <a:cubicBezTo>
                    <a:pt x="539" y="247"/>
                    <a:pt x="536" y="244"/>
                    <a:pt x="536" y="242"/>
                  </a:cubicBezTo>
                  <a:cubicBezTo>
                    <a:pt x="537" y="242"/>
                    <a:pt x="539" y="239"/>
                    <a:pt x="540" y="239"/>
                  </a:cubicBezTo>
                  <a:cubicBezTo>
                    <a:pt x="540" y="238"/>
                    <a:pt x="541" y="236"/>
                    <a:pt x="543" y="236"/>
                  </a:cubicBezTo>
                  <a:cubicBezTo>
                    <a:pt x="543" y="234"/>
                    <a:pt x="541" y="235"/>
                    <a:pt x="540" y="234"/>
                  </a:cubicBezTo>
                  <a:lnTo>
                    <a:pt x="543" y="229"/>
                  </a:lnTo>
                  <a:cubicBezTo>
                    <a:pt x="545" y="230"/>
                    <a:pt x="550" y="232"/>
                    <a:pt x="550" y="233"/>
                  </a:cubicBezTo>
                  <a:cubicBezTo>
                    <a:pt x="550" y="230"/>
                    <a:pt x="545" y="230"/>
                    <a:pt x="547" y="227"/>
                  </a:cubicBezTo>
                  <a:cubicBezTo>
                    <a:pt x="550" y="230"/>
                    <a:pt x="551" y="224"/>
                    <a:pt x="554" y="228"/>
                  </a:cubicBezTo>
                  <a:cubicBezTo>
                    <a:pt x="558" y="228"/>
                    <a:pt x="560" y="223"/>
                    <a:pt x="560" y="220"/>
                  </a:cubicBezTo>
                  <a:cubicBezTo>
                    <a:pt x="558" y="217"/>
                    <a:pt x="557" y="222"/>
                    <a:pt x="555" y="221"/>
                  </a:cubicBezTo>
                  <a:cubicBezTo>
                    <a:pt x="557" y="213"/>
                    <a:pt x="549" y="209"/>
                    <a:pt x="553" y="204"/>
                  </a:cubicBezTo>
                  <a:lnTo>
                    <a:pt x="552" y="205"/>
                  </a:lnTo>
                  <a:cubicBezTo>
                    <a:pt x="552" y="201"/>
                    <a:pt x="552" y="202"/>
                    <a:pt x="550" y="199"/>
                  </a:cubicBezTo>
                  <a:cubicBezTo>
                    <a:pt x="553" y="201"/>
                    <a:pt x="561" y="199"/>
                    <a:pt x="563" y="193"/>
                  </a:cubicBezTo>
                  <a:cubicBezTo>
                    <a:pt x="561" y="192"/>
                    <a:pt x="558" y="195"/>
                    <a:pt x="556" y="193"/>
                  </a:cubicBezTo>
                  <a:lnTo>
                    <a:pt x="557" y="189"/>
                  </a:lnTo>
                  <a:cubicBezTo>
                    <a:pt x="557" y="189"/>
                    <a:pt x="558" y="189"/>
                    <a:pt x="558" y="190"/>
                  </a:cubicBezTo>
                  <a:cubicBezTo>
                    <a:pt x="558" y="186"/>
                    <a:pt x="565" y="186"/>
                    <a:pt x="562" y="183"/>
                  </a:cubicBezTo>
                  <a:lnTo>
                    <a:pt x="568" y="182"/>
                  </a:lnTo>
                  <a:lnTo>
                    <a:pt x="565" y="183"/>
                  </a:lnTo>
                  <a:cubicBezTo>
                    <a:pt x="564" y="181"/>
                    <a:pt x="565" y="177"/>
                    <a:pt x="565" y="176"/>
                  </a:cubicBezTo>
                  <a:cubicBezTo>
                    <a:pt x="564" y="172"/>
                    <a:pt x="566" y="171"/>
                    <a:pt x="569" y="170"/>
                  </a:cubicBezTo>
                  <a:cubicBezTo>
                    <a:pt x="568" y="170"/>
                    <a:pt x="564" y="170"/>
                    <a:pt x="564" y="167"/>
                  </a:cubicBezTo>
                  <a:cubicBezTo>
                    <a:pt x="570" y="169"/>
                    <a:pt x="569" y="162"/>
                    <a:pt x="572" y="163"/>
                  </a:cubicBezTo>
                  <a:cubicBezTo>
                    <a:pt x="573" y="162"/>
                    <a:pt x="575" y="160"/>
                    <a:pt x="573" y="159"/>
                  </a:cubicBezTo>
                  <a:lnTo>
                    <a:pt x="576" y="161"/>
                  </a:lnTo>
                  <a:cubicBezTo>
                    <a:pt x="572" y="159"/>
                    <a:pt x="574" y="154"/>
                    <a:pt x="574" y="151"/>
                  </a:cubicBezTo>
                  <a:cubicBezTo>
                    <a:pt x="580" y="154"/>
                    <a:pt x="575" y="147"/>
                    <a:pt x="582" y="148"/>
                  </a:cubicBezTo>
                  <a:cubicBezTo>
                    <a:pt x="577" y="145"/>
                    <a:pt x="582" y="141"/>
                    <a:pt x="579" y="139"/>
                  </a:cubicBezTo>
                  <a:cubicBezTo>
                    <a:pt x="580" y="136"/>
                    <a:pt x="584" y="138"/>
                    <a:pt x="586" y="138"/>
                  </a:cubicBezTo>
                  <a:lnTo>
                    <a:pt x="584" y="136"/>
                  </a:lnTo>
                  <a:cubicBezTo>
                    <a:pt x="587" y="136"/>
                    <a:pt x="589" y="131"/>
                    <a:pt x="592" y="129"/>
                  </a:cubicBezTo>
                  <a:lnTo>
                    <a:pt x="589" y="124"/>
                  </a:lnTo>
                  <a:lnTo>
                    <a:pt x="591" y="124"/>
                  </a:lnTo>
                  <a:cubicBezTo>
                    <a:pt x="590" y="123"/>
                    <a:pt x="591" y="121"/>
                    <a:pt x="589" y="122"/>
                  </a:cubicBezTo>
                  <a:lnTo>
                    <a:pt x="589" y="120"/>
                  </a:lnTo>
                  <a:cubicBezTo>
                    <a:pt x="585" y="118"/>
                    <a:pt x="589" y="118"/>
                    <a:pt x="588" y="114"/>
                  </a:cubicBezTo>
                  <a:cubicBezTo>
                    <a:pt x="589" y="114"/>
                    <a:pt x="590" y="114"/>
                    <a:pt x="590" y="115"/>
                  </a:cubicBezTo>
                  <a:cubicBezTo>
                    <a:pt x="591" y="114"/>
                    <a:pt x="593" y="115"/>
                    <a:pt x="595" y="115"/>
                  </a:cubicBezTo>
                  <a:cubicBezTo>
                    <a:pt x="593" y="116"/>
                    <a:pt x="589" y="107"/>
                    <a:pt x="585" y="110"/>
                  </a:cubicBezTo>
                  <a:cubicBezTo>
                    <a:pt x="584" y="109"/>
                    <a:pt x="583" y="107"/>
                    <a:pt x="584" y="105"/>
                  </a:cubicBezTo>
                  <a:lnTo>
                    <a:pt x="589" y="106"/>
                  </a:lnTo>
                  <a:lnTo>
                    <a:pt x="585" y="103"/>
                  </a:lnTo>
                  <a:cubicBezTo>
                    <a:pt x="586" y="100"/>
                    <a:pt x="588" y="100"/>
                    <a:pt x="590" y="99"/>
                  </a:cubicBezTo>
                  <a:cubicBezTo>
                    <a:pt x="589" y="101"/>
                    <a:pt x="596" y="106"/>
                    <a:pt x="597" y="101"/>
                  </a:cubicBezTo>
                  <a:cubicBezTo>
                    <a:pt x="597" y="104"/>
                    <a:pt x="599" y="106"/>
                    <a:pt x="599" y="107"/>
                  </a:cubicBezTo>
                  <a:cubicBezTo>
                    <a:pt x="600" y="106"/>
                    <a:pt x="600" y="106"/>
                    <a:pt x="601" y="108"/>
                  </a:cubicBezTo>
                  <a:cubicBezTo>
                    <a:pt x="602" y="104"/>
                    <a:pt x="599" y="106"/>
                    <a:pt x="600" y="102"/>
                  </a:cubicBezTo>
                  <a:cubicBezTo>
                    <a:pt x="604" y="104"/>
                    <a:pt x="605" y="103"/>
                    <a:pt x="608" y="100"/>
                  </a:cubicBezTo>
                  <a:lnTo>
                    <a:pt x="604" y="102"/>
                  </a:lnTo>
                  <a:cubicBezTo>
                    <a:pt x="604" y="102"/>
                    <a:pt x="604" y="101"/>
                    <a:pt x="604" y="101"/>
                  </a:cubicBezTo>
                  <a:cubicBezTo>
                    <a:pt x="603" y="102"/>
                    <a:pt x="602" y="102"/>
                    <a:pt x="601" y="101"/>
                  </a:cubicBezTo>
                  <a:cubicBezTo>
                    <a:pt x="601" y="101"/>
                    <a:pt x="598" y="95"/>
                    <a:pt x="600" y="96"/>
                  </a:cubicBezTo>
                  <a:cubicBezTo>
                    <a:pt x="593" y="97"/>
                    <a:pt x="598" y="88"/>
                    <a:pt x="594" y="89"/>
                  </a:cubicBezTo>
                  <a:cubicBezTo>
                    <a:pt x="593" y="88"/>
                    <a:pt x="594" y="85"/>
                    <a:pt x="596" y="86"/>
                  </a:cubicBezTo>
                  <a:cubicBezTo>
                    <a:pt x="597" y="90"/>
                    <a:pt x="601" y="85"/>
                    <a:pt x="603" y="86"/>
                  </a:cubicBezTo>
                  <a:cubicBezTo>
                    <a:pt x="603" y="85"/>
                    <a:pt x="600" y="88"/>
                    <a:pt x="599" y="86"/>
                  </a:cubicBezTo>
                  <a:cubicBezTo>
                    <a:pt x="599" y="84"/>
                    <a:pt x="602" y="83"/>
                    <a:pt x="604" y="82"/>
                  </a:cubicBezTo>
                  <a:lnTo>
                    <a:pt x="604" y="84"/>
                  </a:lnTo>
                  <a:lnTo>
                    <a:pt x="607" y="81"/>
                  </a:lnTo>
                  <a:cubicBezTo>
                    <a:pt x="605" y="80"/>
                    <a:pt x="603" y="83"/>
                    <a:pt x="603" y="80"/>
                  </a:cubicBezTo>
                  <a:cubicBezTo>
                    <a:pt x="604" y="79"/>
                    <a:pt x="604" y="76"/>
                    <a:pt x="605" y="77"/>
                  </a:cubicBezTo>
                  <a:cubicBezTo>
                    <a:pt x="607" y="79"/>
                    <a:pt x="611" y="80"/>
                    <a:pt x="611" y="82"/>
                  </a:cubicBezTo>
                  <a:cubicBezTo>
                    <a:pt x="611" y="80"/>
                    <a:pt x="613" y="74"/>
                    <a:pt x="609" y="75"/>
                  </a:cubicBezTo>
                  <a:lnTo>
                    <a:pt x="609" y="73"/>
                  </a:lnTo>
                  <a:cubicBezTo>
                    <a:pt x="607" y="74"/>
                    <a:pt x="603" y="77"/>
                    <a:pt x="604" y="72"/>
                  </a:cubicBezTo>
                  <a:lnTo>
                    <a:pt x="605" y="72"/>
                  </a:lnTo>
                  <a:lnTo>
                    <a:pt x="604" y="68"/>
                  </a:lnTo>
                  <a:lnTo>
                    <a:pt x="606" y="68"/>
                  </a:lnTo>
                  <a:cubicBezTo>
                    <a:pt x="605" y="67"/>
                    <a:pt x="604" y="66"/>
                    <a:pt x="605" y="65"/>
                  </a:cubicBezTo>
                  <a:cubicBezTo>
                    <a:pt x="606" y="65"/>
                    <a:pt x="607" y="64"/>
                    <a:pt x="608" y="65"/>
                  </a:cubicBezTo>
                  <a:cubicBezTo>
                    <a:pt x="609" y="62"/>
                    <a:pt x="607" y="61"/>
                    <a:pt x="606" y="60"/>
                  </a:cubicBezTo>
                  <a:cubicBezTo>
                    <a:pt x="607" y="58"/>
                    <a:pt x="608" y="58"/>
                    <a:pt x="610" y="60"/>
                  </a:cubicBezTo>
                  <a:cubicBezTo>
                    <a:pt x="611" y="57"/>
                    <a:pt x="612" y="53"/>
                    <a:pt x="615" y="52"/>
                  </a:cubicBezTo>
                  <a:cubicBezTo>
                    <a:pt x="615" y="48"/>
                    <a:pt x="614" y="52"/>
                    <a:pt x="612" y="49"/>
                  </a:cubicBezTo>
                  <a:cubicBezTo>
                    <a:pt x="620" y="48"/>
                    <a:pt x="619" y="39"/>
                    <a:pt x="620" y="33"/>
                  </a:cubicBezTo>
                  <a:cubicBezTo>
                    <a:pt x="614" y="32"/>
                    <a:pt x="620" y="31"/>
                    <a:pt x="615" y="28"/>
                  </a:cubicBezTo>
                  <a:cubicBezTo>
                    <a:pt x="617" y="30"/>
                    <a:pt x="621" y="24"/>
                    <a:pt x="621" y="30"/>
                  </a:cubicBezTo>
                  <a:lnTo>
                    <a:pt x="622" y="27"/>
                  </a:lnTo>
                  <a:cubicBezTo>
                    <a:pt x="625" y="26"/>
                    <a:pt x="622" y="32"/>
                    <a:pt x="627" y="31"/>
                  </a:cubicBezTo>
                  <a:cubicBezTo>
                    <a:pt x="629" y="27"/>
                    <a:pt x="623" y="23"/>
                    <a:pt x="627" y="20"/>
                  </a:cubicBezTo>
                  <a:cubicBezTo>
                    <a:pt x="630" y="22"/>
                    <a:pt x="626" y="16"/>
                    <a:pt x="630" y="19"/>
                  </a:cubicBezTo>
                  <a:cubicBezTo>
                    <a:pt x="632" y="20"/>
                    <a:pt x="631" y="21"/>
                    <a:pt x="631" y="22"/>
                  </a:cubicBezTo>
                  <a:lnTo>
                    <a:pt x="632" y="22"/>
                  </a:lnTo>
                  <a:cubicBezTo>
                    <a:pt x="635" y="15"/>
                    <a:pt x="628" y="18"/>
                    <a:pt x="626" y="13"/>
                  </a:cubicBezTo>
                  <a:cubicBezTo>
                    <a:pt x="627" y="8"/>
                    <a:pt x="631" y="11"/>
                    <a:pt x="633" y="11"/>
                  </a:cubicBezTo>
                  <a:cubicBezTo>
                    <a:pt x="634" y="11"/>
                    <a:pt x="634" y="8"/>
                    <a:pt x="633" y="7"/>
                  </a:cubicBezTo>
                  <a:cubicBezTo>
                    <a:pt x="635" y="10"/>
                    <a:pt x="629" y="11"/>
                    <a:pt x="627" y="9"/>
                  </a:cubicBezTo>
                  <a:cubicBezTo>
                    <a:pt x="632" y="8"/>
                    <a:pt x="630" y="2"/>
                    <a:pt x="628" y="0"/>
                  </a:cubicBezTo>
                  <a:cubicBezTo>
                    <a:pt x="621" y="5"/>
                    <a:pt x="627" y="5"/>
                    <a:pt x="619" y="9"/>
                  </a:cubicBezTo>
                  <a:cubicBezTo>
                    <a:pt x="620" y="10"/>
                    <a:pt x="625" y="12"/>
                    <a:pt x="622" y="15"/>
                  </a:cubicBezTo>
                  <a:cubicBezTo>
                    <a:pt x="620" y="12"/>
                    <a:pt x="619" y="14"/>
                    <a:pt x="618" y="14"/>
                  </a:cubicBezTo>
                  <a:cubicBezTo>
                    <a:pt x="621" y="15"/>
                    <a:pt x="619" y="17"/>
                    <a:pt x="619" y="19"/>
                  </a:cubicBezTo>
                  <a:cubicBezTo>
                    <a:pt x="617" y="19"/>
                    <a:pt x="615" y="15"/>
                    <a:pt x="612" y="18"/>
                  </a:cubicBezTo>
                  <a:lnTo>
                    <a:pt x="618" y="21"/>
                  </a:lnTo>
                  <a:cubicBezTo>
                    <a:pt x="616" y="22"/>
                    <a:pt x="614" y="19"/>
                    <a:pt x="614" y="22"/>
                  </a:cubicBezTo>
                  <a:cubicBezTo>
                    <a:pt x="612" y="19"/>
                    <a:pt x="609" y="21"/>
                    <a:pt x="610" y="17"/>
                  </a:cubicBezTo>
                  <a:cubicBezTo>
                    <a:pt x="604" y="20"/>
                    <a:pt x="610" y="25"/>
                    <a:pt x="610" y="30"/>
                  </a:cubicBezTo>
                  <a:cubicBezTo>
                    <a:pt x="610" y="29"/>
                    <a:pt x="610" y="29"/>
                    <a:pt x="609" y="28"/>
                  </a:cubicBezTo>
                  <a:cubicBezTo>
                    <a:pt x="610" y="30"/>
                    <a:pt x="610" y="31"/>
                    <a:pt x="610" y="32"/>
                  </a:cubicBezTo>
                  <a:cubicBezTo>
                    <a:pt x="608" y="34"/>
                    <a:pt x="608" y="29"/>
                    <a:pt x="606" y="30"/>
                  </a:cubicBezTo>
                  <a:lnTo>
                    <a:pt x="605" y="34"/>
                  </a:lnTo>
                  <a:cubicBezTo>
                    <a:pt x="605" y="34"/>
                    <a:pt x="605" y="34"/>
                    <a:pt x="604" y="34"/>
                  </a:cubicBezTo>
                  <a:cubicBezTo>
                    <a:pt x="605" y="35"/>
                    <a:pt x="605" y="36"/>
                    <a:pt x="603" y="36"/>
                  </a:cubicBezTo>
                  <a:cubicBezTo>
                    <a:pt x="602" y="34"/>
                    <a:pt x="601" y="33"/>
                    <a:pt x="599" y="32"/>
                  </a:cubicBezTo>
                  <a:lnTo>
                    <a:pt x="602" y="37"/>
                  </a:lnTo>
                  <a:cubicBezTo>
                    <a:pt x="600" y="36"/>
                    <a:pt x="597" y="40"/>
                    <a:pt x="597" y="36"/>
                  </a:cubicBezTo>
                  <a:lnTo>
                    <a:pt x="596" y="43"/>
                  </a:lnTo>
                  <a:lnTo>
                    <a:pt x="592" y="42"/>
                  </a:lnTo>
                  <a:cubicBezTo>
                    <a:pt x="592" y="44"/>
                    <a:pt x="593" y="44"/>
                    <a:pt x="594" y="42"/>
                  </a:cubicBezTo>
                  <a:cubicBezTo>
                    <a:pt x="592" y="44"/>
                    <a:pt x="596" y="54"/>
                    <a:pt x="590" y="51"/>
                  </a:cubicBezTo>
                  <a:cubicBezTo>
                    <a:pt x="591" y="57"/>
                    <a:pt x="589" y="58"/>
                    <a:pt x="589" y="65"/>
                  </a:cubicBezTo>
                  <a:cubicBezTo>
                    <a:pt x="587" y="59"/>
                    <a:pt x="582" y="68"/>
                    <a:pt x="583" y="63"/>
                  </a:cubicBezTo>
                  <a:cubicBezTo>
                    <a:pt x="580" y="65"/>
                    <a:pt x="584" y="67"/>
                    <a:pt x="583" y="70"/>
                  </a:cubicBezTo>
                  <a:cubicBezTo>
                    <a:pt x="581" y="71"/>
                    <a:pt x="578" y="69"/>
                    <a:pt x="577" y="66"/>
                  </a:cubicBezTo>
                  <a:lnTo>
                    <a:pt x="578" y="69"/>
                  </a:lnTo>
                  <a:lnTo>
                    <a:pt x="577" y="69"/>
                  </a:lnTo>
                  <a:lnTo>
                    <a:pt x="579" y="72"/>
                  </a:lnTo>
                  <a:cubicBezTo>
                    <a:pt x="576" y="74"/>
                    <a:pt x="575" y="71"/>
                    <a:pt x="573" y="74"/>
                  </a:cubicBezTo>
                  <a:lnTo>
                    <a:pt x="576" y="75"/>
                  </a:lnTo>
                  <a:lnTo>
                    <a:pt x="574" y="76"/>
                  </a:lnTo>
                  <a:cubicBezTo>
                    <a:pt x="575" y="76"/>
                    <a:pt x="576" y="78"/>
                    <a:pt x="575" y="80"/>
                  </a:cubicBezTo>
                  <a:lnTo>
                    <a:pt x="574" y="80"/>
                  </a:lnTo>
                  <a:lnTo>
                    <a:pt x="574" y="82"/>
                  </a:lnTo>
                  <a:cubicBezTo>
                    <a:pt x="573" y="79"/>
                    <a:pt x="573" y="84"/>
                    <a:pt x="571" y="82"/>
                  </a:cubicBezTo>
                  <a:cubicBezTo>
                    <a:pt x="570" y="84"/>
                    <a:pt x="570" y="84"/>
                    <a:pt x="569" y="88"/>
                  </a:cubicBezTo>
                  <a:lnTo>
                    <a:pt x="572" y="88"/>
                  </a:lnTo>
                  <a:cubicBezTo>
                    <a:pt x="572" y="93"/>
                    <a:pt x="568" y="87"/>
                    <a:pt x="567" y="90"/>
                  </a:cubicBezTo>
                  <a:lnTo>
                    <a:pt x="569" y="91"/>
                  </a:lnTo>
                  <a:cubicBezTo>
                    <a:pt x="563" y="95"/>
                    <a:pt x="568" y="101"/>
                    <a:pt x="564" y="104"/>
                  </a:cubicBezTo>
                  <a:cubicBezTo>
                    <a:pt x="564" y="101"/>
                    <a:pt x="561" y="101"/>
                    <a:pt x="562" y="101"/>
                  </a:cubicBezTo>
                  <a:cubicBezTo>
                    <a:pt x="561" y="105"/>
                    <a:pt x="559" y="110"/>
                    <a:pt x="560" y="115"/>
                  </a:cubicBezTo>
                  <a:cubicBezTo>
                    <a:pt x="556" y="114"/>
                    <a:pt x="555" y="114"/>
                    <a:pt x="552" y="117"/>
                  </a:cubicBezTo>
                  <a:cubicBezTo>
                    <a:pt x="551" y="120"/>
                    <a:pt x="551" y="120"/>
                    <a:pt x="553" y="122"/>
                  </a:cubicBezTo>
                  <a:cubicBezTo>
                    <a:pt x="551" y="124"/>
                    <a:pt x="551" y="129"/>
                    <a:pt x="548" y="128"/>
                  </a:cubicBezTo>
                  <a:cubicBezTo>
                    <a:pt x="550" y="130"/>
                    <a:pt x="547" y="130"/>
                    <a:pt x="548" y="133"/>
                  </a:cubicBezTo>
                  <a:lnTo>
                    <a:pt x="547" y="132"/>
                  </a:lnTo>
                  <a:lnTo>
                    <a:pt x="549" y="133"/>
                  </a:lnTo>
                  <a:cubicBezTo>
                    <a:pt x="542" y="135"/>
                    <a:pt x="550" y="142"/>
                    <a:pt x="543" y="144"/>
                  </a:cubicBezTo>
                  <a:lnTo>
                    <a:pt x="542" y="143"/>
                  </a:lnTo>
                  <a:lnTo>
                    <a:pt x="543" y="146"/>
                  </a:lnTo>
                  <a:cubicBezTo>
                    <a:pt x="541" y="145"/>
                    <a:pt x="541" y="144"/>
                    <a:pt x="540" y="144"/>
                  </a:cubicBezTo>
                  <a:lnTo>
                    <a:pt x="536" y="152"/>
                  </a:lnTo>
                  <a:lnTo>
                    <a:pt x="538" y="151"/>
                  </a:lnTo>
                  <a:cubicBezTo>
                    <a:pt x="538" y="153"/>
                    <a:pt x="540" y="155"/>
                    <a:pt x="537" y="157"/>
                  </a:cubicBezTo>
                  <a:cubicBezTo>
                    <a:pt x="535" y="152"/>
                    <a:pt x="536" y="160"/>
                    <a:pt x="533" y="159"/>
                  </a:cubicBezTo>
                  <a:lnTo>
                    <a:pt x="533" y="157"/>
                  </a:lnTo>
                  <a:cubicBezTo>
                    <a:pt x="532" y="159"/>
                    <a:pt x="532" y="159"/>
                    <a:pt x="534" y="160"/>
                  </a:cubicBezTo>
                  <a:cubicBezTo>
                    <a:pt x="534" y="164"/>
                    <a:pt x="529" y="160"/>
                    <a:pt x="530" y="164"/>
                  </a:cubicBezTo>
                  <a:lnTo>
                    <a:pt x="531" y="162"/>
                  </a:lnTo>
                  <a:cubicBezTo>
                    <a:pt x="533" y="162"/>
                    <a:pt x="534" y="165"/>
                    <a:pt x="533" y="166"/>
                  </a:cubicBezTo>
                  <a:cubicBezTo>
                    <a:pt x="533" y="166"/>
                    <a:pt x="531" y="167"/>
                    <a:pt x="532" y="166"/>
                  </a:cubicBezTo>
                  <a:cubicBezTo>
                    <a:pt x="531" y="169"/>
                    <a:pt x="528" y="172"/>
                    <a:pt x="529" y="173"/>
                  </a:cubicBezTo>
                  <a:cubicBezTo>
                    <a:pt x="528" y="175"/>
                    <a:pt x="526" y="173"/>
                    <a:pt x="526" y="172"/>
                  </a:cubicBezTo>
                  <a:cubicBezTo>
                    <a:pt x="525" y="179"/>
                    <a:pt x="524" y="175"/>
                    <a:pt x="524" y="181"/>
                  </a:cubicBezTo>
                  <a:lnTo>
                    <a:pt x="522" y="180"/>
                  </a:lnTo>
                  <a:lnTo>
                    <a:pt x="523" y="183"/>
                  </a:lnTo>
                  <a:lnTo>
                    <a:pt x="519" y="184"/>
                  </a:lnTo>
                  <a:lnTo>
                    <a:pt x="521" y="184"/>
                  </a:lnTo>
                  <a:cubicBezTo>
                    <a:pt x="521" y="186"/>
                    <a:pt x="521" y="187"/>
                    <a:pt x="520" y="189"/>
                  </a:cubicBezTo>
                  <a:lnTo>
                    <a:pt x="518" y="187"/>
                  </a:lnTo>
                  <a:cubicBezTo>
                    <a:pt x="517" y="193"/>
                    <a:pt x="512" y="192"/>
                    <a:pt x="513" y="198"/>
                  </a:cubicBezTo>
                  <a:cubicBezTo>
                    <a:pt x="512" y="198"/>
                    <a:pt x="512" y="197"/>
                    <a:pt x="512" y="196"/>
                  </a:cubicBezTo>
                  <a:cubicBezTo>
                    <a:pt x="513" y="202"/>
                    <a:pt x="506" y="198"/>
                    <a:pt x="508" y="204"/>
                  </a:cubicBezTo>
                  <a:cubicBezTo>
                    <a:pt x="508" y="204"/>
                    <a:pt x="507" y="204"/>
                    <a:pt x="506" y="203"/>
                  </a:cubicBezTo>
                  <a:lnTo>
                    <a:pt x="506" y="206"/>
                  </a:lnTo>
                  <a:lnTo>
                    <a:pt x="504" y="204"/>
                  </a:lnTo>
                  <a:lnTo>
                    <a:pt x="507" y="208"/>
                  </a:lnTo>
                  <a:lnTo>
                    <a:pt x="504" y="208"/>
                  </a:lnTo>
                  <a:lnTo>
                    <a:pt x="505" y="209"/>
                  </a:lnTo>
                  <a:cubicBezTo>
                    <a:pt x="498" y="209"/>
                    <a:pt x="501" y="214"/>
                    <a:pt x="496" y="215"/>
                  </a:cubicBezTo>
                  <a:lnTo>
                    <a:pt x="499" y="216"/>
                  </a:lnTo>
                  <a:cubicBezTo>
                    <a:pt x="503" y="227"/>
                    <a:pt x="487" y="231"/>
                    <a:pt x="486" y="241"/>
                  </a:cubicBezTo>
                  <a:lnTo>
                    <a:pt x="483" y="240"/>
                  </a:lnTo>
                  <a:lnTo>
                    <a:pt x="485" y="245"/>
                  </a:lnTo>
                  <a:cubicBezTo>
                    <a:pt x="482" y="246"/>
                    <a:pt x="483" y="242"/>
                    <a:pt x="481" y="242"/>
                  </a:cubicBezTo>
                  <a:cubicBezTo>
                    <a:pt x="481" y="247"/>
                    <a:pt x="485" y="246"/>
                    <a:pt x="483" y="251"/>
                  </a:cubicBezTo>
                  <a:cubicBezTo>
                    <a:pt x="480" y="252"/>
                    <a:pt x="481" y="249"/>
                    <a:pt x="481" y="247"/>
                  </a:cubicBezTo>
                  <a:cubicBezTo>
                    <a:pt x="480" y="252"/>
                    <a:pt x="478" y="259"/>
                    <a:pt x="475" y="261"/>
                  </a:cubicBezTo>
                  <a:cubicBezTo>
                    <a:pt x="476" y="262"/>
                    <a:pt x="476" y="262"/>
                    <a:pt x="476" y="262"/>
                  </a:cubicBezTo>
                  <a:cubicBezTo>
                    <a:pt x="476" y="265"/>
                    <a:pt x="473" y="268"/>
                    <a:pt x="471" y="271"/>
                  </a:cubicBezTo>
                  <a:cubicBezTo>
                    <a:pt x="470" y="271"/>
                    <a:pt x="470" y="270"/>
                    <a:pt x="471" y="269"/>
                  </a:cubicBezTo>
                  <a:cubicBezTo>
                    <a:pt x="470" y="270"/>
                    <a:pt x="468" y="271"/>
                    <a:pt x="469" y="272"/>
                  </a:cubicBezTo>
                  <a:lnTo>
                    <a:pt x="467" y="270"/>
                  </a:lnTo>
                  <a:cubicBezTo>
                    <a:pt x="465" y="272"/>
                    <a:pt x="465" y="277"/>
                    <a:pt x="462" y="276"/>
                  </a:cubicBezTo>
                  <a:cubicBezTo>
                    <a:pt x="463" y="277"/>
                    <a:pt x="465" y="278"/>
                    <a:pt x="464" y="280"/>
                  </a:cubicBezTo>
                  <a:cubicBezTo>
                    <a:pt x="459" y="279"/>
                    <a:pt x="463" y="286"/>
                    <a:pt x="458" y="288"/>
                  </a:cubicBezTo>
                  <a:cubicBezTo>
                    <a:pt x="458" y="287"/>
                    <a:pt x="459" y="285"/>
                    <a:pt x="458" y="285"/>
                  </a:cubicBezTo>
                  <a:cubicBezTo>
                    <a:pt x="456" y="286"/>
                    <a:pt x="458" y="289"/>
                    <a:pt x="458" y="291"/>
                  </a:cubicBezTo>
                  <a:lnTo>
                    <a:pt x="457" y="290"/>
                  </a:lnTo>
                  <a:lnTo>
                    <a:pt x="454" y="299"/>
                  </a:lnTo>
                  <a:cubicBezTo>
                    <a:pt x="450" y="297"/>
                    <a:pt x="451" y="306"/>
                    <a:pt x="448" y="304"/>
                  </a:cubicBezTo>
                  <a:cubicBezTo>
                    <a:pt x="446" y="307"/>
                    <a:pt x="451" y="303"/>
                    <a:pt x="450" y="306"/>
                  </a:cubicBezTo>
                  <a:cubicBezTo>
                    <a:pt x="447" y="306"/>
                    <a:pt x="449" y="310"/>
                    <a:pt x="446" y="308"/>
                  </a:cubicBezTo>
                  <a:lnTo>
                    <a:pt x="446" y="308"/>
                  </a:lnTo>
                  <a:lnTo>
                    <a:pt x="445" y="310"/>
                  </a:lnTo>
                  <a:lnTo>
                    <a:pt x="443" y="307"/>
                  </a:lnTo>
                  <a:cubicBezTo>
                    <a:pt x="442" y="310"/>
                    <a:pt x="444" y="313"/>
                    <a:pt x="446" y="314"/>
                  </a:cubicBezTo>
                  <a:cubicBezTo>
                    <a:pt x="443" y="315"/>
                    <a:pt x="443" y="319"/>
                    <a:pt x="440" y="318"/>
                  </a:cubicBezTo>
                  <a:lnTo>
                    <a:pt x="440" y="317"/>
                  </a:lnTo>
                  <a:cubicBezTo>
                    <a:pt x="438" y="323"/>
                    <a:pt x="427" y="322"/>
                    <a:pt x="429" y="329"/>
                  </a:cubicBezTo>
                  <a:cubicBezTo>
                    <a:pt x="429" y="329"/>
                    <a:pt x="428" y="329"/>
                    <a:pt x="429" y="328"/>
                  </a:cubicBezTo>
                  <a:lnTo>
                    <a:pt x="426" y="331"/>
                  </a:lnTo>
                  <a:lnTo>
                    <a:pt x="425" y="329"/>
                  </a:lnTo>
                  <a:lnTo>
                    <a:pt x="425" y="337"/>
                  </a:lnTo>
                  <a:lnTo>
                    <a:pt x="423" y="336"/>
                  </a:lnTo>
                  <a:cubicBezTo>
                    <a:pt x="421" y="339"/>
                    <a:pt x="418" y="346"/>
                    <a:pt x="416" y="351"/>
                  </a:cubicBezTo>
                  <a:lnTo>
                    <a:pt x="415" y="350"/>
                  </a:lnTo>
                  <a:cubicBezTo>
                    <a:pt x="414" y="356"/>
                    <a:pt x="411" y="354"/>
                    <a:pt x="410" y="359"/>
                  </a:cubicBezTo>
                  <a:cubicBezTo>
                    <a:pt x="410" y="358"/>
                    <a:pt x="410" y="358"/>
                    <a:pt x="410" y="358"/>
                  </a:cubicBezTo>
                  <a:lnTo>
                    <a:pt x="408" y="361"/>
                  </a:lnTo>
                  <a:lnTo>
                    <a:pt x="407" y="360"/>
                  </a:lnTo>
                  <a:cubicBezTo>
                    <a:pt x="409" y="364"/>
                    <a:pt x="399" y="365"/>
                    <a:pt x="403" y="365"/>
                  </a:cubicBezTo>
                  <a:cubicBezTo>
                    <a:pt x="403" y="367"/>
                    <a:pt x="403" y="370"/>
                    <a:pt x="404" y="372"/>
                  </a:cubicBezTo>
                  <a:cubicBezTo>
                    <a:pt x="402" y="376"/>
                    <a:pt x="402" y="372"/>
                    <a:pt x="400" y="373"/>
                  </a:cubicBezTo>
                  <a:cubicBezTo>
                    <a:pt x="398" y="376"/>
                    <a:pt x="400" y="378"/>
                    <a:pt x="397" y="381"/>
                  </a:cubicBezTo>
                  <a:lnTo>
                    <a:pt x="395" y="380"/>
                  </a:lnTo>
                  <a:cubicBezTo>
                    <a:pt x="395" y="382"/>
                    <a:pt x="395" y="383"/>
                    <a:pt x="394" y="386"/>
                  </a:cubicBezTo>
                  <a:lnTo>
                    <a:pt x="394" y="385"/>
                  </a:lnTo>
                  <a:cubicBezTo>
                    <a:pt x="394" y="390"/>
                    <a:pt x="387" y="388"/>
                    <a:pt x="391" y="394"/>
                  </a:cubicBezTo>
                  <a:cubicBezTo>
                    <a:pt x="389" y="395"/>
                    <a:pt x="388" y="399"/>
                    <a:pt x="385" y="397"/>
                  </a:cubicBezTo>
                  <a:cubicBezTo>
                    <a:pt x="384" y="403"/>
                    <a:pt x="383" y="407"/>
                    <a:pt x="381" y="413"/>
                  </a:cubicBezTo>
                  <a:cubicBezTo>
                    <a:pt x="376" y="411"/>
                    <a:pt x="381" y="414"/>
                    <a:pt x="376" y="415"/>
                  </a:cubicBezTo>
                  <a:lnTo>
                    <a:pt x="379" y="416"/>
                  </a:lnTo>
                  <a:cubicBezTo>
                    <a:pt x="377" y="420"/>
                    <a:pt x="373" y="423"/>
                    <a:pt x="370" y="426"/>
                  </a:cubicBezTo>
                  <a:lnTo>
                    <a:pt x="367" y="428"/>
                  </a:lnTo>
                  <a:cubicBezTo>
                    <a:pt x="367" y="429"/>
                    <a:pt x="367" y="428"/>
                    <a:pt x="366" y="428"/>
                  </a:cubicBezTo>
                  <a:cubicBezTo>
                    <a:pt x="366" y="428"/>
                    <a:pt x="366" y="428"/>
                    <a:pt x="366" y="429"/>
                  </a:cubicBezTo>
                  <a:lnTo>
                    <a:pt x="364" y="427"/>
                  </a:lnTo>
                  <a:lnTo>
                    <a:pt x="366" y="429"/>
                  </a:lnTo>
                  <a:cubicBezTo>
                    <a:pt x="365" y="429"/>
                    <a:pt x="364" y="429"/>
                    <a:pt x="364" y="429"/>
                  </a:cubicBezTo>
                  <a:cubicBezTo>
                    <a:pt x="363" y="429"/>
                    <a:pt x="362" y="428"/>
                    <a:pt x="362" y="428"/>
                  </a:cubicBezTo>
                  <a:cubicBezTo>
                    <a:pt x="362" y="430"/>
                    <a:pt x="362" y="433"/>
                    <a:pt x="361" y="432"/>
                  </a:cubicBezTo>
                  <a:lnTo>
                    <a:pt x="361" y="432"/>
                  </a:lnTo>
                  <a:cubicBezTo>
                    <a:pt x="362" y="432"/>
                    <a:pt x="359" y="432"/>
                    <a:pt x="357" y="433"/>
                  </a:cubicBezTo>
                  <a:cubicBezTo>
                    <a:pt x="356" y="433"/>
                    <a:pt x="354" y="433"/>
                    <a:pt x="352" y="433"/>
                  </a:cubicBezTo>
                  <a:cubicBezTo>
                    <a:pt x="349" y="434"/>
                    <a:pt x="345" y="433"/>
                    <a:pt x="341" y="433"/>
                  </a:cubicBezTo>
                  <a:cubicBezTo>
                    <a:pt x="342" y="432"/>
                    <a:pt x="341" y="431"/>
                    <a:pt x="342" y="430"/>
                  </a:cubicBezTo>
                  <a:cubicBezTo>
                    <a:pt x="341" y="431"/>
                    <a:pt x="341" y="431"/>
                    <a:pt x="340" y="431"/>
                  </a:cubicBezTo>
                  <a:cubicBezTo>
                    <a:pt x="340" y="431"/>
                    <a:pt x="340" y="431"/>
                    <a:pt x="340" y="431"/>
                  </a:cubicBezTo>
                  <a:cubicBezTo>
                    <a:pt x="340" y="431"/>
                    <a:pt x="340" y="430"/>
                    <a:pt x="340" y="430"/>
                  </a:cubicBezTo>
                  <a:lnTo>
                    <a:pt x="340" y="432"/>
                  </a:lnTo>
                  <a:cubicBezTo>
                    <a:pt x="339" y="435"/>
                    <a:pt x="339" y="432"/>
                    <a:pt x="339" y="430"/>
                  </a:cubicBezTo>
                  <a:cubicBezTo>
                    <a:pt x="339" y="431"/>
                    <a:pt x="339" y="432"/>
                    <a:pt x="338" y="433"/>
                  </a:cubicBezTo>
                  <a:cubicBezTo>
                    <a:pt x="338" y="433"/>
                    <a:pt x="338" y="432"/>
                    <a:pt x="338" y="432"/>
                  </a:cubicBezTo>
                  <a:lnTo>
                    <a:pt x="338" y="433"/>
                  </a:lnTo>
                  <a:lnTo>
                    <a:pt x="339" y="430"/>
                  </a:lnTo>
                  <a:cubicBezTo>
                    <a:pt x="338" y="431"/>
                    <a:pt x="337" y="432"/>
                    <a:pt x="335" y="435"/>
                  </a:cubicBezTo>
                  <a:cubicBezTo>
                    <a:pt x="336" y="434"/>
                    <a:pt x="336" y="433"/>
                    <a:pt x="336" y="432"/>
                  </a:cubicBezTo>
                  <a:lnTo>
                    <a:pt x="336" y="432"/>
                  </a:lnTo>
                  <a:lnTo>
                    <a:pt x="336" y="430"/>
                  </a:lnTo>
                  <a:lnTo>
                    <a:pt x="335" y="431"/>
                  </a:lnTo>
                  <a:cubicBezTo>
                    <a:pt x="333" y="433"/>
                    <a:pt x="332" y="434"/>
                    <a:pt x="332" y="433"/>
                  </a:cubicBezTo>
                  <a:cubicBezTo>
                    <a:pt x="334" y="431"/>
                    <a:pt x="335" y="430"/>
                    <a:pt x="337" y="428"/>
                  </a:cubicBezTo>
                  <a:cubicBezTo>
                    <a:pt x="335" y="429"/>
                    <a:pt x="335" y="430"/>
                    <a:pt x="334" y="431"/>
                  </a:cubicBezTo>
                  <a:cubicBezTo>
                    <a:pt x="332" y="432"/>
                    <a:pt x="331" y="432"/>
                    <a:pt x="332" y="431"/>
                  </a:cubicBezTo>
                  <a:lnTo>
                    <a:pt x="333" y="430"/>
                  </a:lnTo>
                  <a:cubicBezTo>
                    <a:pt x="332" y="430"/>
                    <a:pt x="333" y="429"/>
                    <a:pt x="333" y="429"/>
                  </a:cubicBezTo>
                  <a:cubicBezTo>
                    <a:pt x="334" y="428"/>
                    <a:pt x="334" y="426"/>
                    <a:pt x="333" y="425"/>
                  </a:cubicBezTo>
                  <a:cubicBezTo>
                    <a:pt x="330" y="424"/>
                    <a:pt x="331" y="421"/>
                    <a:pt x="327" y="424"/>
                  </a:cubicBezTo>
                  <a:cubicBezTo>
                    <a:pt x="324" y="422"/>
                    <a:pt x="329" y="421"/>
                    <a:pt x="329" y="420"/>
                  </a:cubicBezTo>
                  <a:cubicBezTo>
                    <a:pt x="326" y="420"/>
                    <a:pt x="325" y="415"/>
                    <a:pt x="326" y="413"/>
                  </a:cubicBezTo>
                  <a:cubicBezTo>
                    <a:pt x="319" y="415"/>
                    <a:pt x="323" y="404"/>
                    <a:pt x="318" y="406"/>
                  </a:cubicBezTo>
                  <a:lnTo>
                    <a:pt x="319" y="402"/>
                  </a:lnTo>
                  <a:cubicBezTo>
                    <a:pt x="317" y="403"/>
                    <a:pt x="314" y="404"/>
                    <a:pt x="312" y="402"/>
                  </a:cubicBezTo>
                  <a:cubicBezTo>
                    <a:pt x="312" y="399"/>
                    <a:pt x="315" y="398"/>
                    <a:pt x="316" y="397"/>
                  </a:cubicBezTo>
                  <a:lnTo>
                    <a:pt x="310" y="399"/>
                  </a:lnTo>
                  <a:cubicBezTo>
                    <a:pt x="308" y="384"/>
                    <a:pt x="295" y="372"/>
                    <a:pt x="291" y="358"/>
                  </a:cubicBezTo>
                  <a:cubicBezTo>
                    <a:pt x="286" y="353"/>
                    <a:pt x="279" y="348"/>
                    <a:pt x="276" y="341"/>
                  </a:cubicBezTo>
                  <a:lnTo>
                    <a:pt x="277" y="341"/>
                  </a:lnTo>
                  <a:lnTo>
                    <a:pt x="274" y="334"/>
                  </a:lnTo>
                  <a:lnTo>
                    <a:pt x="275" y="340"/>
                  </a:lnTo>
                  <a:cubicBezTo>
                    <a:pt x="273" y="339"/>
                    <a:pt x="272" y="339"/>
                    <a:pt x="271" y="338"/>
                  </a:cubicBezTo>
                  <a:cubicBezTo>
                    <a:pt x="268" y="329"/>
                    <a:pt x="264" y="319"/>
                    <a:pt x="255" y="312"/>
                  </a:cubicBezTo>
                  <a:cubicBezTo>
                    <a:pt x="246" y="311"/>
                    <a:pt x="257" y="305"/>
                    <a:pt x="250" y="303"/>
                  </a:cubicBezTo>
                  <a:cubicBezTo>
                    <a:pt x="251" y="303"/>
                    <a:pt x="251" y="303"/>
                    <a:pt x="252" y="303"/>
                  </a:cubicBezTo>
                  <a:cubicBezTo>
                    <a:pt x="246" y="298"/>
                    <a:pt x="243" y="296"/>
                    <a:pt x="236" y="293"/>
                  </a:cubicBezTo>
                  <a:cubicBezTo>
                    <a:pt x="242" y="290"/>
                    <a:pt x="233" y="290"/>
                    <a:pt x="236" y="288"/>
                  </a:cubicBezTo>
                  <a:lnTo>
                    <a:pt x="234" y="289"/>
                  </a:lnTo>
                  <a:cubicBezTo>
                    <a:pt x="234" y="287"/>
                    <a:pt x="232" y="284"/>
                    <a:pt x="234" y="283"/>
                  </a:cubicBezTo>
                  <a:lnTo>
                    <a:pt x="229" y="282"/>
                  </a:lnTo>
                  <a:lnTo>
                    <a:pt x="231" y="281"/>
                  </a:lnTo>
                  <a:cubicBezTo>
                    <a:pt x="229" y="277"/>
                    <a:pt x="222" y="272"/>
                    <a:pt x="224" y="267"/>
                  </a:cubicBezTo>
                  <a:cubicBezTo>
                    <a:pt x="219" y="264"/>
                    <a:pt x="215" y="259"/>
                    <a:pt x="209" y="254"/>
                  </a:cubicBezTo>
                  <a:cubicBezTo>
                    <a:pt x="207" y="251"/>
                    <a:pt x="204" y="248"/>
                    <a:pt x="202" y="245"/>
                  </a:cubicBezTo>
                  <a:cubicBezTo>
                    <a:pt x="200" y="243"/>
                    <a:pt x="198" y="240"/>
                    <a:pt x="196" y="238"/>
                  </a:cubicBezTo>
                  <a:cubicBezTo>
                    <a:pt x="193" y="238"/>
                    <a:pt x="190" y="236"/>
                    <a:pt x="188" y="234"/>
                  </a:cubicBezTo>
                  <a:lnTo>
                    <a:pt x="189" y="230"/>
                  </a:lnTo>
                  <a:cubicBezTo>
                    <a:pt x="186" y="228"/>
                    <a:pt x="181" y="229"/>
                    <a:pt x="181" y="226"/>
                  </a:cubicBezTo>
                  <a:cubicBezTo>
                    <a:pt x="181" y="226"/>
                    <a:pt x="181" y="225"/>
                    <a:pt x="181" y="225"/>
                  </a:cubicBezTo>
                  <a:cubicBezTo>
                    <a:pt x="179" y="224"/>
                    <a:pt x="178" y="221"/>
                    <a:pt x="174" y="221"/>
                  </a:cubicBezTo>
                  <a:cubicBezTo>
                    <a:pt x="172" y="219"/>
                    <a:pt x="171" y="215"/>
                    <a:pt x="174" y="214"/>
                  </a:cubicBezTo>
                  <a:cubicBezTo>
                    <a:pt x="170" y="217"/>
                    <a:pt x="170" y="208"/>
                    <a:pt x="170" y="208"/>
                  </a:cubicBezTo>
                  <a:cubicBezTo>
                    <a:pt x="170" y="208"/>
                    <a:pt x="68" y="84"/>
                    <a:pt x="20" y="76"/>
                  </a:cubicBezTo>
                  <a:cubicBezTo>
                    <a:pt x="17" y="77"/>
                    <a:pt x="13" y="76"/>
                    <a:pt x="12" y="79"/>
                  </a:cubicBezTo>
                  <a:cubicBezTo>
                    <a:pt x="9" y="78"/>
                    <a:pt x="11" y="74"/>
                    <a:pt x="9" y="75"/>
                  </a:cubicBezTo>
                  <a:cubicBezTo>
                    <a:pt x="10" y="79"/>
                    <a:pt x="3" y="79"/>
                    <a:pt x="4" y="84"/>
                  </a:cubicBezTo>
                  <a:lnTo>
                    <a:pt x="1" y="83"/>
                  </a:lnTo>
                  <a:cubicBezTo>
                    <a:pt x="0" y="84"/>
                    <a:pt x="5" y="84"/>
                    <a:pt x="2" y="85"/>
                  </a:cubicBezTo>
                  <a:lnTo>
                    <a:pt x="6" y="83"/>
                  </a:lnTo>
                  <a:cubicBezTo>
                    <a:pt x="7" y="84"/>
                    <a:pt x="7" y="86"/>
                    <a:pt x="6" y="88"/>
                  </a:cubicBezTo>
                  <a:cubicBezTo>
                    <a:pt x="9" y="88"/>
                    <a:pt x="15" y="84"/>
                    <a:pt x="16" y="89"/>
                  </a:cubicBezTo>
                  <a:lnTo>
                    <a:pt x="15" y="88"/>
                  </a:lnTo>
                  <a:cubicBezTo>
                    <a:pt x="17" y="91"/>
                    <a:pt x="14" y="92"/>
                    <a:pt x="14" y="93"/>
                  </a:cubicBezTo>
                  <a:lnTo>
                    <a:pt x="13" y="93"/>
                  </a:lnTo>
                  <a:lnTo>
                    <a:pt x="14" y="96"/>
                  </a:lnTo>
                  <a:cubicBezTo>
                    <a:pt x="13" y="94"/>
                    <a:pt x="8" y="94"/>
                    <a:pt x="9" y="95"/>
                  </a:cubicBezTo>
                  <a:cubicBezTo>
                    <a:pt x="11" y="99"/>
                    <a:pt x="9" y="93"/>
                    <a:pt x="12" y="95"/>
                  </a:cubicBezTo>
                  <a:cubicBezTo>
                    <a:pt x="14" y="96"/>
                    <a:pt x="11" y="98"/>
                    <a:pt x="10" y="99"/>
                  </a:cubicBezTo>
                  <a:lnTo>
                    <a:pt x="13" y="101"/>
                  </a:lnTo>
                  <a:cubicBezTo>
                    <a:pt x="11" y="103"/>
                    <a:pt x="11" y="99"/>
                    <a:pt x="10" y="102"/>
                  </a:cubicBezTo>
                  <a:lnTo>
                    <a:pt x="15" y="104"/>
                  </a:lnTo>
                  <a:cubicBezTo>
                    <a:pt x="12" y="108"/>
                    <a:pt x="21" y="105"/>
                    <a:pt x="18" y="111"/>
                  </a:cubicBezTo>
                  <a:cubicBezTo>
                    <a:pt x="15" y="109"/>
                    <a:pt x="17" y="112"/>
                    <a:pt x="15" y="113"/>
                  </a:cubicBezTo>
                  <a:lnTo>
                    <a:pt x="21" y="118"/>
                  </a:lnTo>
                  <a:cubicBezTo>
                    <a:pt x="21" y="120"/>
                    <a:pt x="18" y="118"/>
                    <a:pt x="19" y="119"/>
                  </a:cubicBezTo>
                  <a:cubicBezTo>
                    <a:pt x="19" y="121"/>
                    <a:pt x="22" y="120"/>
                    <a:pt x="23" y="120"/>
                  </a:cubicBezTo>
                  <a:cubicBezTo>
                    <a:pt x="22" y="122"/>
                    <a:pt x="27" y="124"/>
                    <a:pt x="24" y="127"/>
                  </a:cubicBezTo>
                  <a:cubicBezTo>
                    <a:pt x="26" y="133"/>
                    <a:pt x="29" y="125"/>
                    <a:pt x="31" y="130"/>
                  </a:cubicBezTo>
                  <a:cubicBezTo>
                    <a:pt x="29" y="132"/>
                    <a:pt x="28" y="128"/>
                    <a:pt x="27" y="131"/>
                  </a:cubicBezTo>
                  <a:lnTo>
                    <a:pt x="32" y="134"/>
                  </a:lnTo>
                  <a:cubicBezTo>
                    <a:pt x="30" y="135"/>
                    <a:pt x="28" y="136"/>
                    <a:pt x="27" y="134"/>
                  </a:cubicBezTo>
                  <a:cubicBezTo>
                    <a:pt x="35" y="147"/>
                    <a:pt x="31" y="161"/>
                    <a:pt x="42" y="168"/>
                  </a:cubicBezTo>
                  <a:cubicBezTo>
                    <a:pt x="41" y="171"/>
                    <a:pt x="40" y="168"/>
                    <a:pt x="38" y="168"/>
                  </a:cubicBezTo>
                  <a:cubicBezTo>
                    <a:pt x="47" y="172"/>
                    <a:pt x="42" y="182"/>
                    <a:pt x="48" y="187"/>
                  </a:cubicBezTo>
                  <a:lnTo>
                    <a:pt x="50" y="186"/>
                  </a:lnTo>
                  <a:cubicBezTo>
                    <a:pt x="52" y="199"/>
                    <a:pt x="65" y="205"/>
                    <a:pt x="71" y="216"/>
                  </a:cubicBezTo>
                  <a:lnTo>
                    <a:pt x="71" y="214"/>
                  </a:lnTo>
                  <a:cubicBezTo>
                    <a:pt x="74" y="214"/>
                    <a:pt x="76" y="216"/>
                    <a:pt x="78" y="216"/>
                  </a:cubicBezTo>
                  <a:cubicBezTo>
                    <a:pt x="78" y="217"/>
                    <a:pt x="74" y="219"/>
                    <a:pt x="77" y="221"/>
                  </a:cubicBezTo>
                  <a:cubicBezTo>
                    <a:pt x="77" y="220"/>
                    <a:pt x="77" y="218"/>
                    <a:pt x="78" y="217"/>
                  </a:cubicBezTo>
                  <a:cubicBezTo>
                    <a:pt x="81" y="229"/>
                    <a:pt x="98" y="245"/>
                    <a:pt x="108" y="259"/>
                  </a:cubicBezTo>
                  <a:cubicBezTo>
                    <a:pt x="117" y="267"/>
                    <a:pt x="125" y="276"/>
                    <a:pt x="133" y="286"/>
                  </a:cubicBezTo>
                  <a:cubicBezTo>
                    <a:pt x="137" y="290"/>
                    <a:pt x="141" y="295"/>
                    <a:pt x="145" y="300"/>
                  </a:cubicBezTo>
                  <a:cubicBezTo>
                    <a:pt x="149" y="304"/>
                    <a:pt x="152" y="307"/>
                    <a:pt x="156" y="311"/>
                  </a:cubicBezTo>
                  <a:cubicBezTo>
                    <a:pt x="154" y="309"/>
                    <a:pt x="159" y="306"/>
                    <a:pt x="159" y="309"/>
                  </a:cubicBezTo>
                  <a:cubicBezTo>
                    <a:pt x="156" y="320"/>
                    <a:pt x="168" y="316"/>
                    <a:pt x="167" y="326"/>
                  </a:cubicBezTo>
                  <a:cubicBezTo>
                    <a:pt x="178" y="334"/>
                    <a:pt x="178" y="348"/>
                    <a:pt x="191" y="354"/>
                  </a:cubicBezTo>
                  <a:lnTo>
                    <a:pt x="189" y="355"/>
                  </a:lnTo>
                  <a:cubicBezTo>
                    <a:pt x="190" y="358"/>
                    <a:pt x="191" y="357"/>
                    <a:pt x="193" y="358"/>
                  </a:cubicBezTo>
                  <a:lnTo>
                    <a:pt x="192" y="359"/>
                  </a:lnTo>
                  <a:cubicBezTo>
                    <a:pt x="194" y="363"/>
                    <a:pt x="199" y="366"/>
                    <a:pt x="200" y="369"/>
                  </a:cubicBezTo>
                  <a:lnTo>
                    <a:pt x="202" y="367"/>
                  </a:lnTo>
                  <a:cubicBezTo>
                    <a:pt x="204" y="369"/>
                    <a:pt x="201" y="369"/>
                    <a:pt x="204" y="371"/>
                  </a:cubicBezTo>
                  <a:lnTo>
                    <a:pt x="203" y="371"/>
                  </a:lnTo>
                  <a:lnTo>
                    <a:pt x="207" y="372"/>
                  </a:lnTo>
                  <a:cubicBezTo>
                    <a:pt x="203" y="375"/>
                    <a:pt x="211" y="379"/>
                    <a:pt x="211" y="382"/>
                  </a:cubicBezTo>
                  <a:cubicBezTo>
                    <a:pt x="214" y="384"/>
                    <a:pt x="219" y="389"/>
                    <a:pt x="221" y="394"/>
                  </a:cubicBezTo>
                  <a:cubicBezTo>
                    <a:pt x="220" y="396"/>
                    <a:pt x="223" y="401"/>
                    <a:pt x="225" y="406"/>
                  </a:cubicBezTo>
                  <a:cubicBezTo>
                    <a:pt x="230" y="412"/>
                    <a:pt x="237" y="421"/>
                    <a:pt x="242" y="430"/>
                  </a:cubicBezTo>
                  <a:lnTo>
                    <a:pt x="245" y="428"/>
                  </a:lnTo>
                  <a:lnTo>
                    <a:pt x="247" y="430"/>
                  </a:lnTo>
                  <a:cubicBezTo>
                    <a:pt x="246" y="431"/>
                    <a:pt x="246" y="431"/>
                    <a:pt x="245" y="431"/>
                  </a:cubicBezTo>
                  <a:cubicBezTo>
                    <a:pt x="243" y="435"/>
                    <a:pt x="250" y="436"/>
                    <a:pt x="249" y="439"/>
                  </a:cubicBezTo>
                  <a:cubicBezTo>
                    <a:pt x="251" y="436"/>
                    <a:pt x="248" y="437"/>
                    <a:pt x="248" y="436"/>
                  </a:cubicBezTo>
                  <a:cubicBezTo>
                    <a:pt x="248" y="433"/>
                    <a:pt x="252" y="433"/>
                    <a:pt x="252" y="436"/>
                  </a:cubicBezTo>
                  <a:lnTo>
                    <a:pt x="251" y="437"/>
                  </a:lnTo>
                  <a:lnTo>
                    <a:pt x="254" y="437"/>
                  </a:lnTo>
                  <a:cubicBezTo>
                    <a:pt x="252" y="439"/>
                    <a:pt x="252" y="441"/>
                    <a:pt x="250" y="443"/>
                  </a:cubicBezTo>
                  <a:cubicBezTo>
                    <a:pt x="255" y="450"/>
                    <a:pt x="262" y="452"/>
                    <a:pt x="266" y="461"/>
                  </a:cubicBezTo>
                  <a:cubicBezTo>
                    <a:pt x="263" y="462"/>
                    <a:pt x="271" y="466"/>
                    <a:pt x="265" y="467"/>
                  </a:cubicBezTo>
                  <a:cubicBezTo>
                    <a:pt x="270" y="471"/>
                    <a:pt x="268" y="464"/>
                    <a:pt x="273" y="464"/>
                  </a:cubicBezTo>
                  <a:cubicBezTo>
                    <a:pt x="274" y="466"/>
                    <a:pt x="276" y="466"/>
                    <a:pt x="274" y="468"/>
                  </a:cubicBezTo>
                  <a:cubicBezTo>
                    <a:pt x="273" y="468"/>
                    <a:pt x="273" y="472"/>
                    <a:pt x="271" y="470"/>
                  </a:cubicBezTo>
                  <a:lnTo>
                    <a:pt x="275" y="476"/>
                  </a:lnTo>
                  <a:cubicBezTo>
                    <a:pt x="275" y="476"/>
                    <a:pt x="274" y="476"/>
                    <a:pt x="273" y="475"/>
                  </a:cubicBezTo>
                  <a:cubicBezTo>
                    <a:pt x="283" y="485"/>
                    <a:pt x="285" y="500"/>
                    <a:pt x="294" y="508"/>
                  </a:cubicBezTo>
                  <a:cubicBezTo>
                    <a:pt x="295" y="507"/>
                    <a:pt x="291" y="503"/>
                    <a:pt x="293" y="502"/>
                  </a:cubicBezTo>
                  <a:cubicBezTo>
                    <a:pt x="294" y="503"/>
                    <a:pt x="295" y="504"/>
                    <a:pt x="296" y="505"/>
                  </a:cubicBezTo>
                  <a:cubicBezTo>
                    <a:pt x="304" y="504"/>
                    <a:pt x="302" y="509"/>
                    <a:pt x="314" y="507"/>
                  </a:cubicBezTo>
                  <a:lnTo>
                    <a:pt x="310" y="510"/>
                  </a:lnTo>
                  <a:cubicBezTo>
                    <a:pt x="315" y="508"/>
                    <a:pt x="317" y="505"/>
                    <a:pt x="323" y="508"/>
                  </a:cubicBezTo>
                  <a:cubicBezTo>
                    <a:pt x="323" y="511"/>
                    <a:pt x="317" y="510"/>
                    <a:pt x="313" y="512"/>
                  </a:cubicBezTo>
                  <a:cubicBezTo>
                    <a:pt x="318" y="512"/>
                    <a:pt x="329" y="511"/>
                    <a:pt x="326" y="508"/>
                  </a:cubicBezTo>
                  <a:cubicBezTo>
                    <a:pt x="332" y="507"/>
                    <a:pt x="333" y="510"/>
                    <a:pt x="336" y="511"/>
                  </a:cubicBezTo>
                  <a:cubicBezTo>
                    <a:pt x="336" y="510"/>
                    <a:pt x="331" y="509"/>
                    <a:pt x="335" y="507"/>
                  </a:cubicBezTo>
                  <a:cubicBezTo>
                    <a:pt x="336" y="508"/>
                    <a:pt x="338" y="508"/>
                    <a:pt x="341" y="508"/>
                  </a:cubicBezTo>
                  <a:cubicBezTo>
                    <a:pt x="342" y="508"/>
                    <a:pt x="343" y="509"/>
                    <a:pt x="344" y="509"/>
                  </a:cubicBezTo>
                  <a:cubicBezTo>
                    <a:pt x="347" y="509"/>
                    <a:pt x="349" y="509"/>
                    <a:pt x="352" y="509"/>
                  </a:cubicBezTo>
                  <a:cubicBezTo>
                    <a:pt x="352" y="510"/>
                    <a:pt x="352" y="511"/>
                    <a:pt x="352" y="511"/>
                  </a:cubicBezTo>
                  <a:cubicBezTo>
                    <a:pt x="355" y="507"/>
                    <a:pt x="355" y="514"/>
                    <a:pt x="360" y="513"/>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grpSp>
          <p:nvGrpSpPr>
            <p:cNvPr id="7" name="Group 6"/>
            <p:cNvGrpSpPr/>
            <p:nvPr/>
          </p:nvGrpSpPr>
          <p:grpSpPr>
            <a:xfrm flipH="1" flipV="1">
              <a:off x="2033193" y="3438505"/>
              <a:ext cx="1843104" cy="1858632"/>
              <a:chOff x="3522663" y="3930651"/>
              <a:chExt cx="1004888" cy="644525"/>
            </a:xfrm>
          </p:grpSpPr>
          <p:sp>
            <p:nvSpPr>
              <p:cNvPr id="659" name="Freeform 2413"/>
              <p:cNvSpPr>
                <a:spLocks/>
              </p:cNvSpPr>
              <p:nvPr/>
            </p:nvSpPr>
            <p:spPr bwMode="auto">
              <a:xfrm>
                <a:off x="4395788" y="3935413"/>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1"/>
                      <a:pt x="0" y="1"/>
                      <a:pt x="0" y="0"/>
                    </a:cubicBezTo>
                    <a:cubicBezTo>
                      <a:pt x="0" y="1"/>
                      <a:pt x="0" y="1"/>
                      <a:pt x="0"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0" name="Freeform 2414"/>
              <p:cNvSpPr>
                <a:spLocks/>
              </p:cNvSpPr>
              <p:nvPr/>
            </p:nvSpPr>
            <p:spPr bwMode="auto">
              <a:xfrm>
                <a:off x="4319588" y="3937001"/>
                <a:ext cx="0" cy="1588"/>
              </a:xfrm>
              <a:custGeom>
                <a:avLst/>
                <a:gdLst>
                  <a:gd name="T0" fmla="*/ 0 w 2"/>
                  <a:gd name="T1" fmla="*/ 1 h 1"/>
                  <a:gd name="T2" fmla="*/ 0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0" y="1"/>
                    </a:lnTo>
                    <a:lnTo>
                      <a:pt x="2" y="0"/>
                    </a:lnTo>
                    <a:cubicBezTo>
                      <a:pt x="0" y="1"/>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1" name="Freeform 2415"/>
              <p:cNvSpPr>
                <a:spLocks/>
              </p:cNvSpPr>
              <p:nvPr/>
            </p:nvSpPr>
            <p:spPr bwMode="auto">
              <a:xfrm>
                <a:off x="4441826" y="3932238"/>
                <a:ext cx="3175" cy="1588"/>
              </a:xfrm>
              <a:custGeom>
                <a:avLst/>
                <a:gdLst>
                  <a:gd name="T0" fmla="*/ 0 w 10"/>
                  <a:gd name="T1" fmla="*/ 0 h 1"/>
                  <a:gd name="T2" fmla="*/ 0 w 10"/>
                  <a:gd name="T3" fmla="*/ 0 h 1"/>
                  <a:gd name="T4" fmla="*/ 0 w 10"/>
                  <a:gd name="T5" fmla="*/ 1 h 1"/>
                  <a:gd name="T6" fmla="*/ 10 w 10"/>
                  <a:gd name="T7" fmla="*/ 0 h 1"/>
                  <a:gd name="T8" fmla="*/ 0 w 10"/>
                  <a:gd name="T9" fmla="*/ 0 h 1"/>
                </a:gdLst>
                <a:ahLst/>
                <a:cxnLst>
                  <a:cxn ang="0">
                    <a:pos x="T0" y="T1"/>
                  </a:cxn>
                  <a:cxn ang="0">
                    <a:pos x="T2" y="T3"/>
                  </a:cxn>
                  <a:cxn ang="0">
                    <a:pos x="T4" y="T5"/>
                  </a:cxn>
                  <a:cxn ang="0">
                    <a:pos x="T6" y="T7"/>
                  </a:cxn>
                  <a:cxn ang="0">
                    <a:pos x="T8" y="T9"/>
                  </a:cxn>
                </a:cxnLst>
                <a:rect l="0" t="0" r="r" b="b"/>
                <a:pathLst>
                  <a:path w="10" h="1">
                    <a:moveTo>
                      <a:pt x="0" y="0"/>
                    </a:moveTo>
                    <a:lnTo>
                      <a:pt x="0" y="0"/>
                    </a:lnTo>
                    <a:cubicBezTo>
                      <a:pt x="0" y="0"/>
                      <a:pt x="0" y="0"/>
                      <a:pt x="0" y="1"/>
                    </a:cubicBezTo>
                    <a:cubicBezTo>
                      <a:pt x="2" y="0"/>
                      <a:pt x="5" y="0"/>
                      <a:pt x="10" y="0"/>
                    </a:cubicBezTo>
                    <a:lnTo>
                      <a:pt x="0"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2" name="Freeform 2416"/>
              <p:cNvSpPr>
                <a:spLocks/>
              </p:cNvSpPr>
              <p:nvPr/>
            </p:nvSpPr>
            <p:spPr bwMode="auto">
              <a:xfrm>
                <a:off x="4156076" y="3943351"/>
                <a:ext cx="1588"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cubicBezTo>
                      <a:pt x="2"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3" name="Freeform 2417"/>
              <p:cNvSpPr>
                <a:spLocks/>
              </p:cNvSpPr>
              <p:nvPr/>
            </p:nvSpPr>
            <p:spPr bwMode="auto">
              <a:xfrm>
                <a:off x="4251326" y="3941763"/>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1"/>
                      <a:pt x="1" y="1"/>
                      <a:pt x="0" y="1"/>
                    </a:cubicBezTo>
                    <a:cubicBezTo>
                      <a:pt x="2" y="1"/>
                      <a:pt x="3" y="1"/>
                      <a:pt x="4"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4" name="Freeform 2418"/>
              <p:cNvSpPr>
                <a:spLocks/>
              </p:cNvSpPr>
              <p:nvPr/>
            </p:nvSpPr>
            <p:spPr bwMode="auto">
              <a:xfrm>
                <a:off x="4465638" y="3940176"/>
                <a:ext cx="1588" cy="0"/>
              </a:xfrm>
              <a:custGeom>
                <a:avLst/>
                <a:gdLst>
                  <a:gd name="T0" fmla="*/ 4 w 4"/>
                  <a:gd name="T1" fmla="*/ 1 h 1"/>
                  <a:gd name="T2" fmla="*/ 4 w 4"/>
                  <a:gd name="T3" fmla="*/ 1 h 1"/>
                  <a:gd name="T4" fmla="*/ 0 w 4"/>
                  <a:gd name="T5" fmla="*/ 0 h 1"/>
                  <a:gd name="T6" fmla="*/ 4 w 4"/>
                  <a:gd name="T7" fmla="*/ 1 h 1"/>
                </a:gdLst>
                <a:ahLst/>
                <a:cxnLst>
                  <a:cxn ang="0">
                    <a:pos x="T0" y="T1"/>
                  </a:cxn>
                  <a:cxn ang="0">
                    <a:pos x="T2" y="T3"/>
                  </a:cxn>
                  <a:cxn ang="0">
                    <a:pos x="T4" y="T5"/>
                  </a:cxn>
                  <a:cxn ang="0">
                    <a:pos x="T6" y="T7"/>
                  </a:cxn>
                </a:cxnLst>
                <a:rect l="0" t="0" r="r" b="b"/>
                <a:pathLst>
                  <a:path w="4" h="1">
                    <a:moveTo>
                      <a:pt x="4" y="1"/>
                    </a:moveTo>
                    <a:lnTo>
                      <a:pt x="4" y="1"/>
                    </a:lnTo>
                    <a:lnTo>
                      <a:pt x="0" y="0"/>
                    </a:lnTo>
                    <a:cubicBezTo>
                      <a:pt x="0" y="0"/>
                      <a:pt x="2" y="1"/>
                      <a:pt x="4"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5" name="Freeform 2419"/>
              <p:cNvSpPr>
                <a:spLocks/>
              </p:cNvSpPr>
              <p:nvPr/>
            </p:nvSpPr>
            <p:spPr bwMode="auto">
              <a:xfrm>
                <a:off x="4513263" y="3933826"/>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0" y="1"/>
                      <a:pt x="0" y="0"/>
                    </a:cubicBezTo>
                    <a:cubicBezTo>
                      <a:pt x="0" y="1"/>
                      <a:pt x="0" y="1"/>
                      <a:pt x="1"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6" name="Freeform 2420"/>
              <p:cNvSpPr>
                <a:spLocks/>
              </p:cNvSpPr>
              <p:nvPr/>
            </p:nvSpPr>
            <p:spPr bwMode="auto">
              <a:xfrm>
                <a:off x="4492626" y="3932238"/>
                <a:ext cx="1588" cy="1588"/>
              </a:xfrm>
              <a:custGeom>
                <a:avLst/>
                <a:gdLst>
                  <a:gd name="T0" fmla="*/ 4 w 4"/>
                  <a:gd name="T1" fmla="*/ 0 h 2"/>
                  <a:gd name="T2" fmla="*/ 4 w 4"/>
                  <a:gd name="T3" fmla="*/ 0 h 2"/>
                  <a:gd name="T4" fmla="*/ 0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4" y="0"/>
                    </a:lnTo>
                    <a:cubicBezTo>
                      <a:pt x="3" y="1"/>
                      <a:pt x="2" y="1"/>
                      <a:pt x="0" y="2"/>
                    </a:cubicBezTo>
                    <a:cubicBezTo>
                      <a:pt x="2" y="2"/>
                      <a:pt x="4" y="1"/>
                      <a:pt x="4"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7" name="Freeform 2421"/>
              <p:cNvSpPr>
                <a:spLocks/>
              </p:cNvSpPr>
              <p:nvPr/>
            </p:nvSpPr>
            <p:spPr bwMode="auto">
              <a:xfrm>
                <a:off x="4492626" y="3933826"/>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cubicBezTo>
                      <a:pt x="1" y="0"/>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8" name="Freeform 2422"/>
              <p:cNvSpPr>
                <a:spLocks/>
              </p:cNvSpPr>
              <p:nvPr/>
            </p:nvSpPr>
            <p:spPr bwMode="auto">
              <a:xfrm>
                <a:off x="3559176" y="3941763"/>
                <a:ext cx="3175" cy="1588"/>
              </a:xfrm>
              <a:custGeom>
                <a:avLst/>
                <a:gdLst>
                  <a:gd name="T0" fmla="*/ 11 w 11"/>
                  <a:gd name="T1" fmla="*/ 1 h 3"/>
                  <a:gd name="T2" fmla="*/ 11 w 11"/>
                  <a:gd name="T3" fmla="*/ 1 h 3"/>
                  <a:gd name="T4" fmla="*/ 0 w 11"/>
                  <a:gd name="T5" fmla="*/ 3 h 3"/>
                  <a:gd name="T6" fmla="*/ 11 w 11"/>
                  <a:gd name="T7" fmla="*/ 1 h 3"/>
                </a:gdLst>
                <a:ahLst/>
                <a:cxnLst>
                  <a:cxn ang="0">
                    <a:pos x="T0" y="T1"/>
                  </a:cxn>
                  <a:cxn ang="0">
                    <a:pos x="T2" y="T3"/>
                  </a:cxn>
                  <a:cxn ang="0">
                    <a:pos x="T4" y="T5"/>
                  </a:cxn>
                  <a:cxn ang="0">
                    <a:pos x="T6" y="T7"/>
                  </a:cxn>
                </a:cxnLst>
                <a:rect l="0" t="0" r="r" b="b"/>
                <a:pathLst>
                  <a:path w="11" h="3">
                    <a:moveTo>
                      <a:pt x="11" y="1"/>
                    </a:moveTo>
                    <a:lnTo>
                      <a:pt x="11" y="1"/>
                    </a:lnTo>
                    <a:cubicBezTo>
                      <a:pt x="7" y="0"/>
                      <a:pt x="3" y="2"/>
                      <a:pt x="0" y="3"/>
                    </a:cubicBezTo>
                    <a:lnTo>
                      <a:pt x="11" y="1"/>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9" name="Freeform 2423"/>
              <p:cNvSpPr>
                <a:spLocks/>
              </p:cNvSpPr>
              <p:nvPr/>
            </p:nvSpPr>
            <p:spPr bwMode="auto">
              <a:xfrm>
                <a:off x="4008438" y="3944938"/>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0" y="0"/>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0" name="Freeform 2424"/>
              <p:cNvSpPr>
                <a:spLocks/>
              </p:cNvSpPr>
              <p:nvPr/>
            </p:nvSpPr>
            <p:spPr bwMode="auto">
              <a:xfrm>
                <a:off x="3560763" y="3948113"/>
                <a:ext cx="0"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cubicBezTo>
                      <a:pt x="1" y="0"/>
                      <a:pt x="2" y="0"/>
                      <a:pt x="3"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1" name="Freeform 2425"/>
              <p:cNvSpPr>
                <a:spLocks/>
              </p:cNvSpPr>
              <p:nvPr/>
            </p:nvSpPr>
            <p:spPr bwMode="auto">
              <a:xfrm>
                <a:off x="4438651" y="3943351"/>
                <a:ext cx="3175" cy="1588"/>
              </a:xfrm>
              <a:custGeom>
                <a:avLst/>
                <a:gdLst>
                  <a:gd name="T0" fmla="*/ 13 w 13"/>
                  <a:gd name="T1" fmla="*/ 0 h 3"/>
                  <a:gd name="T2" fmla="*/ 13 w 13"/>
                  <a:gd name="T3" fmla="*/ 0 h 3"/>
                  <a:gd name="T4" fmla="*/ 0 w 13"/>
                  <a:gd name="T5" fmla="*/ 2 h 3"/>
                  <a:gd name="T6" fmla="*/ 13 w 13"/>
                  <a:gd name="T7" fmla="*/ 0 h 3"/>
                </a:gdLst>
                <a:ahLst/>
                <a:cxnLst>
                  <a:cxn ang="0">
                    <a:pos x="T0" y="T1"/>
                  </a:cxn>
                  <a:cxn ang="0">
                    <a:pos x="T2" y="T3"/>
                  </a:cxn>
                  <a:cxn ang="0">
                    <a:pos x="T4" y="T5"/>
                  </a:cxn>
                  <a:cxn ang="0">
                    <a:pos x="T6" y="T7"/>
                  </a:cxn>
                </a:cxnLst>
                <a:rect l="0" t="0" r="r" b="b"/>
                <a:pathLst>
                  <a:path w="13" h="3">
                    <a:moveTo>
                      <a:pt x="13" y="0"/>
                    </a:moveTo>
                    <a:lnTo>
                      <a:pt x="13" y="0"/>
                    </a:lnTo>
                    <a:cubicBezTo>
                      <a:pt x="9" y="2"/>
                      <a:pt x="0" y="1"/>
                      <a:pt x="0" y="2"/>
                    </a:cubicBezTo>
                    <a:cubicBezTo>
                      <a:pt x="5" y="2"/>
                      <a:pt x="12" y="3"/>
                      <a:pt x="13"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2" name="Freeform 2426"/>
              <p:cNvSpPr>
                <a:spLocks/>
              </p:cNvSpPr>
              <p:nvPr/>
            </p:nvSpPr>
            <p:spPr bwMode="auto">
              <a:xfrm>
                <a:off x="3976688" y="3968751"/>
                <a:ext cx="0"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cubicBezTo>
                      <a:pt x="1" y="0"/>
                      <a:pt x="2" y="0"/>
                      <a:pt x="2"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3" name="Freeform 2427"/>
              <p:cNvSpPr>
                <a:spLocks/>
              </p:cNvSpPr>
              <p:nvPr/>
            </p:nvSpPr>
            <p:spPr bwMode="auto">
              <a:xfrm>
                <a:off x="3560763" y="3948113"/>
                <a:ext cx="1588" cy="0"/>
              </a:xfrm>
              <a:custGeom>
                <a:avLst/>
                <a:gdLst>
                  <a:gd name="T0" fmla="*/ 0 w 3"/>
                  <a:gd name="T1" fmla="*/ 0 h 1"/>
                  <a:gd name="T2" fmla="*/ 0 w 3"/>
                  <a:gd name="T3" fmla="*/ 0 h 1"/>
                  <a:gd name="T4" fmla="*/ 3 w 3"/>
                  <a:gd name="T5" fmla="*/ 1 h 1"/>
                  <a:gd name="T6" fmla="*/ 2 w 3"/>
                  <a:gd name="T7" fmla="*/ 0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lnTo>
                      <a:pt x="0" y="0"/>
                    </a:lnTo>
                    <a:lnTo>
                      <a:pt x="3" y="1"/>
                    </a:lnTo>
                    <a:cubicBezTo>
                      <a:pt x="3" y="0"/>
                      <a:pt x="3" y="0"/>
                      <a:pt x="2" y="0"/>
                    </a:cubicBezTo>
                    <a:cubicBezTo>
                      <a:pt x="2"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4" name="Freeform 2428"/>
              <p:cNvSpPr>
                <a:spLocks/>
              </p:cNvSpPr>
              <p:nvPr/>
            </p:nvSpPr>
            <p:spPr bwMode="auto">
              <a:xfrm>
                <a:off x="3854451" y="3943351"/>
                <a:ext cx="0"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0" y="0"/>
                      <a:pt x="0" y="0"/>
                    </a:cubicBezTo>
                    <a:cubicBezTo>
                      <a:pt x="1" y="0"/>
                      <a:pt x="1" y="0"/>
                      <a:pt x="1" y="0"/>
                    </a:cubicBezTo>
                    <a:lnTo>
                      <a:pt x="0"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5" name="Freeform 2429"/>
              <p:cNvSpPr>
                <a:spLocks/>
              </p:cNvSpPr>
              <p:nvPr/>
            </p:nvSpPr>
            <p:spPr bwMode="auto">
              <a:xfrm>
                <a:off x="3846513" y="3941763"/>
                <a:ext cx="1588" cy="0"/>
              </a:xfrm>
              <a:custGeom>
                <a:avLst/>
                <a:gdLst>
                  <a:gd name="T0" fmla="*/ 0 w 6"/>
                  <a:gd name="T1" fmla="*/ 1 h 1"/>
                  <a:gd name="T2" fmla="*/ 0 w 6"/>
                  <a:gd name="T3" fmla="*/ 1 h 1"/>
                  <a:gd name="T4" fmla="*/ 6 w 6"/>
                  <a:gd name="T5" fmla="*/ 1 h 1"/>
                  <a:gd name="T6" fmla="*/ 0 w 6"/>
                  <a:gd name="T7" fmla="*/ 1 h 1"/>
                </a:gdLst>
                <a:ahLst/>
                <a:cxnLst>
                  <a:cxn ang="0">
                    <a:pos x="T0" y="T1"/>
                  </a:cxn>
                  <a:cxn ang="0">
                    <a:pos x="T2" y="T3"/>
                  </a:cxn>
                  <a:cxn ang="0">
                    <a:pos x="T4" y="T5"/>
                  </a:cxn>
                  <a:cxn ang="0">
                    <a:pos x="T6" y="T7"/>
                  </a:cxn>
                </a:cxnLst>
                <a:rect l="0" t="0" r="r" b="b"/>
                <a:pathLst>
                  <a:path w="6" h="1">
                    <a:moveTo>
                      <a:pt x="0" y="1"/>
                    </a:moveTo>
                    <a:lnTo>
                      <a:pt x="0" y="1"/>
                    </a:lnTo>
                    <a:cubicBezTo>
                      <a:pt x="2" y="1"/>
                      <a:pt x="4" y="1"/>
                      <a:pt x="6" y="1"/>
                    </a:cubicBezTo>
                    <a:cubicBezTo>
                      <a:pt x="3" y="0"/>
                      <a:pt x="1"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6" name="Freeform 2430"/>
              <p:cNvSpPr>
                <a:spLocks/>
              </p:cNvSpPr>
              <p:nvPr/>
            </p:nvSpPr>
            <p:spPr bwMode="auto">
              <a:xfrm>
                <a:off x="3557588" y="3943351"/>
                <a:ext cx="1588" cy="0"/>
              </a:xfrm>
              <a:custGeom>
                <a:avLst/>
                <a:gdLst>
                  <a:gd name="T0" fmla="*/ 7 w 7"/>
                  <a:gd name="T1" fmla="*/ 0 h 2"/>
                  <a:gd name="T2" fmla="*/ 7 w 7"/>
                  <a:gd name="T3" fmla="*/ 0 h 2"/>
                  <a:gd name="T4" fmla="*/ 0 w 7"/>
                  <a:gd name="T5" fmla="*/ 2 h 2"/>
                  <a:gd name="T6" fmla="*/ 7 w 7"/>
                  <a:gd name="T7" fmla="*/ 0 h 2"/>
                </a:gdLst>
                <a:ahLst/>
                <a:cxnLst>
                  <a:cxn ang="0">
                    <a:pos x="T0" y="T1"/>
                  </a:cxn>
                  <a:cxn ang="0">
                    <a:pos x="T2" y="T3"/>
                  </a:cxn>
                  <a:cxn ang="0">
                    <a:pos x="T4" y="T5"/>
                  </a:cxn>
                  <a:cxn ang="0">
                    <a:pos x="T6" y="T7"/>
                  </a:cxn>
                </a:cxnLst>
                <a:rect l="0" t="0" r="r" b="b"/>
                <a:pathLst>
                  <a:path w="7" h="2">
                    <a:moveTo>
                      <a:pt x="7" y="0"/>
                    </a:moveTo>
                    <a:lnTo>
                      <a:pt x="7" y="0"/>
                    </a:lnTo>
                    <a:lnTo>
                      <a:pt x="0" y="2"/>
                    </a:lnTo>
                    <a:cubicBezTo>
                      <a:pt x="2" y="1"/>
                      <a:pt x="4" y="1"/>
                      <a:pt x="7"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7" name="Freeform 2431"/>
              <p:cNvSpPr>
                <a:spLocks/>
              </p:cNvSpPr>
              <p:nvPr/>
            </p:nvSpPr>
            <p:spPr bwMode="auto">
              <a:xfrm>
                <a:off x="3757613" y="3940176"/>
                <a:ext cx="1588" cy="1588"/>
              </a:xfrm>
              <a:custGeom>
                <a:avLst/>
                <a:gdLst>
                  <a:gd name="T0" fmla="*/ 0 w 3"/>
                  <a:gd name="T1" fmla="*/ 1 h 1"/>
                  <a:gd name="T2" fmla="*/ 0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lnTo>
                      <a:pt x="0" y="1"/>
                    </a:lnTo>
                    <a:cubicBezTo>
                      <a:pt x="1" y="1"/>
                      <a:pt x="2" y="1"/>
                      <a:pt x="3" y="1"/>
                    </a:cubicBezTo>
                    <a:cubicBezTo>
                      <a:pt x="2" y="0"/>
                      <a:pt x="1"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8" name="Freeform 2432"/>
              <p:cNvSpPr>
                <a:spLocks/>
              </p:cNvSpPr>
              <p:nvPr/>
            </p:nvSpPr>
            <p:spPr bwMode="auto">
              <a:xfrm>
                <a:off x="4259263" y="3941763"/>
                <a:ext cx="0" cy="0"/>
              </a:xfrm>
              <a:custGeom>
                <a:avLst/>
                <a:gdLst>
                  <a:gd name="T0" fmla="*/ 0 w 2"/>
                  <a:gd name="T1" fmla="*/ 1 h 1"/>
                  <a:gd name="T2" fmla="*/ 0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0" y="1"/>
                    </a:lnTo>
                    <a:cubicBezTo>
                      <a:pt x="0" y="1"/>
                      <a:pt x="1" y="1"/>
                      <a:pt x="2" y="1"/>
                    </a:cubicBezTo>
                    <a:cubicBezTo>
                      <a:pt x="2" y="1"/>
                      <a:pt x="2"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9" name="Rectangle 2433"/>
              <p:cNvSpPr>
                <a:spLocks noChangeArrowheads="1"/>
              </p:cNvSpPr>
              <p:nvPr/>
            </p:nvSpPr>
            <p:spPr bwMode="auto">
              <a:xfrm>
                <a:off x="4198938" y="3960813"/>
                <a:ext cx="1588" cy="1588"/>
              </a:xfrm>
              <a:prstGeom prst="rect">
                <a:avLst/>
              </a:prstGeom>
              <a:solidFill>
                <a:srgbClr val="A8B21C"/>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0" name="Freeform 2434"/>
              <p:cNvSpPr>
                <a:spLocks/>
              </p:cNvSpPr>
              <p:nvPr/>
            </p:nvSpPr>
            <p:spPr bwMode="auto">
              <a:xfrm>
                <a:off x="4198938" y="3960813"/>
                <a:ext cx="3175" cy="0"/>
              </a:xfrm>
              <a:custGeom>
                <a:avLst/>
                <a:gdLst>
                  <a:gd name="T0" fmla="*/ 10 w 10"/>
                  <a:gd name="T1" fmla="*/ 0 h 3"/>
                  <a:gd name="T2" fmla="*/ 10 w 10"/>
                  <a:gd name="T3" fmla="*/ 0 h 3"/>
                  <a:gd name="T4" fmla="*/ 0 w 10"/>
                  <a:gd name="T5" fmla="*/ 3 h 3"/>
                  <a:gd name="T6" fmla="*/ 10 w 10"/>
                  <a:gd name="T7" fmla="*/ 0 h 3"/>
                </a:gdLst>
                <a:ahLst/>
                <a:cxnLst>
                  <a:cxn ang="0">
                    <a:pos x="T0" y="T1"/>
                  </a:cxn>
                  <a:cxn ang="0">
                    <a:pos x="T2" y="T3"/>
                  </a:cxn>
                  <a:cxn ang="0">
                    <a:pos x="T4" y="T5"/>
                  </a:cxn>
                  <a:cxn ang="0">
                    <a:pos x="T6" y="T7"/>
                  </a:cxn>
                </a:cxnLst>
                <a:rect l="0" t="0" r="r" b="b"/>
                <a:pathLst>
                  <a:path w="10" h="3">
                    <a:moveTo>
                      <a:pt x="10" y="0"/>
                    </a:moveTo>
                    <a:lnTo>
                      <a:pt x="10" y="0"/>
                    </a:lnTo>
                    <a:cubicBezTo>
                      <a:pt x="7" y="0"/>
                      <a:pt x="2" y="2"/>
                      <a:pt x="0" y="3"/>
                    </a:cubicBezTo>
                    <a:cubicBezTo>
                      <a:pt x="3" y="3"/>
                      <a:pt x="6" y="3"/>
                      <a:pt x="1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1" name="Freeform 2435"/>
              <p:cNvSpPr>
                <a:spLocks/>
              </p:cNvSpPr>
              <p:nvPr/>
            </p:nvSpPr>
            <p:spPr bwMode="auto">
              <a:xfrm>
                <a:off x="4192588" y="3960813"/>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cubicBezTo>
                      <a:pt x="1" y="0"/>
                      <a:pt x="1" y="0"/>
                      <a:pt x="2" y="0"/>
                    </a:cubicBezTo>
                    <a:cubicBezTo>
                      <a:pt x="1"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2" name="Freeform 2436"/>
              <p:cNvSpPr>
                <a:spLocks/>
              </p:cNvSpPr>
              <p:nvPr/>
            </p:nvSpPr>
            <p:spPr bwMode="auto">
              <a:xfrm>
                <a:off x="4257676" y="3959226"/>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3" name="Freeform 2437"/>
              <p:cNvSpPr>
                <a:spLocks/>
              </p:cNvSpPr>
              <p:nvPr/>
            </p:nvSpPr>
            <p:spPr bwMode="auto">
              <a:xfrm>
                <a:off x="4243388" y="3959226"/>
                <a:ext cx="1588"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cubicBezTo>
                      <a:pt x="2" y="0"/>
                      <a:pt x="1" y="0"/>
                      <a:pt x="0" y="0"/>
                    </a:cubicBezTo>
                    <a:cubicBezTo>
                      <a:pt x="1" y="0"/>
                      <a:pt x="2" y="0"/>
                      <a:pt x="3"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4" name="Freeform 2438"/>
              <p:cNvSpPr>
                <a:spLocks/>
              </p:cNvSpPr>
              <p:nvPr/>
            </p:nvSpPr>
            <p:spPr bwMode="auto">
              <a:xfrm>
                <a:off x="4159251" y="3963988"/>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lnTo>
                      <a:pt x="1" y="0"/>
                    </a:lnTo>
                    <a:lnTo>
                      <a:pt x="1" y="0"/>
                    </a:lnTo>
                    <a:cubicBezTo>
                      <a:pt x="1" y="0"/>
                      <a:pt x="1" y="0"/>
                      <a:pt x="0" y="0"/>
                    </a:cubicBezTo>
                    <a:cubicBezTo>
                      <a:pt x="1" y="0"/>
                      <a:pt x="1" y="0"/>
                      <a:pt x="1"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5" name="Freeform 2439"/>
              <p:cNvSpPr>
                <a:spLocks/>
              </p:cNvSpPr>
              <p:nvPr/>
            </p:nvSpPr>
            <p:spPr bwMode="auto">
              <a:xfrm>
                <a:off x="3554413" y="3930651"/>
                <a:ext cx="973138" cy="41275"/>
              </a:xfrm>
              <a:custGeom>
                <a:avLst/>
                <a:gdLst>
                  <a:gd name="T0" fmla="*/ 1712 w 3100"/>
                  <a:gd name="T1" fmla="*/ 124 h 129"/>
                  <a:gd name="T2" fmla="*/ 1836 w 3100"/>
                  <a:gd name="T3" fmla="*/ 116 h 129"/>
                  <a:gd name="T4" fmla="*/ 1921 w 3100"/>
                  <a:gd name="T5" fmla="*/ 107 h 129"/>
                  <a:gd name="T6" fmla="*/ 1969 w 3100"/>
                  <a:gd name="T7" fmla="*/ 106 h 129"/>
                  <a:gd name="T8" fmla="*/ 2021 w 3100"/>
                  <a:gd name="T9" fmla="*/ 101 h 129"/>
                  <a:gd name="T10" fmla="*/ 2045 w 3100"/>
                  <a:gd name="T11" fmla="*/ 98 h 129"/>
                  <a:gd name="T12" fmla="*/ 2093 w 3100"/>
                  <a:gd name="T13" fmla="*/ 96 h 129"/>
                  <a:gd name="T14" fmla="*/ 2155 w 3100"/>
                  <a:gd name="T15" fmla="*/ 94 h 129"/>
                  <a:gd name="T16" fmla="*/ 2225 w 3100"/>
                  <a:gd name="T17" fmla="*/ 84 h 129"/>
                  <a:gd name="T18" fmla="*/ 2296 w 3100"/>
                  <a:gd name="T19" fmla="*/ 75 h 129"/>
                  <a:gd name="T20" fmla="*/ 2342 w 3100"/>
                  <a:gd name="T21" fmla="*/ 74 h 129"/>
                  <a:gd name="T22" fmla="*/ 2388 w 3100"/>
                  <a:gd name="T23" fmla="*/ 72 h 129"/>
                  <a:gd name="T24" fmla="*/ 2461 w 3100"/>
                  <a:gd name="T25" fmla="*/ 77 h 129"/>
                  <a:gd name="T26" fmla="*/ 2535 w 3100"/>
                  <a:gd name="T27" fmla="*/ 56 h 129"/>
                  <a:gd name="T28" fmla="*/ 2600 w 3100"/>
                  <a:gd name="T29" fmla="*/ 50 h 129"/>
                  <a:gd name="T30" fmla="*/ 2698 w 3100"/>
                  <a:gd name="T31" fmla="*/ 51 h 129"/>
                  <a:gd name="T32" fmla="*/ 2762 w 3100"/>
                  <a:gd name="T33" fmla="*/ 40 h 129"/>
                  <a:gd name="T34" fmla="*/ 2804 w 3100"/>
                  <a:gd name="T35" fmla="*/ 32 h 129"/>
                  <a:gd name="T36" fmla="*/ 2813 w 3100"/>
                  <a:gd name="T37" fmla="*/ 45 h 129"/>
                  <a:gd name="T38" fmla="*/ 2861 w 3100"/>
                  <a:gd name="T39" fmla="*/ 35 h 129"/>
                  <a:gd name="T40" fmla="*/ 2892 w 3100"/>
                  <a:gd name="T41" fmla="*/ 35 h 129"/>
                  <a:gd name="T42" fmla="*/ 2921 w 3100"/>
                  <a:gd name="T43" fmla="*/ 25 h 129"/>
                  <a:gd name="T44" fmla="*/ 3025 w 3100"/>
                  <a:gd name="T45" fmla="*/ 19 h 129"/>
                  <a:gd name="T46" fmla="*/ 3077 w 3100"/>
                  <a:gd name="T47" fmla="*/ 20 h 129"/>
                  <a:gd name="T48" fmla="*/ 3043 w 3100"/>
                  <a:gd name="T49" fmla="*/ 13 h 129"/>
                  <a:gd name="T50" fmla="*/ 2998 w 3100"/>
                  <a:gd name="T51" fmla="*/ 12 h 129"/>
                  <a:gd name="T52" fmla="*/ 2974 w 3100"/>
                  <a:gd name="T53" fmla="*/ 3 h 129"/>
                  <a:gd name="T54" fmla="*/ 2873 w 3100"/>
                  <a:gd name="T55" fmla="*/ 10 h 129"/>
                  <a:gd name="T56" fmla="*/ 2844 w 3100"/>
                  <a:gd name="T57" fmla="*/ 6 h 129"/>
                  <a:gd name="T58" fmla="*/ 2800 w 3100"/>
                  <a:gd name="T59" fmla="*/ 8 h 129"/>
                  <a:gd name="T60" fmla="*/ 2681 w 3100"/>
                  <a:gd name="T61" fmla="*/ 14 h 129"/>
                  <a:gd name="T62" fmla="*/ 2631 w 3100"/>
                  <a:gd name="T63" fmla="*/ 15 h 129"/>
                  <a:gd name="T64" fmla="*/ 2566 w 3100"/>
                  <a:gd name="T65" fmla="*/ 19 h 129"/>
                  <a:gd name="T66" fmla="*/ 2516 w 3100"/>
                  <a:gd name="T67" fmla="*/ 22 h 129"/>
                  <a:gd name="T68" fmla="*/ 2461 w 3100"/>
                  <a:gd name="T69" fmla="*/ 23 h 129"/>
                  <a:gd name="T70" fmla="*/ 2419 w 3100"/>
                  <a:gd name="T71" fmla="*/ 25 h 129"/>
                  <a:gd name="T72" fmla="*/ 2284 w 3100"/>
                  <a:gd name="T73" fmla="*/ 33 h 129"/>
                  <a:gd name="T74" fmla="*/ 2213 w 3100"/>
                  <a:gd name="T75" fmla="*/ 32 h 129"/>
                  <a:gd name="T76" fmla="*/ 2123 w 3100"/>
                  <a:gd name="T77" fmla="*/ 41 h 129"/>
                  <a:gd name="T78" fmla="*/ 2074 w 3100"/>
                  <a:gd name="T79" fmla="*/ 44 h 129"/>
                  <a:gd name="T80" fmla="*/ 1989 w 3100"/>
                  <a:gd name="T81" fmla="*/ 41 h 129"/>
                  <a:gd name="T82" fmla="*/ 1908 w 3100"/>
                  <a:gd name="T83" fmla="*/ 40 h 129"/>
                  <a:gd name="T84" fmla="*/ 1828 w 3100"/>
                  <a:gd name="T85" fmla="*/ 43 h 129"/>
                  <a:gd name="T86" fmla="*/ 1659 w 3100"/>
                  <a:gd name="T87" fmla="*/ 41 h 129"/>
                  <a:gd name="T88" fmla="*/ 1470 w 3100"/>
                  <a:gd name="T89" fmla="*/ 45 h 129"/>
                  <a:gd name="T90" fmla="*/ 1421 w 3100"/>
                  <a:gd name="T91" fmla="*/ 49 h 129"/>
                  <a:gd name="T92" fmla="*/ 1353 w 3100"/>
                  <a:gd name="T93" fmla="*/ 49 h 129"/>
                  <a:gd name="T94" fmla="*/ 1260 w 3100"/>
                  <a:gd name="T95" fmla="*/ 43 h 129"/>
                  <a:gd name="T96" fmla="*/ 1035 w 3100"/>
                  <a:gd name="T97" fmla="*/ 38 h 129"/>
                  <a:gd name="T98" fmla="*/ 872 w 3100"/>
                  <a:gd name="T99" fmla="*/ 37 h 129"/>
                  <a:gd name="T100" fmla="*/ 680 w 3100"/>
                  <a:gd name="T101" fmla="*/ 33 h 129"/>
                  <a:gd name="T102" fmla="*/ 26 w 3100"/>
                  <a:gd name="T103" fmla="*/ 36 h 129"/>
                  <a:gd name="T104" fmla="*/ 23 w 3100"/>
                  <a:gd name="T105" fmla="*/ 53 h 129"/>
                  <a:gd name="T106" fmla="*/ 50 w 3100"/>
                  <a:gd name="T107" fmla="*/ 54 h 129"/>
                  <a:gd name="T108" fmla="*/ 115 w 3100"/>
                  <a:gd name="T109" fmla="*/ 65 h 129"/>
                  <a:gd name="T110" fmla="*/ 159 w 3100"/>
                  <a:gd name="T111" fmla="*/ 72 h 129"/>
                  <a:gd name="T112" fmla="*/ 425 w 3100"/>
                  <a:gd name="T113" fmla="*/ 97 h 129"/>
                  <a:gd name="T114" fmla="*/ 941 w 3100"/>
                  <a:gd name="T115" fmla="*/ 114 h 129"/>
                  <a:gd name="T116" fmla="*/ 1003 w 3100"/>
                  <a:gd name="T117" fmla="*/ 117 h 129"/>
                  <a:gd name="T118" fmla="*/ 1214 w 3100"/>
                  <a:gd name="T119" fmla="*/ 118 h 129"/>
                  <a:gd name="T120" fmla="*/ 1248 w 3100"/>
                  <a:gd name="T121" fmla="*/ 123 h 129"/>
                  <a:gd name="T122" fmla="*/ 1355 w 3100"/>
                  <a:gd name="T123" fmla="*/ 122 h 129"/>
                  <a:gd name="T124" fmla="*/ 1461 w 3100"/>
                  <a:gd name="T125"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0" h="129">
                    <a:moveTo>
                      <a:pt x="1539" y="128"/>
                    </a:moveTo>
                    <a:lnTo>
                      <a:pt x="1539" y="128"/>
                    </a:lnTo>
                    <a:cubicBezTo>
                      <a:pt x="1578" y="127"/>
                      <a:pt x="1629" y="123"/>
                      <a:pt x="1667" y="123"/>
                    </a:cubicBezTo>
                    <a:cubicBezTo>
                      <a:pt x="1676" y="119"/>
                      <a:pt x="1688" y="119"/>
                      <a:pt x="1700" y="118"/>
                    </a:cubicBezTo>
                    <a:lnTo>
                      <a:pt x="1702" y="123"/>
                    </a:lnTo>
                    <a:lnTo>
                      <a:pt x="1712" y="121"/>
                    </a:lnTo>
                    <a:cubicBezTo>
                      <a:pt x="1716" y="123"/>
                      <a:pt x="1704" y="123"/>
                      <a:pt x="1712" y="124"/>
                    </a:cubicBezTo>
                    <a:lnTo>
                      <a:pt x="1716" y="121"/>
                    </a:lnTo>
                    <a:cubicBezTo>
                      <a:pt x="1716" y="123"/>
                      <a:pt x="1742" y="122"/>
                      <a:pt x="1725" y="126"/>
                    </a:cubicBezTo>
                    <a:lnTo>
                      <a:pt x="1765" y="126"/>
                    </a:lnTo>
                    <a:cubicBezTo>
                      <a:pt x="1774" y="125"/>
                      <a:pt x="1770" y="121"/>
                      <a:pt x="1780" y="122"/>
                    </a:cubicBezTo>
                    <a:cubicBezTo>
                      <a:pt x="1782" y="124"/>
                      <a:pt x="1776" y="123"/>
                      <a:pt x="1777" y="125"/>
                    </a:cubicBezTo>
                    <a:cubicBezTo>
                      <a:pt x="1807" y="128"/>
                      <a:pt x="1811" y="114"/>
                      <a:pt x="1839" y="116"/>
                    </a:cubicBezTo>
                    <a:lnTo>
                      <a:pt x="1836" y="116"/>
                    </a:lnTo>
                    <a:cubicBezTo>
                      <a:pt x="1841" y="115"/>
                      <a:pt x="1850" y="115"/>
                      <a:pt x="1850" y="114"/>
                    </a:cubicBezTo>
                    <a:cubicBezTo>
                      <a:pt x="1846" y="109"/>
                      <a:pt x="1845" y="117"/>
                      <a:pt x="1837" y="114"/>
                    </a:cubicBezTo>
                    <a:cubicBezTo>
                      <a:pt x="1837" y="109"/>
                      <a:pt x="1847" y="111"/>
                      <a:pt x="1846" y="108"/>
                    </a:cubicBezTo>
                    <a:cubicBezTo>
                      <a:pt x="1853" y="109"/>
                      <a:pt x="1856" y="107"/>
                      <a:pt x="1862" y="106"/>
                    </a:cubicBezTo>
                    <a:cubicBezTo>
                      <a:pt x="1872" y="109"/>
                      <a:pt x="1885" y="106"/>
                      <a:pt x="1893" y="110"/>
                    </a:cubicBezTo>
                    <a:cubicBezTo>
                      <a:pt x="1897" y="108"/>
                      <a:pt x="1902" y="103"/>
                      <a:pt x="1912" y="103"/>
                    </a:cubicBezTo>
                    <a:cubicBezTo>
                      <a:pt x="1920" y="106"/>
                      <a:pt x="1911" y="106"/>
                      <a:pt x="1921" y="107"/>
                    </a:cubicBezTo>
                    <a:lnTo>
                      <a:pt x="1922" y="105"/>
                    </a:lnTo>
                    <a:cubicBezTo>
                      <a:pt x="1930" y="105"/>
                      <a:pt x="1929" y="106"/>
                      <a:pt x="1929" y="107"/>
                    </a:cubicBezTo>
                    <a:cubicBezTo>
                      <a:pt x="1937" y="107"/>
                      <a:pt x="1936" y="103"/>
                      <a:pt x="1947" y="104"/>
                    </a:cubicBezTo>
                    <a:lnTo>
                      <a:pt x="1941" y="107"/>
                    </a:lnTo>
                    <a:cubicBezTo>
                      <a:pt x="1949" y="106"/>
                      <a:pt x="1952" y="106"/>
                      <a:pt x="1963" y="106"/>
                    </a:cubicBezTo>
                    <a:cubicBezTo>
                      <a:pt x="1963" y="108"/>
                      <a:pt x="1958" y="108"/>
                      <a:pt x="1955" y="107"/>
                    </a:cubicBezTo>
                    <a:cubicBezTo>
                      <a:pt x="1961" y="111"/>
                      <a:pt x="1965" y="105"/>
                      <a:pt x="1969" y="106"/>
                    </a:cubicBezTo>
                    <a:cubicBezTo>
                      <a:pt x="1968" y="104"/>
                      <a:pt x="1960" y="104"/>
                      <a:pt x="1964" y="101"/>
                    </a:cubicBezTo>
                    <a:cubicBezTo>
                      <a:pt x="1969" y="102"/>
                      <a:pt x="1975" y="97"/>
                      <a:pt x="1979" y="100"/>
                    </a:cubicBezTo>
                    <a:lnTo>
                      <a:pt x="1973" y="103"/>
                    </a:lnTo>
                    <a:cubicBezTo>
                      <a:pt x="1985" y="100"/>
                      <a:pt x="1979" y="99"/>
                      <a:pt x="1993" y="100"/>
                    </a:cubicBezTo>
                    <a:cubicBezTo>
                      <a:pt x="1992" y="100"/>
                      <a:pt x="1992" y="101"/>
                      <a:pt x="1992" y="101"/>
                    </a:cubicBezTo>
                    <a:cubicBezTo>
                      <a:pt x="2000" y="98"/>
                      <a:pt x="2011" y="100"/>
                      <a:pt x="2024" y="100"/>
                    </a:cubicBezTo>
                    <a:lnTo>
                      <a:pt x="2021" y="101"/>
                    </a:lnTo>
                    <a:cubicBezTo>
                      <a:pt x="2026" y="100"/>
                      <a:pt x="2029" y="97"/>
                      <a:pt x="2031" y="97"/>
                    </a:cubicBezTo>
                    <a:cubicBezTo>
                      <a:pt x="2024" y="96"/>
                      <a:pt x="2026" y="95"/>
                      <a:pt x="2025" y="93"/>
                    </a:cubicBezTo>
                    <a:cubicBezTo>
                      <a:pt x="2035" y="97"/>
                      <a:pt x="2039" y="87"/>
                      <a:pt x="2055" y="89"/>
                    </a:cubicBezTo>
                    <a:cubicBezTo>
                      <a:pt x="2055" y="90"/>
                      <a:pt x="2051" y="92"/>
                      <a:pt x="2047" y="91"/>
                    </a:cubicBezTo>
                    <a:cubicBezTo>
                      <a:pt x="2042" y="96"/>
                      <a:pt x="2041" y="100"/>
                      <a:pt x="2032" y="102"/>
                    </a:cubicBezTo>
                    <a:cubicBezTo>
                      <a:pt x="2038" y="101"/>
                      <a:pt x="2045" y="100"/>
                      <a:pt x="2043" y="102"/>
                    </a:cubicBezTo>
                    <a:lnTo>
                      <a:pt x="2045" y="98"/>
                    </a:lnTo>
                    <a:cubicBezTo>
                      <a:pt x="2048" y="97"/>
                      <a:pt x="2051" y="97"/>
                      <a:pt x="2054" y="97"/>
                    </a:cubicBezTo>
                    <a:cubicBezTo>
                      <a:pt x="2055" y="95"/>
                      <a:pt x="2046" y="93"/>
                      <a:pt x="2054" y="91"/>
                    </a:cubicBezTo>
                    <a:cubicBezTo>
                      <a:pt x="2063" y="89"/>
                      <a:pt x="2059" y="95"/>
                      <a:pt x="2061" y="93"/>
                    </a:cubicBezTo>
                    <a:cubicBezTo>
                      <a:pt x="2073" y="91"/>
                      <a:pt x="2066" y="88"/>
                      <a:pt x="2078" y="89"/>
                    </a:cubicBezTo>
                    <a:cubicBezTo>
                      <a:pt x="2077" y="90"/>
                      <a:pt x="2074" y="90"/>
                      <a:pt x="2073" y="90"/>
                    </a:cubicBezTo>
                    <a:cubicBezTo>
                      <a:pt x="2082" y="91"/>
                      <a:pt x="2095" y="88"/>
                      <a:pt x="2097" y="93"/>
                    </a:cubicBezTo>
                    <a:cubicBezTo>
                      <a:pt x="2096" y="94"/>
                      <a:pt x="2096" y="96"/>
                      <a:pt x="2093" y="96"/>
                    </a:cubicBezTo>
                    <a:lnTo>
                      <a:pt x="2093" y="95"/>
                    </a:lnTo>
                    <a:cubicBezTo>
                      <a:pt x="2083" y="99"/>
                      <a:pt x="2101" y="93"/>
                      <a:pt x="2098" y="98"/>
                    </a:cubicBezTo>
                    <a:cubicBezTo>
                      <a:pt x="2097" y="95"/>
                      <a:pt x="2109" y="95"/>
                      <a:pt x="2115" y="96"/>
                    </a:cubicBezTo>
                    <a:lnTo>
                      <a:pt x="2113" y="93"/>
                    </a:lnTo>
                    <a:cubicBezTo>
                      <a:pt x="2131" y="82"/>
                      <a:pt x="2112" y="99"/>
                      <a:pt x="2130" y="97"/>
                    </a:cubicBezTo>
                    <a:cubicBezTo>
                      <a:pt x="2142" y="94"/>
                      <a:pt x="2126" y="96"/>
                      <a:pt x="2133" y="93"/>
                    </a:cubicBezTo>
                    <a:cubicBezTo>
                      <a:pt x="2140" y="94"/>
                      <a:pt x="2144" y="96"/>
                      <a:pt x="2155" y="94"/>
                    </a:cubicBezTo>
                    <a:cubicBezTo>
                      <a:pt x="2158" y="95"/>
                      <a:pt x="2164" y="97"/>
                      <a:pt x="2165" y="100"/>
                    </a:cubicBezTo>
                    <a:cubicBezTo>
                      <a:pt x="2172" y="98"/>
                      <a:pt x="2186" y="100"/>
                      <a:pt x="2190" y="97"/>
                    </a:cubicBezTo>
                    <a:cubicBezTo>
                      <a:pt x="2178" y="94"/>
                      <a:pt x="2178" y="101"/>
                      <a:pt x="2164" y="97"/>
                    </a:cubicBezTo>
                    <a:lnTo>
                      <a:pt x="2168" y="94"/>
                    </a:lnTo>
                    <a:cubicBezTo>
                      <a:pt x="2178" y="93"/>
                      <a:pt x="2190" y="91"/>
                      <a:pt x="2196" y="92"/>
                    </a:cubicBezTo>
                    <a:cubicBezTo>
                      <a:pt x="2195" y="91"/>
                      <a:pt x="2194" y="90"/>
                      <a:pt x="2195" y="89"/>
                    </a:cubicBezTo>
                    <a:cubicBezTo>
                      <a:pt x="2208" y="87"/>
                      <a:pt x="2212" y="84"/>
                      <a:pt x="2225" y="84"/>
                    </a:cubicBezTo>
                    <a:cubicBezTo>
                      <a:pt x="2227" y="87"/>
                      <a:pt x="2219" y="87"/>
                      <a:pt x="2214" y="87"/>
                    </a:cubicBezTo>
                    <a:cubicBezTo>
                      <a:pt x="2223" y="89"/>
                      <a:pt x="2223" y="87"/>
                      <a:pt x="2236" y="87"/>
                    </a:cubicBezTo>
                    <a:cubicBezTo>
                      <a:pt x="2237" y="90"/>
                      <a:pt x="2227" y="88"/>
                      <a:pt x="2226" y="90"/>
                    </a:cubicBezTo>
                    <a:lnTo>
                      <a:pt x="2240" y="89"/>
                    </a:lnTo>
                    <a:cubicBezTo>
                      <a:pt x="2240" y="89"/>
                      <a:pt x="2240" y="89"/>
                      <a:pt x="2240" y="89"/>
                    </a:cubicBezTo>
                    <a:cubicBezTo>
                      <a:pt x="2242" y="84"/>
                      <a:pt x="2251" y="89"/>
                      <a:pt x="2260" y="87"/>
                    </a:cubicBezTo>
                    <a:cubicBezTo>
                      <a:pt x="2281" y="86"/>
                      <a:pt x="2284" y="79"/>
                      <a:pt x="2296" y="75"/>
                    </a:cubicBezTo>
                    <a:cubicBezTo>
                      <a:pt x="2299" y="76"/>
                      <a:pt x="2300" y="77"/>
                      <a:pt x="2299" y="78"/>
                    </a:cubicBezTo>
                    <a:cubicBezTo>
                      <a:pt x="2293" y="76"/>
                      <a:pt x="2294" y="78"/>
                      <a:pt x="2293" y="79"/>
                    </a:cubicBezTo>
                    <a:cubicBezTo>
                      <a:pt x="2300" y="78"/>
                      <a:pt x="2308" y="83"/>
                      <a:pt x="2305" y="85"/>
                    </a:cubicBezTo>
                    <a:cubicBezTo>
                      <a:pt x="2316" y="83"/>
                      <a:pt x="2300" y="83"/>
                      <a:pt x="2307" y="81"/>
                    </a:cubicBezTo>
                    <a:lnTo>
                      <a:pt x="2323" y="80"/>
                    </a:lnTo>
                    <a:cubicBezTo>
                      <a:pt x="2321" y="78"/>
                      <a:pt x="2315" y="78"/>
                      <a:pt x="2323" y="75"/>
                    </a:cubicBezTo>
                    <a:cubicBezTo>
                      <a:pt x="2330" y="74"/>
                      <a:pt x="2333" y="75"/>
                      <a:pt x="2342" y="74"/>
                    </a:cubicBezTo>
                    <a:cubicBezTo>
                      <a:pt x="2341" y="75"/>
                      <a:pt x="2345" y="78"/>
                      <a:pt x="2338" y="78"/>
                    </a:cubicBezTo>
                    <a:cubicBezTo>
                      <a:pt x="2343" y="78"/>
                      <a:pt x="2349" y="78"/>
                      <a:pt x="2352" y="76"/>
                    </a:cubicBezTo>
                    <a:cubicBezTo>
                      <a:pt x="2342" y="74"/>
                      <a:pt x="2367" y="73"/>
                      <a:pt x="2360" y="69"/>
                    </a:cubicBezTo>
                    <a:lnTo>
                      <a:pt x="2370" y="71"/>
                    </a:lnTo>
                    <a:cubicBezTo>
                      <a:pt x="2368" y="71"/>
                      <a:pt x="2367" y="73"/>
                      <a:pt x="2364" y="72"/>
                    </a:cubicBezTo>
                    <a:cubicBezTo>
                      <a:pt x="2367" y="76"/>
                      <a:pt x="2372" y="71"/>
                      <a:pt x="2375" y="70"/>
                    </a:cubicBezTo>
                    <a:cubicBezTo>
                      <a:pt x="2379" y="71"/>
                      <a:pt x="2388" y="70"/>
                      <a:pt x="2388" y="72"/>
                    </a:cubicBezTo>
                    <a:cubicBezTo>
                      <a:pt x="2391" y="71"/>
                      <a:pt x="2399" y="71"/>
                      <a:pt x="2400" y="73"/>
                    </a:cubicBezTo>
                    <a:cubicBezTo>
                      <a:pt x="2405" y="72"/>
                      <a:pt x="2401" y="70"/>
                      <a:pt x="2402" y="69"/>
                    </a:cubicBezTo>
                    <a:lnTo>
                      <a:pt x="2417" y="68"/>
                    </a:lnTo>
                    <a:cubicBezTo>
                      <a:pt x="2418" y="70"/>
                      <a:pt x="2420" y="76"/>
                      <a:pt x="2418" y="76"/>
                    </a:cubicBezTo>
                    <a:cubicBezTo>
                      <a:pt x="2423" y="74"/>
                      <a:pt x="2419" y="71"/>
                      <a:pt x="2428" y="70"/>
                    </a:cubicBezTo>
                    <a:cubicBezTo>
                      <a:pt x="2423" y="74"/>
                      <a:pt x="2440" y="72"/>
                      <a:pt x="2433" y="77"/>
                    </a:cubicBezTo>
                    <a:cubicBezTo>
                      <a:pt x="2438" y="80"/>
                      <a:pt x="2453" y="79"/>
                      <a:pt x="2461" y="77"/>
                    </a:cubicBezTo>
                    <a:cubicBezTo>
                      <a:pt x="2465" y="74"/>
                      <a:pt x="2452" y="76"/>
                      <a:pt x="2452" y="73"/>
                    </a:cubicBezTo>
                    <a:cubicBezTo>
                      <a:pt x="2475" y="70"/>
                      <a:pt x="2475" y="62"/>
                      <a:pt x="2492" y="62"/>
                    </a:cubicBezTo>
                    <a:lnTo>
                      <a:pt x="2487" y="61"/>
                    </a:lnTo>
                    <a:cubicBezTo>
                      <a:pt x="2498" y="59"/>
                      <a:pt x="2496" y="59"/>
                      <a:pt x="2502" y="56"/>
                    </a:cubicBezTo>
                    <a:cubicBezTo>
                      <a:pt x="2500" y="60"/>
                      <a:pt x="2515" y="66"/>
                      <a:pt x="2531" y="64"/>
                    </a:cubicBezTo>
                    <a:cubicBezTo>
                      <a:pt x="2533" y="62"/>
                      <a:pt x="2522" y="61"/>
                      <a:pt x="2524" y="58"/>
                    </a:cubicBezTo>
                    <a:lnTo>
                      <a:pt x="2535" y="56"/>
                    </a:lnTo>
                    <a:cubicBezTo>
                      <a:pt x="2536" y="56"/>
                      <a:pt x="2535" y="57"/>
                      <a:pt x="2534" y="58"/>
                    </a:cubicBezTo>
                    <a:cubicBezTo>
                      <a:pt x="2543" y="56"/>
                      <a:pt x="2553" y="61"/>
                      <a:pt x="2555" y="57"/>
                    </a:cubicBezTo>
                    <a:lnTo>
                      <a:pt x="2566" y="62"/>
                    </a:lnTo>
                    <a:lnTo>
                      <a:pt x="2561" y="59"/>
                    </a:lnTo>
                    <a:cubicBezTo>
                      <a:pt x="2563" y="57"/>
                      <a:pt x="2574" y="56"/>
                      <a:pt x="2576" y="55"/>
                    </a:cubicBezTo>
                    <a:cubicBezTo>
                      <a:pt x="2587" y="52"/>
                      <a:pt x="2592" y="54"/>
                      <a:pt x="2598" y="56"/>
                    </a:cubicBezTo>
                    <a:cubicBezTo>
                      <a:pt x="2596" y="54"/>
                      <a:pt x="2591" y="51"/>
                      <a:pt x="2600" y="50"/>
                    </a:cubicBezTo>
                    <a:cubicBezTo>
                      <a:pt x="2600" y="56"/>
                      <a:pt x="2619" y="51"/>
                      <a:pt x="2619" y="54"/>
                    </a:cubicBezTo>
                    <a:cubicBezTo>
                      <a:pt x="2622" y="53"/>
                      <a:pt x="2629" y="55"/>
                      <a:pt x="2629" y="52"/>
                    </a:cubicBezTo>
                    <a:lnTo>
                      <a:pt x="2629" y="56"/>
                    </a:lnTo>
                    <a:cubicBezTo>
                      <a:pt x="2629" y="51"/>
                      <a:pt x="2643" y="50"/>
                      <a:pt x="2653" y="48"/>
                    </a:cubicBezTo>
                    <a:cubicBezTo>
                      <a:pt x="2651" y="56"/>
                      <a:pt x="2664" y="47"/>
                      <a:pt x="2669" y="53"/>
                    </a:cubicBezTo>
                    <a:cubicBezTo>
                      <a:pt x="2670" y="48"/>
                      <a:pt x="2687" y="50"/>
                      <a:pt x="2688" y="46"/>
                    </a:cubicBezTo>
                    <a:cubicBezTo>
                      <a:pt x="2696" y="45"/>
                      <a:pt x="2696" y="49"/>
                      <a:pt x="2698" y="51"/>
                    </a:cubicBezTo>
                    <a:lnTo>
                      <a:pt x="2701" y="49"/>
                    </a:lnTo>
                    <a:cubicBezTo>
                      <a:pt x="2705" y="51"/>
                      <a:pt x="2720" y="50"/>
                      <a:pt x="2729" y="51"/>
                    </a:cubicBezTo>
                    <a:lnTo>
                      <a:pt x="2737" y="46"/>
                    </a:lnTo>
                    <a:lnTo>
                      <a:pt x="2740" y="48"/>
                    </a:lnTo>
                    <a:cubicBezTo>
                      <a:pt x="2741" y="47"/>
                      <a:pt x="2748" y="45"/>
                      <a:pt x="2743" y="44"/>
                    </a:cubicBezTo>
                    <a:lnTo>
                      <a:pt x="2748" y="44"/>
                    </a:lnTo>
                    <a:cubicBezTo>
                      <a:pt x="2748" y="39"/>
                      <a:pt x="2754" y="42"/>
                      <a:pt x="2762" y="40"/>
                    </a:cubicBezTo>
                    <a:cubicBezTo>
                      <a:pt x="2765" y="40"/>
                      <a:pt x="2764" y="41"/>
                      <a:pt x="2762" y="42"/>
                    </a:cubicBezTo>
                    <a:cubicBezTo>
                      <a:pt x="2767" y="42"/>
                      <a:pt x="2765" y="44"/>
                      <a:pt x="2767" y="46"/>
                    </a:cubicBezTo>
                    <a:cubicBezTo>
                      <a:pt x="2764" y="45"/>
                      <a:pt x="2783" y="36"/>
                      <a:pt x="2771" y="35"/>
                    </a:cubicBezTo>
                    <a:cubicBezTo>
                      <a:pt x="2770" y="33"/>
                      <a:pt x="2776" y="31"/>
                      <a:pt x="2781" y="31"/>
                    </a:cubicBezTo>
                    <a:lnTo>
                      <a:pt x="2784" y="36"/>
                    </a:lnTo>
                    <a:lnTo>
                      <a:pt x="2789" y="31"/>
                    </a:lnTo>
                    <a:cubicBezTo>
                      <a:pt x="2795" y="29"/>
                      <a:pt x="2798" y="32"/>
                      <a:pt x="2804" y="32"/>
                    </a:cubicBezTo>
                    <a:cubicBezTo>
                      <a:pt x="2798" y="33"/>
                      <a:pt x="2792" y="41"/>
                      <a:pt x="2806" y="40"/>
                    </a:cubicBezTo>
                    <a:cubicBezTo>
                      <a:pt x="2799" y="41"/>
                      <a:pt x="2795" y="44"/>
                      <a:pt x="2792" y="45"/>
                    </a:cubicBezTo>
                    <a:cubicBezTo>
                      <a:pt x="2795" y="45"/>
                      <a:pt x="2796" y="45"/>
                      <a:pt x="2792" y="48"/>
                    </a:cubicBezTo>
                    <a:cubicBezTo>
                      <a:pt x="2803" y="45"/>
                      <a:pt x="2795" y="45"/>
                      <a:pt x="2806" y="43"/>
                    </a:cubicBezTo>
                    <a:cubicBezTo>
                      <a:pt x="2806" y="47"/>
                      <a:pt x="2809" y="48"/>
                      <a:pt x="2819" y="49"/>
                    </a:cubicBezTo>
                    <a:lnTo>
                      <a:pt x="2811" y="46"/>
                    </a:lnTo>
                    <a:cubicBezTo>
                      <a:pt x="2812" y="46"/>
                      <a:pt x="2812" y="46"/>
                      <a:pt x="2813" y="45"/>
                    </a:cubicBezTo>
                    <a:cubicBezTo>
                      <a:pt x="2810" y="45"/>
                      <a:pt x="2809" y="45"/>
                      <a:pt x="2808" y="43"/>
                    </a:cubicBezTo>
                    <a:cubicBezTo>
                      <a:pt x="2811" y="43"/>
                      <a:pt x="2821" y="37"/>
                      <a:pt x="2823" y="39"/>
                    </a:cubicBezTo>
                    <a:cubicBezTo>
                      <a:pt x="2811" y="34"/>
                      <a:pt x="2842" y="33"/>
                      <a:pt x="2835" y="30"/>
                    </a:cubicBezTo>
                    <a:cubicBezTo>
                      <a:pt x="2836" y="29"/>
                      <a:pt x="2844" y="28"/>
                      <a:pt x="2845" y="30"/>
                    </a:cubicBezTo>
                    <a:cubicBezTo>
                      <a:pt x="2836" y="34"/>
                      <a:pt x="2852" y="34"/>
                      <a:pt x="2851" y="37"/>
                    </a:cubicBezTo>
                    <a:cubicBezTo>
                      <a:pt x="2854" y="35"/>
                      <a:pt x="2843" y="34"/>
                      <a:pt x="2848" y="33"/>
                    </a:cubicBezTo>
                    <a:cubicBezTo>
                      <a:pt x="2853" y="32"/>
                      <a:pt x="2858" y="34"/>
                      <a:pt x="2861" y="35"/>
                    </a:cubicBezTo>
                    <a:lnTo>
                      <a:pt x="2859" y="36"/>
                    </a:lnTo>
                    <a:lnTo>
                      <a:pt x="2867" y="37"/>
                    </a:lnTo>
                    <a:cubicBezTo>
                      <a:pt x="2869" y="35"/>
                      <a:pt x="2859" y="34"/>
                      <a:pt x="2867" y="33"/>
                    </a:cubicBezTo>
                    <a:cubicBezTo>
                      <a:pt x="2869" y="33"/>
                      <a:pt x="2877" y="32"/>
                      <a:pt x="2876" y="33"/>
                    </a:cubicBezTo>
                    <a:cubicBezTo>
                      <a:pt x="2873" y="36"/>
                      <a:pt x="2876" y="39"/>
                      <a:pt x="2869" y="41"/>
                    </a:cubicBezTo>
                    <a:cubicBezTo>
                      <a:pt x="2875" y="40"/>
                      <a:pt x="2893" y="38"/>
                      <a:pt x="2885" y="35"/>
                    </a:cubicBezTo>
                    <a:lnTo>
                      <a:pt x="2892" y="35"/>
                    </a:lnTo>
                    <a:cubicBezTo>
                      <a:pt x="2887" y="33"/>
                      <a:pt x="2875" y="31"/>
                      <a:pt x="2889" y="30"/>
                    </a:cubicBezTo>
                    <a:lnTo>
                      <a:pt x="2889" y="31"/>
                    </a:lnTo>
                    <a:lnTo>
                      <a:pt x="2898" y="27"/>
                    </a:lnTo>
                    <a:lnTo>
                      <a:pt x="2902" y="29"/>
                    </a:lnTo>
                    <a:cubicBezTo>
                      <a:pt x="2902" y="28"/>
                      <a:pt x="2903" y="27"/>
                      <a:pt x="2907" y="26"/>
                    </a:cubicBezTo>
                    <a:cubicBezTo>
                      <a:pt x="2908" y="27"/>
                      <a:pt x="2911" y="28"/>
                      <a:pt x="2911" y="29"/>
                    </a:cubicBezTo>
                    <a:cubicBezTo>
                      <a:pt x="2921" y="28"/>
                      <a:pt x="2920" y="26"/>
                      <a:pt x="2921" y="25"/>
                    </a:cubicBezTo>
                    <a:cubicBezTo>
                      <a:pt x="2927" y="24"/>
                      <a:pt x="2929" y="25"/>
                      <a:pt x="2926" y="27"/>
                    </a:cubicBezTo>
                    <a:cubicBezTo>
                      <a:pt x="2934" y="27"/>
                      <a:pt x="2947" y="26"/>
                      <a:pt x="2953" y="27"/>
                    </a:cubicBezTo>
                    <a:cubicBezTo>
                      <a:pt x="2963" y="25"/>
                      <a:pt x="2951" y="27"/>
                      <a:pt x="2956" y="24"/>
                    </a:cubicBezTo>
                    <a:cubicBezTo>
                      <a:pt x="2966" y="30"/>
                      <a:pt x="2991" y="24"/>
                      <a:pt x="3007" y="21"/>
                    </a:cubicBezTo>
                    <a:cubicBezTo>
                      <a:pt x="3002" y="16"/>
                      <a:pt x="3012" y="20"/>
                      <a:pt x="3014" y="15"/>
                    </a:cubicBezTo>
                    <a:cubicBezTo>
                      <a:pt x="3011" y="17"/>
                      <a:pt x="3031" y="18"/>
                      <a:pt x="3016" y="21"/>
                    </a:cubicBezTo>
                    <a:lnTo>
                      <a:pt x="3025" y="19"/>
                    </a:lnTo>
                    <a:cubicBezTo>
                      <a:pt x="3031" y="22"/>
                      <a:pt x="3010" y="23"/>
                      <a:pt x="3020" y="27"/>
                    </a:cubicBezTo>
                    <a:cubicBezTo>
                      <a:pt x="3030" y="26"/>
                      <a:pt x="3036" y="19"/>
                      <a:pt x="3048" y="20"/>
                    </a:cubicBezTo>
                    <a:cubicBezTo>
                      <a:pt x="3044" y="24"/>
                      <a:pt x="3057" y="18"/>
                      <a:pt x="3054" y="23"/>
                    </a:cubicBezTo>
                    <a:cubicBezTo>
                      <a:pt x="3052" y="24"/>
                      <a:pt x="3049" y="24"/>
                      <a:pt x="3045" y="25"/>
                    </a:cubicBezTo>
                    <a:lnTo>
                      <a:pt x="3048" y="25"/>
                    </a:lnTo>
                    <a:cubicBezTo>
                      <a:pt x="3070" y="25"/>
                      <a:pt x="3054" y="20"/>
                      <a:pt x="3065" y="16"/>
                    </a:cubicBezTo>
                    <a:cubicBezTo>
                      <a:pt x="3078" y="14"/>
                      <a:pt x="3076" y="18"/>
                      <a:pt x="3077" y="20"/>
                    </a:cubicBezTo>
                    <a:cubicBezTo>
                      <a:pt x="3079" y="21"/>
                      <a:pt x="3085" y="20"/>
                      <a:pt x="3089" y="18"/>
                    </a:cubicBezTo>
                    <a:cubicBezTo>
                      <a:pt x="3081" y="22"/>
                      <a:pt x="3074" y="17"/>
                      <a:pt x="3077" y="14"/>
                    </a:cubicBezTo>
                    <a:cubicBezTo>
                      <a:pt x="3083" y="18"/>
                      <a:pt x="3097" y="13"/>
                      <a:pt x="3100" y="11"/>
                    </a:cubicBezTo>
                    <a:cubicBezTo>
                      <a:pt x="3081" y="7"/>
                      <a:pt x="3087" y="11"/>
                      <a:pt x="3069" y="8"/>
                    </a:cubicBezTo>
                    <a:cubicBezTo>
                      <a:pt x="3066" y="9"/>
                      <a:pt x="3067" y="14"/>
                      <a:pt x="3056" y="13"/>
                    </a:cubicBezTo>
                    <a:cubicBezTo>
                      <a:pt x="3063" y="10"/>
                      <a:pt x="3056" y="10"/>
                      <a:pt x="3054" y="10"/>
                    </a:cubicBezTo>
                    <a:cubicBezTo>
                      <a:pt x="3056" y="12"/>
                      <a:pt x="3046" y="11"/>
                      <a:pt x="3043" y="13"/>
                    </a:cubicBezTo>
                    <a:cubicBezTo>
                      <a:pt x="3040" y="11"/>
                      <a:pt x="3049" y="7"/>
                      <a:pt x="3038" y="6"/>
                    </a:cubicBezTo>
                    <a:lnTo>
                      <a:pt x="3036" y="12"/>
                    </a:lnTo>
                    <a:cubicBezTo>
                      <a:pt x="3032" y="12"/>
                      <a:pt x="3038" y="8"/>
                      <a:pt x="3029" y="10"/>
                    </a:cubicBezTo>
                    <a:cubicBezTo>
                      <a:pt x="3034" y="7"/>
                      <a:pt x="3027" y="6"/>
                      <a:pt x="3039" y="4"/>
                    </a:cubicBezTo>
                    <a:cubicBezTo>
                      <a:pt x="3024" y="0"/>
                      <a:pt x="3017" y="8"/>
                      <a:pt x="3006" y="11"/>
                    </a:cubicBezTo>
                    <a:cubicBezTo>
                      <a:pt x="3007" y="11"/>
                      <a:pt x="3007" y="10"/>
                      <a:pt x="3008" y="10"/>
                    </a:cubicBezTo>
                    <a:cubicBezTo>
                      <a:pt x="3006" y="11"/>
                      <a:pt x="3001" y="12"/>
                      <a:pt x="2998" y="12"/>
                    </a:cubicBezTo>
                    <a:cubicBezTo>
                      <a:pt x="2990" y="11"/>
                      <a:pt x="3004" y="9"/>
                      <a:pt x="3002" y="8"/>
                    </a:cubicBezTo>
                    <a:lnTo>
                      <a:pt x="2989" y="9"/>
                    </a:lnTo>
                    <a:cubicBezTo>
                      <a:pt x="2989" y="9"/>
                      <a:pt x="2989" y="9"/>
                      <a:pt x="2989" y="8"/>
                    </a:cubicBezTo>
                    <a:cubicBezTo>
                      <a:pt x="2986" y="9"/>
                      <a:pt x="2983" y="10"/>
                      <a:pt x="2982" y="9"/>
                    </a:cubicBezTo>
                    <a:cubicBezTo>
                      <a:pt x="2985" y="7"/>
                      <a:pt x="2987" y="5"/>
                      <a:pt x="2989" y="3"/>
                    </a:cubicBezTo>
                    <a:lnTo>
                      <a:pt x="2976" y="8"/>
                    </a:lnTo>
                    <a:cubicBezTo>
                      <a:pt x="2978" y="6"/>
                      <a:pt x="2966" y="6"/>
                      <a:pt x="2974" y="3"/>
                    </a:cubicBezTo>
                    <a:lnTo>
                      <a:pt x="2956" y="6"/>
                    </a:lnTo>
                    <a:lnTo>
                      <a:pt x="2954" y="2"/>
                    </a:lnTo>
                    <a:cubicBezTo>
                      <a:pt x="2949" y="3"/>
                      <a:pt x="2949" y="4"/>
                      <a:pt x="2955" y="4"/>
                    </a:cubicBezTo>
                    <a:cubicBezTo>
                      <a:pt x="2948" y="4"/>
                      <a:pt x="2926" y="13"/>
                      <a:pt x="2929" y="5"/>
                    </a:cubicBezTo>
                    <a:cubicBezTo>
                      <a:pt x="2915" y="10"/>
                      <a:pt x="2909" y="9"/>
                      <a:pt x="2891" y="12"/>
                    </a:cubicBezTo>
                    <a:cubicBezTo>
                      <a:pt x="2905" y="7"/>
                      <a:pt x="2875" y="9"/>
                      <a:pt x="2890" y="6"/>
                    </a:cubicBezTo>
                    <a:cubicBezTo>
                      <a:pt x="2881" y="5"/>
                      <a:pt x="2879" y="9"/>
                      <a:pt x="2873" y="10"/>
                    </a:cubicBezTo>
                    <a:cubicBezTo>
                      <a:pt x="2866" y="9"/>
                      <a:pt x="2869" y="5"/>
                      <a:pt x="2876" y="3"/>
                    </a:cubicBezTo>
                    <a:lnTo>
                      <a:pt x="2868" y="6"/>
                    </a:lnTo>
                    <a:lnTo>
                      <a:pt x="2868" y="5"/>
                    </a:lnTo>
                    <a:lnTo>
                      <a:pt x="2861" y="8"/>
                    </a:lnTo>
                    <a:cubicBezTo>
                      <a:pt x="2853" y="6"/>
                      <a:pt x="2859" y="4"/>
                      <a:pt x="2851" y="4"/>
                    </a:cubicBezTo>
                    <a:lnTo>
                      <a:pt x="2850" y="8"/>
                    </a:lnTo>
                    <a:lnTo>
                      <a:pt x="2844" y="6"/>
                    </a:lnTo>
                    <a:cubicBezTo>
                      <a:pt x="2847" y="7"/>
                      <a:pt x="2842" y="8"/>
                      <a:pt x="2837" y="9"/>
                    </a:cubicBezTo>
                    <a:lnTo>
                      <a:pt x="2837" y="8"/>
                    </a:lnTo>
                    <a:lnTo>
                      <a:pt x="2830" y="10"/>
                    </a:lnTo>
                    <a:cubicBezTo>
                      <a:pt x="2836" y="7"/>
                      <a:pt x="2824" y="9"/>
                      <a:pt x="2827" y="7"/>
                    </a:cubicBezTo>
                    <a:cubicBezTo>
                      <a:pt x="2821" y="7"/>
                      <a:pt x="2821" y="7"/>
                      <a:pt x="2810" y="8"/>
                    </a:cubicBezTo>
                    <a:lnTo>
                      <a:pt x="2812" y="11"/>
                    </a:lnTo>
                    <a:cubicBezTo>
                      <a:pt x="2799" y="14"/>
                      <a:pt x="2811" y="7"/>
                      <a:pt x="2800" y="8"/>
                    </a:cubicBezTo>
                    <a:lnTo>
                      <a:pt x="2801" y="10"/>
                    </a:lnTo>
                    <a:cubicBezTo>
                      <a:pt x="2785" y="7"/>
                      <a:pt x="2774" y="15"/>
                      <a:pt x="2762" y="13"/>
                    </a:cubicBezTo>
                    <a:cubicBezTo>
                      <a:pt x="2769" y="12"/>
                      <a:pt x="2767" y="9"/>
                      <a:pt x="2767" y="10"/>
                    </a:cubicBezTo>
                    <a:cubicBezTo>
                      <a:pt x="2757" y="11"/>
                      <a:pt x="2741" y="12"/>
                      <a:pt x="2730" y="16"/>
                    </a:cubicBezTo>
                    <a:cubicBezTo>
                      <a:pt x="2726" y="12"/>
                      <a:pt x="2725" y="11"/>
                      <a:pt x="2714" y="10"/>
                    </a:cubicBezTo>
                    <a:cubicBezTo>
                      <a:pt x="2707" y="11"/>
                      <a:pt x="2705" y="12"/>
                      <a:pt x="2703" y="14"/>
                    </a:cubicBezTo>
                    <a:cubicBezTo>
                      <a:pt x="2695" y="13"/>
                      <a:pt x="2681" y="16"/>
                      <a:pt x="2681" y="14"/>
                    </a:cubicBezTo>
                    <a:cubicBezTo>
                      <a:pt x="2679" y="16"/>
                      <a:pt x="2674" y="14"/>
                      <a:pt x="2670" y="16"/>
                    </a:cubicBezTo>
                    <a:lnTo>
                      <a:pt x="2669" y="15"/>
                    </a:lnTo>
                    <a:lnTo>
                      <a:pt x="2670" y="17"/>
                    </a:lnTo>
                    <a:cubicBezTo>
                      <a:pt x="2656" y="12"/>
                      <a:pt x="2647" y="23"/>
                      <a:pt x="2633" y="18"/>
                    </a:cubicBezTo>
                    <a:lnTo>
                      <a:pt x="2636" y="17"/>
                    </a:lnTo>
                    <a:lnTo>
                      <a:pt x="2630" y="19"/>
                    </a:lnTo>
                    <a:cubicBezTo>
                      <a:pt x="2629" y="18"/>
                      <a:pt x="2631" y="17"/>
                      <a:pt x="2631" y="15"/>
                    </a:cubicBezTo>
                    <a:lnTo>
                      <a:pt x="2605" y="17"/>
                    </a:lnTo>
                    <a:lnTo>
                      <a:pt x="2610" y="18"/>
                    </a:lnTo>
                    <a:cubicBezTo>
                      <a:pt x="2605" y="19"/>
                      <a:pt x="2601" y="22"/>
                      <a:pt x="2595" y="21"/>
                    </a:cubicBezTo>
                    <a:cubicBezTo>
                      <a:pt x="2605" y="16"/>
                      <a:pt x="2586" y="21"/>
                      <a:pt x="2584" y="18"/>
                    </a:cubicBezTo>
                    <a:lnTo>
                      <a:pt x="2589" y="17"/>
                    </a:lnTo>
                    <a:cubicBezTo>
                      <a:pt x="2582" y="18"/>
                      <a:pt x="2582" y="18"/>
                      <a:pt x="2582" y="20"/>
                    </a:cubicBezTo>
                    <a:cubicBezTo>
                      <a:pt x="2572" y="22"/>
                      <a:pt x="2575" y="16"/>
                      <a:pt x="2566" y="19"/>
                    </a:cubicBezTo>
                    <a:lnTo>
                      <a:pt x="2573" y="19"/>
                    </a:lnTo>
                    <a:cubicBezTo>
                      <a:pt x="2575" y="20"/>
                      <a:pt x="2570" y="23"/>
                      <a:pt x="2566" y="23"/>
                    </a:cubicBezTo>
                    <a:cubicBezTo>
                      <a:pt x="2565" y="23"/>
                      <a:pt x="2561" y="22"/>
                      <a:pt x="2565" y="21"/>
                    </a:cubicBezTo>
                    <a:cubicBezTo>
                      <a:pt x="2557" y="23"/>
                      <a:pt x="2545" y="22"/>
                      <a:pt x="2542" y="24"/>
                    </a:cubicBezTo>
                    <a:cubicBezTo>
                      <a:pt x="2537" y="23"/>
                      <a:pt x="2538" y="21"/>
                      <a:pt x="2541" y="20"/>
                    </a:cubicBezTo>
                    <a:cubicBezTo>
                      <a:pt x="2524" y="24"/>
                      <a:pt x="2533" y="20"/>
                      <a:pt x="2516" y="24"/>
                    </a:cubicBezTo>
                    <a:lnTo>
                      <a:pt x="2516" y="22"/>
                    </a:lnTo>
                    <a:lnTo>
                      <a:pt x="2511" y="24"/>
                    </a:lnTo>
                    <a:lnTo>
                      <a:pt x="2502" y="22"/>
                    </a:lnTo>
                    <a:lnTo>
                      <a:pt x="2505" y="23"/>
                    </a:lnTo>
                    <a:cubicBezTo>
                      <a:pt x="2500" y="24"/>
                      <a:pt x="2496" y="25"/>
                      <a:pt x="2490" y="25"/>
                    </a:cubicBezTo>
                    <a:lnTo>
                      <a:pt x="2492" y="23"/>
                    </a:lnTo>
                    <a:cubicBezTo>
                      <a:pt x="2476" y="25"/>
                      <a:pt x="2474" y="20"/>
                      <a:pt x="2459" y="24"/>
                    </a:cubicBezTo>
                    <a:cubicBezTo>
                      <a:pt x="2458" y="24"/>
                      <a:pt x="2460" y="23"/>
                      <a:pt x="2461" y="23"/>
                    </a:cubicBezTo>
                    <a:cubicBezTo>
                      <a:pt x="2448" y="27"/>
                      <a:pt x="2451" y="19"/>
                      <a:pt x="2437" y="25"/>
                    </a:cubicBezTo>
                    <a:cubicBezTo>
                      <a:pt x="2438" y="24"/>
                      <a:pt x="2436" y="23"/>
                      <a:pt x="2437" y="22"/>
                    </a:cubicBezTo>
                    <a:lnTo>
                      <a:pt x="2430" y="24"/>
                    </a:lnTo>
                    <a:lnTo>
                      <a:pt x="2431" y="21"/>
                    </a:lnTo>
                    <a:lnTo>
                      <a:pt x="2426" y="26"/>
                    </a:lnTo>
                    <a:lnTo>
                      <a:pt x="2422" y="23"/>
                    </a:lnTo>
                    <a:lnTo>
                      <a:pt x="2419" y="25"/>
                    </a:lnTo>
                    <a:cubicBezTo>
                      <a:pt x="2412" y="19"/>
                      <a:pt x="2403" y="24"/>
                      <a:pt x="2393" y="20"/>
                    </a:cubicBezTo>
                    <a:lnTo>
                      <a:pt x="2395" y="24"/>
                    </a:lnTo>
                    <a:cubicBezTo>
                      <a:pt x="2372" y="34"/>
                      <a:pt x="2341" y="23"/>
                      <a:pt x="2313" y="29"/>
                    </a:cubicBezTo>
                    <a:lnTo>
                      <a:pt x="2313" y="26"/>
                    </a:lnTo>
                    <a:lnTo>
                      <a:pt x="2302" y="30"/>
                    </a:lnTo>
                    <a:cubicBezTo>
                      <a:pt x="2296" y="28"/>
                      <a:pt x="2306" y="27"/>
                      <a:pt x="2304" y="26"/>
                    </a:cubicBezTo>
                    <a:cubicBezTo>
                      <a:pt x="2291" y="28"/>
                      <a:pt x="2299" y="31"/>
                      <a:pt x="2284" y="33"/>
                    </a:cubicBezTo>
                    <a:cubicBezTo>
                      <a:pt x="2277" y="31"/>
                      <a:pt x="2287" y="30"/>
                      <a:pt x="2290" y="29"/>
                    </a:cubicBezTo>
                    <a:cubicBezTo>
                      <a:pt x="2277" y="31"/>
                      <a:pt x="2257" y="34"/>
                      <a:pt x="2247" y="33"/>
                    </a:cubicBezTo>
                    <a:cubicBezTo>
                      <a:pt x="2247" y="34"/>
                      <a:pt x="2246" y="34"/>
                      <a:pt x="2247" y="34"/>
                    </a:cubicBezTo>
                    <a:cubicBezTo>
                      <a:pt x="2238" y="36"/>
                      <a:pt x="2226" y="36"/>
                      <a:pt x="2216" y="36"/>
                    </a:cubicBezTo>
                    <a:cubicBezTo>
                      <a:pt x="2216" y="35"/>
                      <a:pt x="2218" y="35"/>
                      <a:pt x="2221" y="34"/>
                    </a:cubicBezTo>
                    <a:cubicBezTo>
                      <a:pt x="2217" y="34"/>
                      <a:pt x="2212" y="33"/>
                      <a:pt x="2209" y="35"/>
                    </a:cubicBezTo>
                    <a:lnTo>
                      <a:pt x="2213" y="32"/>
                    </a:lnTo>
                    <a:cubicBezTo>
                      <a:pt x="2205" y="32"/>
                      <a:pt x="2190" y="36"/>
                      <a:pt x="2188" y="33"/>
                    </a:cubicBezTo>
                    <a:cubicBezTo>
                      <a:pt x="2189" y="34"/>
                      <a:pt x="2189" y="36"/>
                      <a:pt x="2183" y="36"/>
                    </a:cubicBezTo>
                    <a:cubicBezTo>
                      <a:pt x="2179" y="32"/>
                      <a:pt x="2165" y="39"/>
                      <a:pt x="2154" y="37"/>
                    </a:cubicBezTo>
                    <a:cubicBezTo>
                      <a:pt x="2155" y="36"/>
                      <a:pt x="2163" y="36"/>
                      <a:pt x="2161" y="36"/>
                    </a:cubicBezTo>
                    <a:cubicBezTo>
                      <a:pt x="2155" y="35"/>
                      <a:pt x="2151" y="37"/>
                      <a:pt x="2146" y="39"/>
                    </a:cubicBezTo>
                    <a:lnTo>
                      <a:pt x="2147" y="37"/>
                    </a:lnTo>
                    <a:lnTo>
                      <a:pt x="2123" y="41"/>
                    </a:lnTo>
                    <a:cubicBezTo>
                      <a:pt x="2119" y="36"/>
                      <a:pt x="2099" y="43"/>
                      <a:pt x="2101" y="39"/>
                    </a:cubicBezTo>
                    <a:cubicBezTo>
                      <a:pt x="2092" y="40"/>
                      <a:pt x="2108" y="41"/>
                      <a:pt x="2097" y="42"/>
                    </a:cubicBezTo>
                    <a:cubicBezTo>
                      <a:pt x="2094" y="40"/>
                      <a:pt x="2087" y="44"/>
                      <a:pt x="2088" y="41"/>
                    </a:cubicBezTo>
                    <a:lnTo>
                      <a:pt x="2089" y="40"/>
                    </a:lnTo>
                    <a:lnTo>
                      <a:pt x="2081" y="41"/>
                    </a:lnTo>
                    <a:lnTo>
                      <a:pt x="2086" y="38"/>
                    </a:lnTo>
                    <a:cubicBezTo>
                      <a:pt x="2079" y="39"/>
                      <a:pt x="2074" y="42"/>
                      <a:pt x="2074" y="44"/>
                    </a:cubicBezTo>
                    <a:cubicBezTo>
                      <a:pt x="2068" y="43"/>
                      <a:pt x="2059" y="45"/>
                      <a:pt x="2056" y="42"/>
                    </a:cubicBezTo>
                    <a:lnTo>
                      <a:pt x="2058" y="41"/>
                    </a:lnTo>
                    <a:cubicBezTo>
                      <a:pt x="2040" y="43"/>
                      <a:pt x="2028" y="34"/>
                      <a:pt x="2014" y="40"/>
                    </a:cubicBezTo>
                    <a:cubicBezTo>
                      <a:pt x="2013" y="40"/>
                      <a:pt x="2013" y="39"/>
                      <a:pt x="2015" y="39"/>
                    </a:cubicBezTo>
                    <a:lnTo>
                      <a:pt x="2004" y="39"/>
                    </a:lnTo>
                    <a:lnTo>
                      <a:pt x="2007" y="37"/>
                    </a:lnTo>
                    <a:lnTo>
                      <a:pt x="1989" y="41"/>
                    </a:lnTo>
                    <a:lnTo>
                      <a:pt x="1989" y="39"/>
                    </a:lnTo>
                    <a:cubicBezTo>
                      <a:pt x="1977" y="39"/>
                      <a:pt x="1958" y="41"/>
                      <a:pt x="1942" y="42"/>
                    </a:cubicBezTo>
                    <a:lnTo>
                      <a:pt x="1945" y="41"/>
                    </a:lnTo>
                    <a:cubicBezTo>
                      <a:pt x="1928" y="44"/>
                      <a:pt x="1928" y="40"/>
                      <a:pt x="1916" y="42"/>
                    </a:cubicBezTo>
                    <a:cubicBezTo>
                      <a:pt x="1916" y="42"/>
                      <a:pt x="1917" y="42"/>
                      <a:pt x="1917" y="41"/>
                    </a:cubicBezTo>
                    <a:lnTo>
                      <a:pt x="1906" y="42"/>
                    </a:lnTo>
                    <a:lnTo>
                      <a:pt x="1908" y="40"/>
                    </a:lnTo>
                    <a:cubicBezTo>
                      <a:pt x="1900" y="44"/>
                      <a:pt x="1884" y="37"/>
                      <a:pt x="1890" y="39"/>
                    </a:cubicBezTo>
                    <a:cubicBezTo>
                      <a:pt x="1885" y="41"/>
                      <a:pt x="1877" y="43"/>
                      <a:pt x="1876" y="45"/>
                    </a:cubicBezTo>
                    <a:cubicBezTo>
                      <a:pt x="1863" y="46"/>
                      <a:pt x="1873" y="43"/>
                      <a:pt x="1865" y="42"/>
                    </a:cubicBezTo>
                    <a:cubicBezTo>
                      <a:pt x="1856" y="42"/>
                      <a:pt x="1855" y="45"/>
                      <a:pt x="1843" y="44"/>
                    </a:cubicBezTo>
                    <a:lnTo>
                      <a:pt x="1843" y="42"/>
                    </a:lnTo>
                    <a:cubicBezTo>
                      <a:pt x="1837" y="43"/>
                      <a:pt x="1834" y="44"/>
                      <a:pt x="1826" y="44"/>
                    </a:cubicBezTo>
                    <a:lnTo>
                      <a:pt x="1828" y="43"/>
                    </a:lnTo>
                    <a:cubicBezTo>
                      <a:pt x="1816" y="47"/>
                      <a:pt x="1813" y="39"/>
                      <a:pt x="1803" y="46"/>
                    </a:cubicBezTo>
                    <a:cubicBezTo>
                      <a:pt x="1797" y="45"/>
                      <a:pt x="1787" y="46"/>
                      <a:pt x="1788" y="43"/>
                    </a:cubicBezTo>
                    <a:cubicBezTo>
                      <a:pt x="1772" y="45"/>
                      <a:pt x="1760" y="47"/>
                      <a:pt x="1744" y="48"/>
                    </a:cubicBezTo>
                    <a:cubicBezTo>
                      <a:pt x="1741" y="43"/>
                      <a:pt x="1741" y="49"/>
                      <a:pt x="1731" y="46"/>
                    </a:cubicBezTo>
                    <a:lnTo>
                      <a:pt x="1732" y="48"/>
                    </a:lnTo>
                    <a:cubicBezTo>
                      <a:pt x="1709" y="49"/>
                      <a:pt x="1684" y="43"/>
                      <a:pt x="1659" y="44"/>
                    </a:cubicBezTo>
                    <a:lnTo>
                      <a:pt x="1659" y="41"/>
                    </a:lnTo>
                    <a:lnTo>
                      <a:pt x="1654" y="44"/>
                    </a:lnTo>
                    <a:cubicBezTo>
                      <a:pt x="1627" y="43"/>
                      <a:pt x="1593" y="43"/>
                      <a:pt x="1572" y="43"/>
                    </a:cubicBezTo>
                    <a:cubicBezTo>
                      <a:pt x="1565" y="44"/>
                      <a:pt x="1555" y="47"/>
                      <a:pt x="1544" y="46"/>
                    </a:cubicBezTo>
                    <a:lnTo>
                      <a:pt x="1545" y="46"/>
                    </a:lnTo>
                    <a:cubicBezTo>
                      <a:pt x="1526" y="48"/>
                      <a:pt x="1506" y="49"/>
                      <a:pt x="1485" y="47"/>
                    </a:cubicBezTo>
                    <a:cubicBezTo>
                      <a:pt x="1486" y="46"/>
                      <a:pt x="1484" y="45"/>
                      <a:pt x="1487" y="45"/>
                    </a:cubicBezTo>
                    <a:cubicBezTo>
                      <a:pt x="1482" y="48"/>
                      <a:pt x="1474" y="45"/>
                      <a:pt x="1470" y="45"/>
                    </a:cubicBezTo>
                    <a:lnTo>
                      <a:pt x="1475" y="47"/>
                    </a:lnTo>
                    <a:cubicBezTo>
                      <a:pt x="1469" y="49"/>
                      <a:pt x="1461" y="47"/>
                      <a:pt x="1458" y="45"/>
                    </a:cubicBezTo>
                    <a:lnTo>
                      <a:pt x="1448" y="48"/>
                    </a:lnTo>
                    <a:cubicBezTo>
                      <a:pt x="1448" y="47"/>
                      <a:pt x="1447" y="47"/>
                      <a:pt x="1447" y="46"/>
                    </a:cubicBezTo>
                    <a:lnTo>
                      <a:pt x="1445" y="48"/>
                    </a:lnTo>
                    <a:lnTo>
                      <a:pt x="1440" y="44"/>
                    </a:lnTo>
                    <a:cubicBezTo>
                      <a:pt x="1438" y="45"/>
                      <a:pt x="1425" y="46"/>
                      <a:pt x="1421" y="49"/>
                    </a:cubicBezTo>
                    <a:cubicBezTo>
                      <a:pt x="1421" y="48"/>
                      <a:pt x="1412" y="47"/>
                      <a:pt x="1419" y="46"/>
                    </a:cubicBezTo>
                    <a:lnTo>
                      <a:pt x="1384" y="45"/>
                    </a:lnTo>
                    <a:lnTo>
                      <a:pt x="1390" y="46"/>
                    </a:lnTo>
                    <a:cubicBezTo>
                      <a:pt x="1390" y="49"/>
                      <a:pt x="1380" y="51"/>
                      <a:pt x="1375" y="50"/>
                    </a:cubicBezTo>
                    <a:cubicBezTo>
                      <a:pt x="1382" y="47"/>
                      <a:pt x="1375" y="46"/>
                      <a:pt x="1372" y="44"/>
                    </a:cubicBezTo>
                    <a:cubicBezTo>
                      <a:pt x="1368" y="45"/>
                      <a:pt x="1376" y="46"/>
                      <a:pt x="1374" y="48"/>
                    </a:cubicBezTo>
                    <a:cubicBezTo>
                      <a:pt x="1368" y="49"/>
                      <a:pt x="1356" y="50"/>
                      <a:pt x="1353" y="49"/>
                    </a:cubicBezTo>
                    <a:lnTo>
                      <a:pt x="1356" y="48"/>
                    </a:lnTo>
                    <a:cubicBezTo>
                      <a:pt x="1348" y="49"/>
                      <a:pt x="1345" y="44"/>
                      <a:pt x="1337" y="44"/>
                    </a:cubicBezTo>
                    <a:cubicBezTo>
                      <a:pt x="1330" y="46"/>
                      <a:pt x="1325" y="44"/>
                      <a:pt x="1326" y="49"/>
                    </a:cubicBezTo>
                    <a:cubicBezTo>
                      <a:pt x="1316" y="50"/>
                      <a:pt x="1322" y="46"/>
                      <a:pt x="1319" y="45"/>
                    </a:cubicBezTo>
                    <a:cubicBezTo>
                      <a:pt x="1314" y="47"/>
                      <a:pt x="1300" y="46"/>
                      <a:pt x="1298" y="43"/>
                    </a:cubicBezTo>
                    <a:cubicBezTo>
                      <a:pt x="1292" y="50"/>
                      <a:pt x="1271" y="41"/>
                      <a:pt x="1269" y="46"/>
                    </a:cubicBezTo>
                    <a:lnTo>
                      <a:pt x="1260" y="43"/>
                    </a:lnTo>
                    <a:cubicBezTo>
                      <a:pt x="1260" y="44"/>
                      <a:pt x="1258" y="48"/>
                      <a:pt x="1252" y="48"/>
                    </a:cubicBezTo>
                    <a:cubicBezTo>
                      <a:pt x="1245" y="47"/>
                      <a:pt x="1247" y="44"/>
                      <a:pt x="1245" y="42"/>
                    </a:cubicBezTo>
                    <a:lnTo>
                      <a:pt x="1241" y="48"/>
                    </a:lnTo>
                    <a:cubicBezTo>
                      <a:pt x="1204" y="41"/>
                      <a:pt x="1156" y="45"/>
                      <a:pt x="1115" y="39"/>
                    </a:cubicBezTo>
                    <a:cubicBezTo>
                      <a:pt x="1097" y="40"/>
                      <a:pt x="1075" y="42"/>
                      <a:pt x="1054" y="41"/>
                    </a:cubicBezTo>
                    <a:lnTo>
                      <a:pt x="1056" y="40"/>
                    </a:lnTo>
                    <a:lnTo>
                      <a:pt x="1035" y="38"/>
                    </a:lnTo>
                    <a:lnTo>
                      <a:pt x="1050" y="41"/>
                    </a:lnTo>
                    <a:cubicBezTo>
                      <a:pt x="1046" y="41"/>
                      <a:pt x="1042" y="42"/>
                      <a:pt x="1038" y="42"/>
                    </a:cubicBezTo>
                    <a:cubicBezTo>
                      <a:pt x="1015" y="39"/>
                      <a:pt x="985" y="36"/>
                      <a:pt x="956" y="38"/>
                    </a:cubicBezTo>
                    <a:cubicBezTo>
                      <a:pt x="938" y="44"/>
                      <a:pt x="944" y="32"/>
                      <a:pt x="927" y="36"/>
                    </a:cubicBezTo>
                    <a:cubicBezTo>
                      <a:pt x="928" y="36"/>
                      <a:pt x="929" y="35"/>
                      <a:pt x="930" y="34"/>
                    </a:cubicBezTo>
                    <a:cubicBezTo>
                      <a:pt x="911" y="36"/>
                      <a:pt x="901" y="37"/>
                      <a:pt x="882" y="40"/>
                    </a:cubicBezTo>
                    <a:cubicBezTo>
                      <a:pt x="885" y="34"/>
                      <a:pt x="870" y="40"/>
                      <a:pt x="872" y="37"/>
                    </a:cubicBezTo>
                    <a:lnTo>
                      <a:pt x="870" y="39"/>
                    </a:lnTo>
                    <a:cubicBezTo>
                      <a:pt x="866" y="38"/>
                      <a:pt x="856" y="37"/>
                      <a:pt x="858" y="35"/>
                    </a:cubicBezTo>
                    <a:lnTo>
                      <a:pt x="849" y="38"/>
                    </a:lnTo>
                    <a:lnTo>
                      <a:pt x="848" y="35"/>
                    </a:lnTo>
                    <a:cubicBezTo>
                      <a:pt x="837" y="35"/>
                      <a:pt x="814" y="36"/>
                      <a:pt x="808" y="31"/>
                    </a:cubicBezTo>
                    <a:cubicBezTo>
                      <a:pt x="781" y="34"/>
                      <a:pt x="737" y="32"/>
                      <a:pt x="703" y="31"/>
                    </a:cubicBezTo>
                    <a:cubicBezTo>
                      <a:pt x="698" y="33"/>
                      <a:pt x="688" y="33"/>
                      <a:pt x="680" y="33"/>
                    </a:cubicBezTo>
                    <a:lnTo>
                      <a:pt x="672" y="30"/>
                    </a:lnTo>
                    <a:cubicBezTo>
                      <a:pt x="664" y="31"/>
                      <a:pt x="656" y="35"/>
                      <a:pt x="648" y="33"/>
                    </a:cubicBezTo>
                    <a:cubicBezTo>
                      <a:pt x="648" y="32"/>
                      <a:pt x="649" y="32"/>
                      <a:pt x="649" y="32"/>
                    </a:cubicBezTo>
                    <a:cubicBezTo>
                      <a:pt x="641" y="32"/>
                      <a:pt x="633" y="30"/>
                      <a:pt x="626" y="33"/>
                    </a:cubicBezTo>
                    <a:cubicBezTo>
                      <a:pt x="617" y="33"/>
                      <a:pt x="608" y="31"/>
                      <a:pt x="611" y="28"/>
                    </a:cubicBezTo>
                    <a:cubicBezTo>
                      <a:pt x="610" y="34"/>
                      <a:pt x="592" y="27"/>
                      <a:pt x="592" y="27"/>
                    </a:cubicBezTo>
                    <a:cubicBezTo>
                      <a:pt x="592" y="27"/>
                      <a:pt x="138" y="8"/>
                      <a:pt x="26" y="36"/>
                    </a:cubicBezTo>
                    <a:cubicBezTo>
                      <a:pt x="23" y="38"/>
                      <a:pt x="12" y="40"/>
                      <a:pt x="16" y="43"/>
                    </a:cubicBezTo>
                    <a:cubicBezTo>
                      <a:pt x="8" y="44"/>
                      <a:pt x="5" y="39"/>
                      <a:pt x="3" y="42"/>
                    </a:cubicBezTo>
                    <a:cubicBezTo>
                      <a:pt x="14" y="44"/>
                      <a:pt x="0" y="49"/>
                      <a:pt x="10" y="52"/>
                    </a:cubicBezTo>
                    <a:lnTo>
                      <a:pt x="3" y="53"/>
                    </a:lnTo>
                    <a:cubicBezTo>
                      <a:pt x="2" y="55"/>
                      <a:pt x="13" y="51"/>
                      <a:pt x="11" y="54"/>
                    </a:cubicBezTo>
                    <a:lnTo>
                      <a:pt x="13" y="49"/>
                    </a:lnTo>
                    <a:cubicBezTo>
                      <a:pt x="18" y="50"/>
                      <a:pt x="21" y="51"/>
                      <a:pt x="23" y="53"/>
                    </a:cubicBezTo>
                    <a:cubicBezTo>
                      <a:pt x="28" y="51"/>
                      <a:pt x="32" y="44"/>
                      <a:pt x="44" y="47"/>
                    </a:cubicBezTo>
                    <a:lnTo>
                      <a:pt x="41" y="47"/>
                    </a:lnTo>
                    <a:cubicBezTo>
                      <a:pt x="51" y="47"/>
                      <a:pt x="47" y="51"/>
                      <a:pt x="49" y="52"/>
                    </a:cubicBezTo>
                    <a:lnTo>
                      <a:pt x="47" y="52"/>
                    </a:lnTo>
                    <a:lnTo>
                      <a:pt x="55" y="54"/>
                    </a:lnTo>
                    <a:cubicBezTo>
                      <a:pt x="49" y="52"/>
                      <a:pt x="38" y="56"/>
                      <a:pt x="44" y="56"/>
                    </a:cubicBezTo>
                    <a:cubicBezTo>
                      <a:pt x="56" y="58"/>
                      <a:pt x="41" y="55"/>
                      <a:pt x="50" y="54"/>
                    </a:cubicBezTo>
                    <a:cubicBezTo>
                      <a:pt x="55" y="54"/>
                      <a:pt x="54" y="57"/>
                      <a:pt x="53" y="58"/>
                    </a:cubicBezTo>
                    <a:lnTo>
                      <a:pt x="63" y="58"/>
                    </a:lnTo>
                    <a:cubicBezTo>
                      <a:pt x="63" y="61"/>
                      <a:pt x="57" y="58"/>
                      <a:pt x="61" y="61"/>
                    </a:cubicBezTo>
                    <a:lnTo>
                      <a:pt x="73" y="58"/>
                    </a:lnTo>
                    <a:cubicBezTo>
                      <a:pt x="76" y="64"/>
                      <a:pt x="87" y="56"/>
                      <a:pt x="93" y="61"/>
                    </a:cubicBezTo>
                    <a:cubicBezTo>
                      <a:pt x="84" y="63"/>
                      <a:pt x="94" y="63"/>
                      <a:pt x="92" y="65"/>
                    </a:cubicBezTo>
                    <a:lnTo>
                      <a:pt x="115" y="65"/>
                    </a:lnTo>
                    <a:cubicBezTo>
                      <a:pt x="117" y="66"/>
                      <a:pt x="109" y="67"/>
                      <a:pt x="112" y="67"/>
                    </a:cubicBezTo>
                    <a:cubicBezTo>
                      <a:pt x="116" y="68"/>
                      <a:pt x="119" y="65"/>
                      <a:pt x="121" y="65"/>
                    </a:cubicBezTo>
                    <a:cubicBezTo>
                      <a:pt x="123" y="67"/>
                      <a:pt x="138" y="65"/>
                      <a:pt x="137" y="69"/>
                    </a:cubicBezTo>
                    <a:cubicBezTo>
                      <a:pt x="152" y="72"/>
                      <a:pt x="144" y="65"/>
                      <a:pt x="158" y="67"/>
                    </a:cubicBezTo>
                    <a:cubicBezTo>
                      <a:pt x="159" y="69"/>
                      <a:pt x="146" y="67"/>
                      <a:pt x="153" y="70"/>
                    </a:cubicBezTo>
                    <a:lnTo>
                      <a:pt x="167" y="69"/>
                    </a:lnTo>
                    <a:cubicBezTo>
                      <a:pt x="166" y="70"/>
                      <a:pt x="164" y="73"/>
                      <a:pt x="159" y="72"/>
                    </a:cubicBezTo>
                    <a:cubicBezTo>
                      <a:pt x="198" y="76"/>
                      <a:pt x="220" y="89"/>
                      <a:pt x="256" y="86"/>
                    </a:cubicBezTo>
                    <a:cubicBezTo>
                      <a:pt x="261" y="89"/>
                      <a:pt x="252" y="88"/>
                      <a:pt x="248" y="90"/>
                    </a:cubicBezTo>
                    <a:cubicBezTo>
                      <a:pt x="274" y="86"/>
                      <a:pt x="285" y="97"/>
                      <a:pt x="307" y="96"/>
                    </a:cubicBezTo>
                    <a:lnTo>
                      <a:pt x="308" y="94"/>
                    </a:lnTo>
                    <a:cubicBezTo>
                      <a:pt x="339" y="102"/>
                      <a:pt x="376" y="98"/>
                      <a:pt x="411" y="102"/>
                    </a:cubicBezTo>
                    <a:lnTo>
                      <a:pt x="407" y="100"/>
                    </a:lnTo>
                    <a:cubicBezTo>
                      <a:pt x="412" y="98"/>
                      <a:pt x="419" y="98"/>
                      <a:pt x="425" y="97"/>
                    </a:cubicBezTo>
                    <a:cubicBezTo>
                      <a:pt x="426" y="98"/>
                      <a:pt x="421" y="101"/>
                      <a:pt x="431" y="101"/>
                    </a:cubicBezTo>
                    <a:cubicBezTo>
                      <a:pt x="429" y="100"/>
                      <a:pt x="425" y="99"/>
                      <a:pt x="426" y="98"/>
                    </a:cubicBezTo>
                    <a:cubicBezTo>
                      <a:pt x="456" y="104"/>
                      <a:pt x="520" y="104"/>
                      <a:pt x="569" y="107"/>
                    </a:cubicBezTo>
                    <a:cubicBezTo>
                      <a:pt x="636" y="106"/>
                      <a:pt x="709" y="112"/>
                      <a:pt x="774" y="111"/>
                    </a:cubicBezTo>
                    <a:cubicBezTo>
                      <a:pt x="764" y="111"/>
                      <a:pt x="769" y="106"/>
                      <a:pt x="776" y="107"/>
                    </a:cubicBezTo>
                    <a:cubicBezTo>
                      <a:pt x="797" y="117"/>
                      <a:pt x="812" y="106"/>
                      <a:pt x="833" y="113"/>
                    </a:cubicBezTo>
                    <a:cubicBezTo>
                      <a:pt x="871" y="111"/>
                      <a:pt x="905" y="120"/>
                      <a:pt x="941" y="114"/>
                    </a:cubicBezTo>
                    <a:lnTo>
                      <a:pt x="942" y="117"/>
                    </a:lnTo>
                    <a:cubicBezTo>
                      <a:pt x="947" y="118"/>
                      <a:pt x="948" y="116"/>
                      <a:pt x="954" y="116"/>
                    </a:cubicBezTo>
                    <a:lnTo>
                      <a:pt x="954" y="117"/>
                    </a:lnTo>
                    <a:cubicBezTo>
                      <a:pt x="967" y="118"/>
                      <a:pt x="983" y="116"/>
                      <a:pt x="991" y="117"/>
                    </a:cubicBezTo>
                    <a:lnTo>
                      <a:pt x="991" y="114"/>
                    </a:lnTo>
                    <a:cubicBezTo>
                      <a:pt x="999" y="114"/>
                      <a:pt x="995" y="117"/>
                      <a:pt x="1003" y="115"/>
                    </a:cubicBezTo>
                    <a:lnTo>
                      <a:pt x="1003" y="117"/>
                    </a:lnTo>
                    <a:lnTo>
                      <a:pt x="1012" y="114"/>
                    </a:lnTo>
                    <a:cubicBezTo>
                      <a:pt x="1011" y="119"/>
                      <a:pt x="1035" y="115"/>
                      <a:pt x="1041" y="117"/>
                    </a:cubicBezTo>
                    <a:cubicBezTo>
                      <a:pt x="1051" y="117"/>
                      <a:pt x="1070" y="115"/>
                      <a:pt x="1086" y="116"/>
                    </a:cubicBezTo>
                    <a:cubicBezTo>
                      <a:pt x="1089" y="119"/>
                      <a:pt x="1107" y="119"/>
                      <a:pt x="1119" y="121"/>
                    </a:cubicBezTo>
                    <a:cubicBezTo>
                      <a:pt x="1143" y="121"/>
                      <a:pt x="1176" y="120"/>
                      <a:pt x="1206" y="122"/>
                    </a:cubicBezTo>
                    <a:lnTo>
                      <a:pt x="1206" y="118"/>
                    </a:lnTo>
                    <a:lnTo>
                      <a:pt x="1214" y="118"/>
                    </a:lnTo>
                    <a:cubicBezTo>
                      <a:pt x="1214" y="119"/>
                      <a:pt x="1215" y="119"/>
                      <a:pt x="1213" y="120"/>
                    </a:cubicBezTo>
                    <a:cubicBezTo>
                      <a:pt x="1219" y="124"/>
                      <a:pt x="1231" y="119"/>
                      <a:pt x="1238" y="121"/>
                    </a:cubicBezTo>
                    <a:cubicBezTo>
                      <a:pt x="1234" y="118"/>
                      <a:pt x="1232" y="121"/>
                      <a:pt x="1228" y="121"/>
                    </a:cubicBezTo>
                    <a:cubicBezTo>
                      <a:pt x="1221" y="119"/>
                      <a:pt x="1228" y="116"/>
                      <a:pt x="1236" y="117"/>
                    </a:cubicBezTo>
                    <a:lnTo>
                      <a:pt x="1236" y="118"/>
                    </a:lnTo>
                    <a:lnTo>
                      <a:pt x="1242" y="117"/>
                    </a:lnTo>
                    <a:cubicBezTo>
                      <a:pt x="1242" y="119"/>
                      <a:pt x="1248" y="121"/>
                      <a:pt x="1248" y="123"/>
                    </a:cubicBezTo>
                    <a:cubicBezTo>
                      <a:pt x="1274" y="123"/>
                      <a:pt x="1292" y="119"/>
                      <a:pt x="1318" y="120"/>
                    </a:cubicBezTo>
                    <a:cubicBezTo>
                      <a:pt x="1315" y="123"/>
                      <a:pt x="1337" y="120"/>
                      <a:pt x="1332" y="125"/>
                    </a:cubicBezTo>
                    <a:cubicBezTo>
                      <a:pt x="1348" y="123"/>
                      <a:pt x="1329" y="121"/>
                      <a:pt x="1337" y="117"/>
                    </a:cubicBezTo>
                    <a:cubicBezTo>
                      <a:pt x="1341" y="117"/>
                      <a:pt x="1346" y="116"/>
                      <a:pt x="1346" y="118"/>
                    </a:cubicBezTo>
                    <a:cubicBezTo>
                      <a:pt x="1344" y="119"/>
                      <a:pt x="1350" y="121"/>
                      <a:pt x="1346" y="121"/>
                    </a:cubicBezTo>
                    <a:lnTo>
                      <a:pt x="1357" y="121"/>
                    </a:lnTo>
                    <a:cubicBezTo>
                      <a:pt x="1358" y="121"/>
                      <a:pt x="1356" y="122"/>
                      <a:pt x="1355" y="122"/>
                    </a:cubicBezTo>
                    <a:cubicBezTo>
                      <a:pt x="1376" y="120"/>
                      <a:pt x="1393" y="126"/>
                      <a:pt x="1412" y="123"/>
                    </a:cubicBezTo>
                    <a:cubicBezTo>
                      <a:pt x="1414" y="121"/>
                      <a:pt x="1405" y="123"/>
                      <a:pt x="1406" y="121"/>
                    </a:cubicBezTo>
                    <a:cubicBezTo>
                      <a:pt x="1426" y="117"/>
                      <a:pt x="1423" y="124"/>
                      <a:pt x="1442" y="122"/>
                    </a:cubicBezTo>
                    <a:lnTo>
                      <a:pt x="1438" y="124"/>
                    </a:lnTo>
                    <a:cubicBezTo>
                      <a:pt x="1444" y="122"/>
                      <a:pt x="1446" y="120"/>
                      <a:pt x="1456" y="122"/>
                    </a:cubicBezTo>
                    <a:cubicBezTo>
                      <a:pt x="1458" y="126"/>
                      <a:pt x="1448" y="125"/>
                      <a:pt x="1443" y="126"/>
                    </a:cubicBezTo>
                    <a:cubicBezTo>
                      <a:pt x="1450" y="126"/>
                      <a:pt x="1467" y="126"/>
                      <a:pt x="1461" y="123"/>
                    </a:cubicBezTo>
                    <a:cubicBezTo>
                      <a:pt x="1469" y="122"/>
                      <a:pt x="1472" y="125"/>
                      <a:pt x="1477" y="126"/>
                    </a:cubicBezTo>
                    <a:cubicBezTo>
                      <a:pt x="1477" y="125"/>
                      <a:pt x="1469" y="123"/>
                      <a:pt x="1474" y="122"/>
                    </a:cubicBezTo>
                    <a:cubicBezTo>
                      <a:pt x="1485" y="124"/>
                      <a:pt x="1502" y="124"/>
                      <a:pt x="1515" y="124"/>
                    </a:cubicBezTo>
                    <a:cubicBezTo>
                      <a:pt x="1515" y="125"/>
                      <a:pt x="1516" y="126"/>
                      <a:pt x="1514" y="126"/>
                    </a:cubicBezTo>
                    <a:cubicBezTo>
                      <a:pt x="1525" y="122"/>
                      <a:pt x="1524" y="129"/>
                      <a:pt x="1539" y="128"/>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6" name="Freeform 2440"/>
              <p:cNvSpPr>
                <a:spLocks/>
              </p:cNvSpPr>
              <p:nvPr/>
            </p:nvSpPr>
            <p:spPr bwMode="auto">
              <a:xfrm>
                <a:off x="4256088" y="3959226"/>
                <a:ext cx="3175" cy="0"/>
              </a:xfrm>
              <a:custGeom>
                <a:avLst/>
                <a:gdLst>
                  <a:gd name="T0" fmla="*/ 8 w 8"/>
                  <a:gd name="T1" fmla="*/ 1 h 3"/>
                  <a:gd name="T2" fmla="*/ 8 w 8"/>
                  <a:gd name="T3" fmla="*/ 1 h 3"/>
                  <a:gd name="T4" fmla="*/ 2 w 8"/>
                  <a:gd name="T5" fmla="*/ 0 h 3"/>
                  <a:gd name="T6" fmla="*/ 0 w 8"/>
                  <a:gd name="T7" fmla="*/ 3 h 3"/>
                  <a:gd name="T8" fmla="*/ 8 w 8"/>
                  <a:gd name="T9" fmla="*/ 1 h 3"/>
                </a:gdLst>
                <a:ahLst/>
                <a:cxnLst>
                  <a:cxn ang="0">
                    <a:pos x="T0" y="T1"/>
                  </a:cxn>
                  <a:cxn ang="0">
                    <a:pos x="T2" y="T3"/>
                  </a:cxn>
                  <a:cxn ang="0">
                    <a:pos x="T4" y="T5"/>
                  </a:cxn>
                  <a:cxn ang="0">
                    <a:pos x="T6" y="T7"/>
                  </a:cxn>
                  <a:cxn ang="0">
                    <a:pos x="T8" y="T9"/>
                  </a:cxn>
                </a:cxnLst>
                <a:rect l="0" t="0" r="r" b="b"/>
                <a:pathLst>
                  <a:path w="8" h="3">
                    <a:moveTo>
                      <a:pt x="8" y="1"/>
                    </a:moveTo>
                    <a:lnTo>
                      <a:pt x="8" y="1"/>
                    </a:lnTo>
                    <a:lnTo>
                      <a:pt x="2" y="0"/>
                    </a:lnTo>
                    <a:cubicBezTo>
                      <a:pt x="2" y="1"/>
                      <a:pt x="2" y="2"/>
                      <a:pt x="0" y="3"/>
                    </a:cubicBezTo>
                    <a:lnTo>
                      <a:pt x="8" y="1"/>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7" name="Freeform 2441"/>
              <p:cNvSpPr>
                <a:spLocks/>
              </p:cNvSpPr>
              <p:nvPr/>
            </p:nvSpPr>
            <p:spPr bwMode="auto">
              <a:xfrm>
                <a:off x="4178301" y="3962401"/>
                <a:ext cx="1588"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1" y="1"/>
                      <a:pt x="1" y="1"/>
                      <a:pt x="0" y="1"/>
                    </a:cubicBezTo>
                    <a:cubicBezTo>
                      <a:pt x="1" y="1"/>
                      <a:pt x="2" y="1"/>
                      <a:pt x="2"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8" name="Freeform 2442"/>
              <p:cNvSpPr>
                <a:spLocks/>
              </p:cNvSpPr>
              <p:nvPr/>
            </p:nvSpPr>
            <p:spPr bwMode="auto">
              <a:xfrm>
                <a:off x="4159251" y="3963988"/>
                <a:ext cx="3175" cy="1588"/>
              </a:xfrm>
              <a:custGeom>
                <a:avLst/>
                <a:gdLst>
                  <a:gd name="T0" fmla="*/ 1 w 6"/>
                  <a:gd name="T1" fmla="*/ 2 h 2"/>
                  <a:gd name="T2" fmla="*/ 1 w 6"/>
                  <a:gd name="T3" fmla="*/ 2 h 2"/>
                  <a:gd name="T4" fmla="*/ 0 w 6"/>
                  <a:gd name="T5" fmla="*/ 0 h 2"/>
                  <a:gd name="T6" fmla="*/ 1 w 6"/>
                  <a:gd name="T7" fmla="*/ 2 h 2"/>
                </a:gdLst>
                <a:ahLst/>
                <a:cxnLst>
                  <a:cxn ang="0">
                    <a:pos x="T0" y="T1"/>
                  </a:cxn>
                  <a:cxn ang="0">
                    <a:pos x="T2" y="T3"/>
                  </a:cxn>
                  <a:cxn ang="0">
                    <a:pos x="T4" y="T5"/>
                  </a:cxn>
                  <a:cxn ang="0">
                    <a:pos x="T6" y="T7"/>
                  </a:cxn>
                </a:cxnLst>
                <a:rect l="0" t="0" r="r" b="b"/>
                <a:pathLst>
                  <a:path w="6" h="2">
                    <a:moveTo>
                      <a:pt x="1" y="2"/>
                    </a:moveTo>
                    <a:lnTo>
                      <a:pt x="1" y="2"/>
                    </a:lnTo>
                    <a:cubicBezTo>
                      <a:pt x="6" y="1"/>
                      <a:pt x="2" y="1"/>
                      <a:pt x="0" y="0"/>
                    </a:cubicBezTo>
                    <a:cubicBezTo>
                      <a:pt x="0" y="1"/>
                      <a:pt x="0" y="1"/>
                      <a:pt x="1"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9" name="Freeform 2443"/>
              <p:cNvSpPr>
                <a:spLocks/>
              </p:cNvSpPr>
              <p:nvPr/>
            </p:nvSpPr>
            <p:spPr bwMode="auto">
              <a:xfrm>
                <a:off x="4303713" y="3952876"/>
                <a:ext cx="0" cy="1588"/>
              </a:xfrm>
              <a:custGeom>
                <a:avLst/>
                <a:gdLst>
                  <a:gd name="T0" fmla="*/ 1 w 2"/>
                  <a:gd name="T1" fmla="*/ 0 h 1"/>
                  <a:gd name="T2" fmla="*/ 1 w 2"/>
                  <a:gd name="T3" fmla="*/ 0 h 1"/>
                  <a:gd name="T4" fmla="*/ 0 w 2"/>
                  <a:gd name="T5" fmla="*/ 1 h 1"/>
                  <a:gd name="T6" fmla="*/ 1 w 2"/>
                  <a:gd name="T7" fmla="*/ 0 h 1"/>
                </a:gdLst>
                <a:ahLst/>
                <a:cxnLst>
                  <a:cxn ang="0">
                    <a:pos x="T0" y="T1"/>
                  </a:cxn>
                  <a:cxn ang="0">
                    <a:pos x="T2" y="T3"/>
                  </a:cxn>
                  <a:cxn ang="0">
                    <a:pos x="T4" y="T5"/>
                  </a:cxn>
                  <a:cxn ang="0">
                    <a:pos x="T6" y="T7"/>
                  </a:cxn>
                </a:cxnLst>
                <a:rect l="0" t="0" r="r" b="b"/>
                <a:pathLst>
                  <a:path w="2" h="1">
                    <a:moveTo>
                      <a:pt x="1" y="0"/>
                    </a:moveTo>
                    <a:lnTo>
                      <a:pt x="1" y="0"/>
                    </a:lnTo>
                    <a:cubicBezTo>
                      <a:pt x="1" y="0"/>
                      <a:pt x="0" y="1"/>
                      <a:pt x="0" y="1"/>
                    </a:cubicBezTo>
                    <a:cubicBezTo>
                      <a:pt x="1" y="1"/>
                      <a:pt x="2" y="0"/>
                      <a:pt x="1"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0" name="Freeform 2444"/>
              <p:cNvSpPr>
                <a:spLocks/>
              </p:cNvSpPr>
              <p:nvPr/>
            </p:nvSpPr>
            <p:spPr bwMode="auto">
              <a:xfrm>
                <a:off x="4427538" y="3944938"/>
                <a:ext cx="1588"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cubicBezTo>
                      <a:pt x="1" y="0"/>
                      <a:pt x="1" y="0"/>
                      <a:pt x="0" y="0"/>
                    </a:cubicBezTo>
                    <a:cubicBezTo>
                      <a:pt x="0" y="0"/>
                      <a:pt x="1" y="0"/>
                      <a:pt x="2"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1" name="Freeform 2445"/>
              <p:cNvSpPr>
                <a:spLocks/>
              </p:cNvSpPr>
              <p:nvPr/>
            </p:nvSpPr>
            <p:spPr bwMode="auto">
              <a:xfrm>
                <a:off x="4419601" y="3943351"/>
                <a:ext cx="1588" cy="1588"/>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2" y="1"/>
                      <a:pt x="3" y="1"/>
                      <a:pt x="4"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2" name="Freeform 2446"/>
              <p:cNvSpPr>
                <a:spLocks/>
              </p:cNvSpPr>
              <p:nvPr/>
            </p:nvSpPr>
            <p:spPr bwMode="auto">
              <a:xfrm>
                <a:off x="4271963" y="3956051"/>
                <a:ext cx="1588" cy="0"/>
              </a:xfrm>
              <a:custGeom>
                <a:avLst/>
                <a:gdLst>
                  <a:gd name="T0" fmla="*/ 5 w 5"/>
                  <a:gd name="T1" fmla="*/ 0 h 2"/>
                  <a:gd name="T2" fmla="*/ 5 w 5"/>
                  <a:gd name="T3" fmla="*/ 0 h 2"/>
                  <a:gd name="T4" fmla="*/ 0 w 5"/>
                  <a:gd name="T5" fmla="*/ 2 h 2"/>
                  <a:gd name="T6" fmla="*/ 5 w 5"/>
                  <a:gd name="T7" fmla="*/ 0 h 2"/>
                </a:gdLst>
                <a:ahLst/>
                <a:cxnLst>
                  <a:cxn ang="0">
                    <a:pos x="T0" y="T1"/>
                  </a:cxn>
                  <a:cxn ang="0">
                    <a:pos x="T2" y="T3"/>
                  </a:cxn>
                  <a:cxn ang="0">
                    <a:pos x="T4" y="T5"/>
                  </a:cxn>
                  <a:cxn ang="0">
                    <a:pos x="T6" y="T7"/>
                  </a:cxn>
                </a:cxnLst>
                <a:rect l="0" t="0" r="r" b="b"/>
                <a:pathLst>
                  <a:path w="5" h="2">
                    <a:moveTo>
                      <a:pt x="5" y="0"/>
                    </a:moveTo>
                    <a:lnTo>
                      <a:pt x="5" y="0"/>
                    </a:lnTo>
                    <a:cubicBezTo>
                      <a:pt x="3" y="1"/>
                      <a:pt x="2" y="1"/>
                      <a:pt x="0" y="2"/>
                    </a:cubicBezTo>
                    <a:cubicBezTo>
                      <a:pt x="3" y="1"/>
                      <a:pt x="4" y="1"/>
                      <a:pt x="5"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3" name="Freeform 2447"/>
              <p:cNvSpPr>
                <a:spLocks/>
              </p:cNvSpPr>
              <p:nvPr/>
            </p:nvSpPr>
            <p:spPr bwMode="auto">
              <a:xfrm>
                <a:off x="4416426" y="3944938"/>
                <a:ext cx="1588" cy="0"/>
              </a:xfrm>
              <a:custGeom>
                <a:avLst/>
                <a:gdLst>
                  <a:gd name="T0" fmla="*/ 5 w 5"/>
                  <a:gd name="T1" fmla="*/ 0 h 1"/>
                  <a:gd name="T2" fmla="*/ 5 w 5"/>
                  <a:gd name="T3" fmla="*/ 0 h 1"/>
                  <a:gd name="T4" fmla="*/ 0 w 5"/>
                  <a:gd name="T5" fmla="*/ 0 h 1"/>
                  <a:gd name="T6" fmla="*/ 0 w 5"/>
                  <a:gd name="T7" fmla="*/ 1 h 1"/>
                  <a:gd name="T8" fmla="*/ 5 w 5"/>
                  <a:gd name="T9" fmla="*/ 0 h 1"/>
                </a:gdLst>
                <a:ahLst/>
                <a:cxnLst>
                  <a:cxn ang="0">
                    <a:pos x="T0" y="T1"/>
                  </a:cxn>
                  <a:cxn ang="0">
                    <a:pos x="T2" y="T3"/>
                  </a:cxn>
                  <a:cxn ang="0">
                    <a:pos x="T4" y="T5"/>
                  </a:cxn>
                  <a:cxn ang="0">
                    <a:pos x="T6" y="T7"/>
                  </a:cxn>
                  <a:cxn ang="0">
                    <a:pos x="T8" y="T9"/>
                  </a:cxn>
                </a:cxnLst>
                <a:rect l="0" t="0" r="r" b="b"/>
                <a:pathLst>
                  <a:path w="5" h="1">
                    <a:moveTo>
                      <a:pt x="5" y="0"/>
                    </a:moveTo>
                    <a:lnTo>
                      <a:pt x="5" y="0"/>
                    </a:lnTo>
                    <a:lnTo>
                      <a:pt x="0" y="0"/>
                    </a:lnTo>
                    <a:cubicBezTo>
                      <a:pt x="0" y="0"/>
                      <a:pt x="0" y="0"/>
                      <a:pt x="0" y="1"/>
                    </a:cubicBezTo>
                    <a:lnTo>
                      <a:pt x="5"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4" name="Freeform 2448"/>
              <p:cNvSpPr>
                <a:spLocks/>
              </p:cNvSpPr>
              <p:nvPr/>
            </p:nvSpPr>
            <p:spPr bwMode="auto">
              <a:xfrm>
                <a:off x="4429126" y="3944938"/>
                <a:ext cx="1588" cy="0"/>
              </a:xfrm>
              <a:custGeom>
                <a:avLst/>
                <a:gdLst>
                  <a:gd name="T0" fmla="*/ 7 w 7"/>
                  <a:gd name="T1" fmla="*/ 0 h 1"/>
                  <a:gd name="T2" fmla="*/ 7 w 7"/>
                  <a:gd name="T3" fmla="*/ 0 h 1"/>
                  <a:gd name="T4" fmla="*/ 0 w 7"/>
                  <a:gd name="T5" fmla="*/ 0 h 1"/>
                  <a:gd name="T6" fmla="*/ 7 w 7"/>
                  <a:gd name="T7" fmla="*/ 0 h 1"/>
                </a:gdLst>
                <a:ahLst/>
                <a:cxnLst>
                  <a:cxn ang="0">
                    <a:pos x="T0" y="T1"/>
                  </a:cxn>
                  <a:cxn ang="0">
                    <a:pos x="T2" y="T3"/>
                  </a:cxn>
                  <a:cxn ang="0">
                    <a:pos x="T4" y="T5"/>
                  </a:cxn>
                  <a:cxn ang="0">
                    <a:pos x="T6" y="T7"/>
                  </a:cxn>
                </a:cxnLst>
                <a:rect l="0" t="0" r="r" b="b"/>
                <a:pathLst>
                  <a:path w="7" h="1">
                    <a:moveTo>
                      <a:pt x="7" y="0"/>
                    </a:moveTo>
                    <a:lnTo>
                      <a:pt x="7" y="0"/>
                    </a:lnTo>
                    <a:cubicBezTo>
                      <a:pt x="4" y="0"/>
                      <a:pt x="1" y="0"/>
                      <a:pt x="0" y="0"/>
                    </a:cubicBezTo>
                    <a:cubicBezTo>
                      <a:pt x="2" y="1"/>
                      <a:pt x="5" y="1"/>
                      <a:pt x="7"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5" name="Freeform 2449"/>
              <p:cNvSpPr>
                <a:spLocks/>
              </p:cNvSpPr>
              <p:nvPr/>
            </p:nvSpPr>
            <p:spPr bwMode="auto">
              <a:xfrm>
                <a:off x="4348163" y="3949701"/>
                <a:ext cx="1588" cy="0"/>
              </a:xfrm>
              <a:custGeom>
                <a:avLst/>
                <a:gdLst>
                  <a:gd name="T0" fmla="*/ 5 w 5"/>
                  <a:gd name="T1" fmla="*/ 0 h 1"/>
                  <a:gd name="T2" fmla="*/ 5 w 5"/>
                  <a:gd name="T3" fmla="*/ 0 h 1"/>
                  <a:gd name="T4" fmla="*/ 4 w 5"/>
                  <a:gd name="T5" fmla="*/ 0 h 1"/>
                  <a:gd name="T6" fmla="*/ 5 w 5"/>
                  <a:gd name="T7" fmla="*/ 0 h 1"/>
                </a:gdLst>
                <a:ahLst/>
                <a:cxnLst>
                  <a:cxn ang="0">
                    <a:pos x="T0" y="T1"/>
                  </a:cxn>
                  <a:cxn ang="0">
                    <a:pos x="T2" y="T3"/>
                  </a:cxn>
                  <a:cxn ang="0">
                    <a:pos x="T4" y="T5"/>
                  </a:cxn>
                  <a:cxn ang="0">
                    <a:pos x="T6" y="T7"/>
                  </a:cxn>
                </a:cxnLst>
                <a:rect l="0" t="0" r="r" b="b"/>
                <a:pathLst>
                  <a:path w="5" h="1">
                    <a:moveTo>
                      <a:pt x="5" y="0"/>
                    </a:moveTo>
                    <a:lnTo>
                      <a:pt x="5" y="0"/>
                    </a:lnTo>
                    <a:cubicBezTo>
                      <a:pt x="4" y="0"/>
                      <a:pt x="4" y="0"/>
                      <a:pt x="4" y="0"/>
                    </a:cubicBezTo>
                    <a:cubicBezTo>
                      <a:pt x="0" y="1"/>
                      <a:pt x="2" y="1"/>
                      <a:pt x="5"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6" name="Freeform 2450"/>
              <p:cNvSpPr>
                <a:spLocks/>
              </p:cNvSpPr>
              <p:nvPr/>
            </p:nvSpPr>
            <p:spPr bwMode="auto">
              <a:xfrm>
                <a:off x="4410076" y="3946526"/>
                <a:ext cx="1588" cy="0"/>
              </a:xfrm>
              <a:custGeom>
                <a:avLst/>
                <a:gdLst>
                  <a:gd name="T0" fmla="*/ 3 w 3"/>
                  <a:gd name="T1" fmla="*/ 0 h 1"/>
                  <a:gd name="T2" fmla="*/ 3 w 3"/>
                  <a:gd name="T3" fmla="*/ 0 h 1"/>
                  <a:gd name="T4" fmla="*/ 2 w 3"/>
                  <a:gd name="T5" fmla="*/ 0 h 1"/>
                  <a:gd name="T6" fmla="*/ 0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3" y="0"/>
                    </a:lnTo>
                    <a:lnTo>
                      <a:pt x="2" y="0"/>
                    </a:lnTo>
                    <a:lnTo>
                      <a:pt x="0" y="1"/>
                    </a:lnTo>
                    <a:lnTo>
                      <a:pt x="3"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7" name="Freeform 2451"/>
              <p:cNvSpPr>
                <a:spLocks/>
              </p:cNvSpPr>
              <p:nvPr/>
            </p:nvSpPr>
            <p:spPr bwMode="auto">
              <a:xfrm>
                <a:off x="4437063" y="3944938"/>
                <a:ext cx="1588" cy="0"/>
              </a:xfrm>
              <a:custGeom>
                <a:avLst/>
                <a:gdLst>
                  <a:gd name="T0" fmla="*/ 2 w 3"/>
                  <a:gd name="T1" fmla="*/ 0 h 1"/>
                  <a:gd name="T2" fmla="*/ 2 w 3"/>
                  <a:gd name="T3" fmla="*/ 0 h 1"/>
                  <a:gd name="T4" fmla="*/ 0 w 3"/>
                  <a:gd name="T5" fmla="*/ 1 h 1"/>
                  <a:gd name="T6" fmla="*/ 3 w 3"/>
                  <a:gd name="T7" fmla="*/ 1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lnTo>
                      <a:pt x="2" y="0"/>
                    </a:lnTo>
                    <a:cubicBezTo>
                      <a:pt x="1" y="1"/>
                      <a:pt x="0" y="1"/>
                      <a:pt x="0" y="1"/>
                    </a:cubicBezTo>
                    <a:cubicBezTo>
                      <a:pt x="1" y="1"/>
                      <a:pt x="2" y="1"/>
                      <a:pt x="3" y="1"/>
                    </a:cubicBezTo>
                    <a:cubicBezTo>
                      <a:pt x="3" y="1"/>
                      <a:pt x="2" y="1"/>
                      <a:pt x="2"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8" name="Freeform 2452"/>
              <p:cNvSpPr>
                <a:spLocks/>
              </p:cNvSpPr>
              <p:nvPr/>
            </p:nvSpPr>
            <p:spPr bwMode="auto">
              <a:xfrm>
                <a:off x="4375151" y="3948113"/>
                <a:ext cx="1588" cy="0"/>
              </a:xfrm>
              <a:custGeom>
                <a:avLst/>
                <a:gdLst>
                  <a:gd name="T0" fmla="*/ 1 w 3"/>
                  <a:gd name="T1" fmla="*/ 3 h 3"/>
                  <a:gd name="T2" fmla="*/ 1 w 3"/>
                  <a:gd name="T3" fmla="*/ 3 h 3"/>
                  <a:gd name="T4" fmla="*/ 3 w 3"/>
                  <a:gd name="T5" fmla="*/ 0 h 3"/>
                  <a:gd name="T6" fmla="*/ 1 w 3"/>
                  <a:gd name="T7" fmla="*/ 3 h 3"/>
                </a:gdLst>
                <a:ahLst/>
                <a:cxnLst>
                  <a:cxn ang="0">
                    <a:pos x="T0" y="T1"/>
                  </a:cxn>
                  <a:cxn ang="0">
                    <a:pos x="T2" y="T3"/>
                  </a:cxn>
                  <a:cxn ang="0">
                    <a:pos x="T4" y="T5"/>
                  </a:cxn>
                  <a:cxn ang="0">
                    <a:pos x="T6" y="T7"/>
                  </a:cxn>
                </a:cxnLst>
                <a:rect l="0" t="0" r="r" b="b"/>
                <a:pathLst>
                  <a:path w="3" h="3">
                    <a:moveTo>
                      <a:pt x="1" y="3"/>
                    </a:moveTo>
                    <a:lnTo>
                      <a:pt x="1" y="3"/>
                    </a:lnTo>
                    <a:cubicBezTo>
                      <a:pt x="2" y="1"/>
                      <a:pt x="3" y="0"/>
                      <a:pt x="3" y="0"/>
                    </a:cubicBezTo>
                    <a:cubicBezTo>
                      <a:pt x="1" y="0"/>
                      <a:pt x="0" y="1"/>
                      <a:pt x="1" y="3"/>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9" name="Freeform 2453"/>
              <p:cNvSpPr>
                <a:spLocks/>
              </p:cNvSpPr>
              <p:nvPr/>
            </p:nvSpPr>
            <p:spPr bwMode="auto">
              <a:xfrm>
                <a:off x="4519613" y="4445001"/>
                <a:ext cx="0" cy="1588"/>
              </a:xfrm>
              <a:custGeom>
                <a:avLst/>
                <a:gdLst>
                  <a:gd name="T0" fmla="*/ 0 w 1"/>
                  <a:gd name="T1" fmla="*/ 1 h 1"/>
                  <a:gd name="T2" fmla="*/ 0 w 1"/>
                  <a:gd name="T3" fmla="*/ 1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1"/>
                    </a:cubicBezTo>
                    <a:cubicBezTo>
                      <a:pt x="0" y="0"/>
                      <a:pt x="0"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0" name="Freeform 2454"/>
              <p:cNvSpPr>
                <a:spLocks/>
              </p:cNvSpPr>
              <p:nvPr/>
            </p:nvSpPr>
            <p:spPr bwMode="auto">
              <a:xfrm>
                <a:off x="4516438" y="4400551"/>
                <a:ext cx="1588" cy="0"/>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cubicBezTo>
                      <a:pt x="1"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1" name="Freeform 2455"/>
              <p:cNvSpPr>
                <a:spLocks/>
              </p:cNvSpPr>
              <p:nvPr/>
            </p:nvSpPr>
            <p:spPr bwMode="auto">
              <a:xfrm>
                <a:off x="4521201" y="4473576"/>
                <a:ext cx="0" cy="1588"/>
              </a:xfrm>
              <a:custGeom>
                <a:avLst/>
                <a:gdLst>
                  <a:gd name="T0" fmla="*/ 1 w 1"/>
                  <a:gd name="T1" fmla="*/ 0 h 6"/>
                  <a:gd name="T2" fmla="*/ 1 w 1"/>
                  <a:gd name="T3" fmla="*/ 0 h 6"/>
                  <a:gd name="T4" fmla="*/ 0 w 1"/>
                  <a:gd name="T5" fmla="*/ 0 h 6"/>
                  <a:gd name="T6" fmla="*/ 1 w 1"/>
                  <a:gd name="T7" fmla="*/ 6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lnTo>
                      <a:pt x="1" y="0"/>
                    </a:lnTo>
                    <a:cubicBezTo>
                      <a:pt x="1" y="0"/>
                      <a:pt x="1" y="0"/>
                      <a:pt x="0" y="0"/>
                    </a:cubicBezTo>
                    <a:cubicBezTo>
                      <a:pt x="1" y="1"/>
                      <a:pt x="1" y="3"/>
                      <a:pt x="1" y="6"/>
                    </a:cubicBezTo>
                    <a:lnTo>
                      <a:pt x="1"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2" name="Freeform 2456"/>
              <p:cNvSpPr>
                <a:spLocks/>
              </p:cNvSpPr>
              <p:nvPr/>
            </p:nvSpPr>
            <p:spPr bwMode="auto">
              <a:xfrm>
                <a:off x="4513263" y="4302126"/>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3" name="Freeform 2457"/>
              <p:cNvSpPr>
                <a:spLocks/>
              </p:cNvSpPr>
              <p:nvPr/>
            </p:nvSpPr>
            <p:spPr bwMode="auto">
              <a:xfrm>
                <a:off x="4514851" y="4359276"/>
                <a:ext cx="0" cy="1588"/>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0" y="0"/>
                      <a:pt x="0" y="0"/>
                    </a:cubicBezTo>
                    <a:cubicBezTo>
                      <a:pt x="0" y="1"/>
                      <a:pt x="0" y="2"/>
                      <a:pt x="1"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4" name="Freeform 2458"/>
              <p:cNvSpPr>
                <a:spLocks/>
              </p:cNvSpPr>
              <p:nvPr/>
            </p:nvSpPr>
            <p:spPr bwMode="auto">
              <a:xfrm>
                <a:off x="4513263" y="4487863"/>
                <a:ext cx="0" cy="1588"/>
              </a:xfrm>
              <a:custGeom>
                <a:avLst/>
                <a:gdLst>
                  <a:gd name="T0" fmla="*/ 0 w 2"/>
                  <a:gd name="T1" fmla="*/ 3 h 3"/>
                  <a:gd name="T2" fmla="*/ 0 w 2"/>
                  <a:gd name="T3" fmla="*/ 3 h 3"/>
                  <a:gd name="T4" fmla="*/ 2 w 2"/>
                  <a:gd name="T5" fmla="*/ 0 h 3"/>
                  <a:gd name="T6" fmla="*/ 0 w 2"/>
                  <a:gd name="T7" fmla="*/ 3 h 3"/>
                </a:gdLst>
                <a:ahLst/>
                <a:cxnLst>
                  <a:cxn ang="0">
                    <a:pos x="T0" y="T1"/>
                  </a:cxn>
                  <a:cxn ang="0">
                    <a:pos x="T2" y="T3"/>
                  </a:cxn>
                  <a:cxn ang="0">
                    <a:pos x="T4" y="T5"/>
                  </a:cxn>
                  <a:cxn ang="0">
                    <a:pos x="T6" y="T7"/>
                  </a:cxn>
                </a:cxnLst>
                <a:rect l="0" t="0" r="r" b="b"/>
                <a:pathLst>
                  <a:path w="2" h="3">
                    <a:moveTo>
                      <a:pt x="0" y="3"/>
                    </a:moveTo>
                    <a:lnTo>
                      <a:pt x="0" y="3"/>
                    </a:lnTo>
                    <a:lnTo>
                      <a:pt x="2" y="0"/>
                    </a:lnTo>
                    <a:cubicBezTo>
                      <a:pt x="1" y="0"/>
                      <a:pt x="1" y="1"/>
                      <a:pt x="0" y="3"/>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5" name="Freeform 2459"/>
              <p:cNvSpPr>
                <a:spLocks/>
              </p:cNvSpPr>
              <p:nvPr/>
            </p:nvSpPr>
            <p:spPr bwMode="auto">
              <a:xfrm>
                <a:off x="4519613" y="451643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1" y="1"/>
                      <a:pt x="1" y="0"/>
                      <a:pt x="1" y="0"/>
                    </a:cubicBezTo>
                    <a:cubicBezTo>
                      <a:pt x="1" y="0"/>
                      <a:pt x="1"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6" name="Freeform 2460"/>
              <p:cNvSpPr>
                <a:spLocks/>
              </p:cNvSpPr>
              <p:nvPr/>
            </p:nvSpPr>
            <p:spPr bwMode="auto">
              <a:xfrm>
                <a:off x="4521201" y="450532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0" y="0"/>
                      <a:pt x="0" y="0"/>
                    </a:cubicBezTo>
                    <a:cubicBezTo>
                      <a:pt x="0" y="1"/>
                      <a:pt x="0" y="2"/>
                      <a:pt x="1"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7" name="Freeform 2461"/>
              <p:cNvSpPr>
                <a:spLocks/>
              </p:cNvSpPr>
              <p:nvPr/>
            </p:nvSpPr>
            <p:spPr bwMode="auto">
              <a:xfrm>
                <a:off x="4519613" y="4503738"/>
                <a:ext cx="1588" cy="1588"/>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cubicBezTo>
                      <a:pt x="0" y="1"/>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8" name="Freeform 2462"/>
              <p:cNvSpPr>
                <a:spLocks/>
              </p:cNvSpPr>
              <p:nvPr/>
            </p:nvSpPr>
            <p:spPr bwMode="auto">
              <a:xfrm>
                <a:off x="4505326" y="3943351"/>
                <a:ext cx="1588" cy="3175"/>
              </a:xfrm>
              <a:custGeom>
                <a:avLst/>
                <a:gdLst>
                  <a:gd name="T0" fmla="*/ 3 w 3"/>
                  <a:gd name="T1" fmla="*/ 7 h 7"/>
                  <a:gd name="T2" fmla="*/ 3 w 3"/>
                  <a:gd name="T3" fmla="*/ 7 h 7"/>
                  <a:gd name="T4" fmla="*/ 0 w 3"/>
                  <a:gd name="T5" fmla="*/ 0 h 7"/>
                  <a:gd name="T6" fmla="*/ 3 w 3"/>
                  <a:gd name="T7" fmla="*/ 7 h 7"/>
                </a:gdLst>
                <a:ahLst/>
                <a:cxnLst>
                  <a:cxn ang="0">
                    <a:pos x="T0" y="T1"/>
                  </a:cxn>
                  <a:cxn ang="0">
                    <a:pos x="T2" y="T3"/>
                  </a:cxn>
                  <a:cxn ang="0">
                    <a:pos x="T4" y="T5"/>
                  </a:cxn>
                  <a:cxn ang="0">
                    <a:pos x="T6" y="T7"/>
                  </a:cxn>
                </a:cxnLst>
                <a:rect l="0" t="0" r="r" b="b"/>
                <a:pathLst>
                  <a:path w="3" h="7">
                    <a:moveTo>
                      <a:pt x="3" y="7"/>
                    </a:moveTo>
                    <a:lnTo>
                      <a:pt x="3" y="7"/>
                    </a:lnTo>
                    <a:cubicBezTo>
                      <a:pt x="3" y="5"/>
                      <a:pt x="1" y="3"/>
                      <a:pt x="0" y="0"/>
                    </a:cubicBezTo>
                    <a:lnTo>
                      <a:pt x="3" y="7"/>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9" name="Freeform 2463"/>
              <p:cNvSpPr>
                <a:spLocks/>
              </p:cNvSpPr>
              <p:nvPr/>
            </p:nvSpPr>
            <p:spPr bwMode="auto">
              <a:xfrm>
                <a:off x="4508501" y="4213226"/>
                <a:ext cx="1588"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0" y="0"/>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0" name="Freeform 2464"/>
              <p:cNvSpPr>
                <a:spLocks/>
              </p:cNvSpPr>
              <p:nvPr/>
            </p:nvSpPr>
            <p:spPr bwMode="auto">
              <a:xfrm>
                <a:off x="4500563" y="3944938"/>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cubicBezTo>
                      <a:pt x="0" y="1"/>
                      <a:pt x="0" y="1"/>
                      <a:pt x="0"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1" name="Freeform 2465"/>
              <p:cNvSpPr>
                <a:spLocks/>
              </p:cNvSpPr>
              <p:nvPr/>
            </p:nvSpPr>
            <p:spPr bwMode="auto">
              <a:xfrm>
                <a:off x="4508501" y="4471988"/>
                <a:ext cx="1588" cy="3175"/>
              </a:xfrm>
              <a:custGeom>
                <a:avLst/>
                <a:gdLst>
                  <a:gd name="T0" fmla="*/ 3 w 3"/>
                  <a:gd name="T1" fmla="*/ 8 h 8"/>
                  <a:gd name="T2" fmla="*/ 3 w 3"/>
                  <a:gd name="T3" fmla="*/ 8 h 8"/>
                  <a:gd name="T4" fmla="*/ 1 w 3"/>
                  <a:gd name="T5" fmla="*/ 0 h 8"/>
                  <a:gd name="T6" fmla="*/ 3 w 3"/>
                  <a:gd name="T7" fmla="*/ 8 h 8"/>
                </a:gdLst>
                <a:ahLst/>
                <a:cxnLst>
                  <a:cxn ang="0">
                    <a:pos x="T0" y="T1"/>
                  </a:cxn>
                  <a:cxn ang="0">
                    <a:pos x="T2" y="T3"/>
                  </a:cxn>
                  <a:cxn ang="0">
                    <a:pos x="T4" y="T5"/>
                  </a:cxn>
                  <a:cxn ang="0">
                    <a:pos x="T6" y="T7"/>
                  </a:cxn>
                </a:cxnLst>
                <a:rect l="0" t="0" r="r" b="b"/>
                <a:pathLst>
                  <a:path w="3" h="8">
                    <a:moveTo>
                      <a:pt x="3" y="8"/>
                    </a:moveTo>
                    <a:lnTo>
                      <a:pt x="3" y="8"/>
                    </a:lnTo>
                    <a:cubicBezTo>
                      <a:pt x="1" y="5"/>
                      <a:pt x="3" y="0"/>
                      <a:pt x="1" y="0"/>
                    </a:cubicBezTo>
                    <a:cubicBezTo>
                      <a:pt x="1" y="3"/>
                      <a:pt x="0" y="7"/>
                      <a:pt x="3" y="8"/>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2" name="Freeform 2466"/>
              <p:cNvSpPr>
                <a:spLocks/>
              </p:cNvSpPr>
              <p:nvPr/>
            </p:nvSpPr>
            <p:spPr bwMode="auto">
              <a:xfrm>
                <a:off x="4484688" y="4194176"/>
                <a:ext cx="0" cy="1588"/>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cubicBezTo>
                      <a:pt x="0" y="1"/>
                      <a:pt x="0" y="1"/>
                      <a:pt x="0"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3" name="Freeform 2467"/>
              <p:cNvSpPr>
                <a:spLocks/>
              </p:cNvSpPr>
              <p:nvPr/>
            </p:nvSpPr>
            <p:spPr bwMode="auto">
              <a:xfrm>
                <a:off x="4500563" y="3944938"/>
                <a:ext cx="1588" cy="0"/>
              </a:xfrm>
              <a:custGeom>
                <a:avLst/>
                <a:gdLst>
                  <a:gd name="T0" fmla="*/ 0 w 1"/>
                  <a:gd name="T1" fmla="*/ 0 h 2"/>
                  <a:gd name="T2" fmla="*/ 0 w 1"/>
                  <a:gd name="T3" fmla="*/ 0 h 2"/>
                  <a:gd name="T4" fmla="*/ 0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0" y="2"/>
                    </a:lnTo>
                    <a:cubicBezTo>
                      <a:pt x="0" y="2"/>
                      <a:pt x="0" y="2"/>
                      <a:pt x="1" y="1"/>
                    </a:cubicBezTo>
                    <a:cubicBezTo>
                      <a:pt x="0" y="1"/>
                      <a:pt x="0" y="1"/>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4" name="Freeform 2468"/>
              <p:cNvSpPr>
                <a:spLocks/>
              </p:cNvSpPr>
              <p:nvPr/>
            </p:nvSpPr>
            <p:spPr bwMode="auto">
              <a:xfrm>
                <a:off x="4508501" y="4121151"/>
                <a:ext cx="0" cy="0"/>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cubicBezTo>
                      <a:pt x="0" y="0"/>
                      <a:pt x="0" y="0"/>
                      <a:pt x="0" y="1"/>
                    </a:cubicBezTo>
                    <a:lnTo>
                      <a:pt x="0"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5" name="Freeform 2469"/>
              <p:cNvSpPr>
                <a:spLocks/>
              </p:cNvSpPr>
              <p:nvPr/>
            </p:nvSpPr>
            <p:spPr bwMode="auto">
              <a:xfrm>
                <a:off x="4510088" y="4116388"/>
                <a:ext cx="0" cy="1588"/>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0" y="0"/>
                    </a:lnTo>
                    <a:cubicBezTo>
                      <a:pt x="0" y="1"/>
                      <a:pt x="0" y="2"/>
                      <a:pt x="1" y="4"/>
                    </a:cubicBezTo>
                    <a:cubicBezTo>
                      <a:pt x="1" y="2"/>
                      <a:pt x="1" y="1"/>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6" name="Freeform 2470"/>
              <p:cNvSpPr>
                <a:spLocks/>
              </p:cNvSpPr>
              <p:nvPr/>
            </p:nvSpPr>
            <p:spPr bwMode="auto">
              <a:xfrm>
                <a:off x="4505326" y="3941763"/>
                <a:ext cx="0" cy="1588"/>
              </a:xfrm>
              <a:custGeom>
                <a:avLst/>
                <a:gdLst>
                  <a:gd name="T0" fmla="*/ 1 w 1"/>
                  <a:gd name="T1" fmla="*/ 4 h 4"/>
                  <a:gd name="T2" fmla="*/ 1 w 1"/>
                  <a:gd name="T3" fmla="*/ 4 h 4"/>
                  <a:gd name="T4" fmla="*/ 0 w 1"/>
                  <a:gd name="T5" fmla="*/ 0 h 4"/>
                  <a:gd name="T6" fmla="*/ 1 w 1"/>
                  <a:gd name="T7" fmla="*/ 4 h 4"/>
                </a:gdLst>
                <a:ahLst/>
                <a:cxnLst>
                  <a:cxn ang="0">
                    <a:pos x="T0" y="T1"/>
                  </a:cxn>
                  <a:cxn ang="0">
                    <a:pos x="T2" y="T3"/>
                  </a:cxn>
                  <a:cxn ang="0">
                    <a:pos x="T4" y="T5"/>
                  </a:cxn>
                  <a:cxn ang="0">
                    <a:pos x="T6" y="T7"/>
                  </a:cxn>
                </a:cxnLst>
                <a:rect l="0" t="0" r="r" b="b"/>
                <a:pathLst>
                  <a:path w="1" h="4">
                    <a:moveTo>
                      <a:pt x="1" y="4"/>
                    </a:moveTo>
                    <a:lnTo>
                      <a:pt x="1" y="4"/>
                    </a:lnTo>
                    <a:lnTo>
                      <a:pt x="0" y="0"/>
                    </a:lnTo>
                    <a:cubicBezTo>
                      <a:pt x="0" y="2"/>
                      <a:pt x="0" y="3"/>
                      <a:pt x="1" y="4"/>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7" name="Freeform 2471"/>
              <p:cNvSpPr>
                <a:spLocks/>
              </p:cNvSpPr>
              <p:nvPr/>
            </p:nvSpPr>
            <p:spPr bwMode="auto">
              <a:xfrm>
                <a:off x="4510088" y="4064001"/>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0"/>
                      <a:pt x="1" y="1"/>
                      <a:pt x="1" y="1"/>
                    </a:cubicBezTo>
                    <a:cubicBezTo>
                      <a:pt x="1"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8" name="Freeform 2472"/>
              <p:cNvSpPr>
                <a:spLocks/>
              </p:cNvSpPr>
              <p:nvPr/>
            </p:nvSpPr>
            <p:spPr bwMode="auto">
              <a:xfrm>
                <a:off x="4514851" y="4364038"/>
                <a:ext cx="0" cy="0"/>
              </a:xfrm>
              <a:custGeom>
                <a:avLst/>
                <a:gdLst>
                  <a:gd name="T0" fmla="*/ 0 w 1"/>
                  <a:gd name="T1" fmla="*/ 0 h 1"/>
                  <a:gd name="T2" fmla="*/ 0 w 1"/>
                  <a:gd name="T3" fmla="*/ 0 h 1"/>
                  <a:gd name="T4" fmla="*/ 0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0"/>
                      <a:pt x="0" y="1"/>
                      <a:pt x="0" y="1"/>
                    </a:cubicBezTo>
                    <a:cubicBezTo>
                      <a:pt x="0" y="1"/>
                      <a:pt x="1" y="1"/>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9" name="Rectangle 2473"/>
              <p:cNvSpPr>
                <a:spLocks noChangeArrowheads="1"/>
              </p:cNvSpPr>
              <p:nvPr/>
            </p:nvSpPr>
            <p:spPr bwMode="auto">
              <a:xfrm>
                <a:off x="4495801" y="4329113"/>
                <a:ext cx="1588" cy="1588"/>
              </a:xfrm>
              <a:prstGeom prst="rect">
                <a:avLst/>
              </a:prstGeom>
              <a:solidFill>
                <a:srgbClr val="A8B21C"/>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0" name="Freeform 2474"/>
              <p:cNvSpPr>
                <a:spLocks/>
              </p:cNvSpPr>
              <p:nvPr/>
            </p:nvSpPr>
            <p:spPr bwMode="auto">
              <a:xfrm>
                <a:off x="4495801" y="4329113"/>
                <a:ext cx="0" cy="1588"/>
              </a:xfrm>
              <a:custGeom>
                <a:avLst/>
                <a:gdLst>
                  <a:gd name="T0" fmla="*/ 3 w 3"/>
                  <a:gd name="T1" fmla="*/ 6 h 6"/>
                  <a:gd name="T2" fmla="*/ 3 w 3"/>
                  <a:gd name="T3" fmla="*/ 6 h 6"/>
                  <a:gd name="T4" fmla="*/ 0 w 3"/>
                  <a:gd name="T5" fmla="*/ 0 h 6"/>
                  <a:gd name="T6" fmla="*/ 3 w 3"/>
                  <a:gd name="T7" fmla="*/ 6 h 6"/>
                </a:gdLst>
                <a:ahLst/>
                <a:cxnLst>
                  <a:cxn ang="0">
                    <a:pos x="T0" y="T1"/>
                  </a:cxn>
                  <a:cxn ang="0">
                    <a:pos x="T2" y="T3"/>
                  </a:cxn>
                  <a:cxn ang="0">
                    <a:pos x="T4" y="T5"/>
                  </a:cxn>
                  <a:cxn ang="0">
                    <a:pos x="T6" y="T7"/>
                  </a:cxn>
                </a:cxnLst>
                <a:rect l="0" t="0" r="r" b="b"/>
                <a:pathLst>
                  <a:path w="3" h="6">
                    <a:moveTo>
                      <a:pt x="3" y="6"/>
                    </a:moveTo>
                    <a:lnTo>
                      <a:pt x="3" y="6"/>
                    </a:lnTo>
                    <a:cubicBezTo>
                      <a:pt x="3" y="4"/>
                      <a:pt x="2" y="1"/>
                      <a:pt x="0" y="0"/>
                    </a:cubicBezTo>
                    <a:cubicBezTo>
                      <a:pt x="0" y="2"/>
                      <a:pt x="1" y="3"/>
                      <a:pt x="3" y="6"/>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1" name="Freeform 2475"/>
              <p:cNvSpPr>
                <a:spLocks/>
              </p:cNvSpPr>
              <p:nvPr/>
            </p:nvSpPr>
            <p:spPr bwMode="auto">
              <a:xfrm>
                <a:off x="4495801" y="4324351"/>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1"/>
                      <a:pt x="0" y="1"/>
                    </a:cubicBezTo>
                    <a:cubicBezTo>
                      <a:pt x="0" y="1"/>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2" name="Freeform 2476"/>
              <p:cNvSpPr>
                <a:spLocks/>
              </p:cNvSpPr>
              <p:nvPr/>
            </p:nvSpPr>
            <p:spPr bwMode="auto">
              <a:xfrm>
                <a:off x="4497388" y="4364038"/>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3" name="Freeform 2477"/>
              <p:cNvSpPr>
                <a:spLocks/>
              </p:cNvSpPr>
              <p:nvPr/>
            </p:nvSpPr>
            <p:spPr bwMode="auto">
              <a:xfrm>
                <a:off x="4495801" y="4356101"/>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2"/>
                      <a:pt x="0" y="1"/>
                      <a:pt x="0" y="0"/>
                    </a:cubicBezTo>
                    <a:cubicBezTo>
                      <a:pt x="0" y="1"/>
                      <a:pt x="0" y="1"/>
                      <a:pt x="0"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4" name="Rectangle 2478"/>
              <p:cNvSpPr>
                <a:spLocks noChangeArrowheads="1"/>
              </p:cNvSpPr>
              <p:nvPr/>
            </p:nvSpPr>
            <p:spPr bwMode="auto">
              <a:xfrm>
                <a:off x="4492626" y="4305301"/>
                <a:ext cx="1588" cy="1588"/>
              </a:xfrm>
              <a:prstGeom prst="rect">
                <a:avLst/>
              </a:prstGeom>
              <a:solidFill>
                <a:srgbClr val="A8B21C"/>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5" name="Freeform 2479"/>
              <p:cNvSpPr>
                <a:spLocks/>
              </p:cNvSpPr>
              <p:nvPr/>
            </p:nvSpPr>
            <p:spPr bwMode="auto">
              <a:xfrm>
                <a:off x="4483101" y="3941763"/>
                <a:ext cx="39688" cy="584200"/>
              </a:xfrm>
              <a:custGeom>
                <a:avLst/>
                <a:gdLst>
                  <a:gd name="T0" fmla="*/ 10 w 127"/>
                  <a:gd name="T1" fmla="*/ 1031 h 1863"/>
                  <a:gd name="T2" fmla="*/ 20 w 127"/>
                  <a:gd name="T3" fmla="*/ 1105 h 1863"/>
                  <a:gd name="T4" fmla="*/ 29 w 127"/>
                  <a:gd name="T5" fmla="*/ 1156 h 1863"/>
                  <a:gd name="T6" fmla="*/ 31 w 127"/>
                  <a:gd name="T7" fmla="*/ 1185 h 1863"/>
                  <a:gd name="T8" fmla="*/ 36 w 127"/>
                  <a:gd name="T9" fmla="*/ 1216 h 1863"/>
                  <a:gd name="T10" fmla="*/ 39 w 127"/>
                  <a:gd name="T11" fmla="*/ 1230 h 1863"/>
                  <a:gd name="T12" fmla="*/ 40 w 127"/>
                  <a:gd name="T13" fmla="*/ 1259 h 1863"/>
                  <a:gd name="T14" fmla="*/ 41 w 127"/>
                  <a:gd name="T15" fmla="*/ 1296 h 1863"/>
                  <a:gd name="T16" fmla="*/ 51 w 127"/>
                  <a:gd name="T17" fmla="*/ 1338 h 1863"/>
                  <a:gd name="T18" fmla="*/ 59 w 127"/>
                  <a:gd name="T19" fmla="*/ 1381 h 1863"/>
                  <a:gd name="T20" fmla="*/ 59 w 127"/>
                  <a:gd name="T21" fmla="*/ 1409 h 1863"/>
                  <a:gd name="T22" fmla="*/ 60 w 127"/>
                  <a:gd name="T23" fmla="*/ 1437 h 1863"/>
                  <a:gd name="T24" fmla="*/ 54 w 127"/>
                  <a:gd name="T25" fmla="*/ 1480 h 1863"/>
                  <a:gd name="T26" fmla="*/ 74 w 127"/>
                  <a:gd name="T27" fmla="*/ 1524 h 1863"/>
                  <a:gd name="T28" fmla="*/ 80 w 127"/>
                  <a:gd name="T29" fmla="*/ 1563 h 1863"/>
                  <a:gd name="T30" fmla="*/ 78 w 127"/>
                  <a:gd name="T31" fmla="*/ 1622 h 1863"/>
                  <a:gd name="T32" fmla="*/ 89 w 127"/>
                  <a:gd name="T33" fmla="*/ 1661 h 1863"/>
                  <a:gd name="T34" fmla="*/ 96 w 127"/>
                  <a:gd name="T35" fmla="*/ 1685 h 1863"/>
                  <a:gd name="T36" fmla="*/ 83 w 127"/>
                  <a:gd name="T37" fmla="*/ 1692 h 1863"/>
                  <a:gd name="T38" fmla="*/ 93 w 127"/>
                  <a:gd name="T39" fmla="*/ 1720 h 1863"/>
                  <a:gd name="T40" fmla="*/ 93 w 127"/>
                  <a:gd name="T41" fmla="*/ 1739 h 1863"/>
                  <a:gd name="T42" fmla="*/ 103 w 127"/>
                  <a:gd name="T43" fmla="*/ 1756 h 1863"/>
                  <a:gd name="T44" fmla="*/ 108 w 127"/>
                  <a:gd name="T45" fmla="*/ 1818 h 1863"/>
                  <a:gd name="T46" fmla="*/ 107 w 127"/>
                  <a:gd name="T47" fmla="*/ 1849 h 1863"/>
                  <a:gd name="T48" fmla="*/ 115 w 127"/>
                  <a:gd name="T49" fmla="*/ 1828 h 1863"/>
                  <a:gd name="T50" fmla="*/ 115 w 127"/>
                  <a:gd name="T51" fmla="*/ 1801 h 1863"/>
                  <a:gd name="T52" fmla="*/ 124 w 127"/>
                  <a:gd name="T53" fmla="*/ 1786 h 1863"/>
                  <a:gd name="T54" fmla="*/ 117 w 127"/>
                  <a:gd name="T55" fmla="*/ 1725 h 1863"/>
                  <a:gd name="T56" fmla="*/ 122 w 127"/>
                  <a:gd name="T57" fmla="*/ 1708 h 1863"/>
                  <a:gd name="T58" fmla="*/ 120 w 127"/>
                  <a:gd name="T59" fmla="*/ 1681 h 1863"/>
                  <a:gd name="T60" fmla="*/ 116 w 127"/>
                  <a:gd name="T61" fmla="*/ 1610 h 1863"/>
                  <a:gd name="T62" fmla="*/ 114 w 127"/>
                  <a:gd name="T63" fmla="*/ 1580 h 1863"/>
                  <a:gd name="T64" fmla="*/ 111 w 127"/>
                  <a:gd name="T65" fmla="*/ 1541 h 1863"/>
                  <a:gd name="T66" fmla="*/ 109 w 127"/>
                  <a:gd name="T67" fmla="*/ 1511 h 1863"/>
                  <a:gd name="T68" fmla="*/ 109 w 127"/>
                  <a:gd name="T69" fmla="*/ 1478 h 1863"/>
                  <a:gd name="T70" fmla="*/ 107 w 127"/>
                  <a:gd name="T71" fmla="*/ 1453 h 1863"/>
                  <a:gd name="T72" fmla="*/ 101 w 127"/>
                  <a:gd name="T73" fmla="*/ 1372 h 1863"/>
                  <a:gd name="T74" fmla="*/ 102 w 127"/>
                  <a:gd name="T75" fmla="*/ 1329 h 1863"/>
                  <a:gd name="T76" fmla="*/ 95 w 127"/>
                  <a:gd name="T77" fmla="*/ 1275 h 1863"/>
                  <a:gd name="T78" fmla="*/ 92 w 127"/>
                  <a:gd name="T79" fmla="*/ 1246 h 1863"/>
                  <a:gd name="T80" fmla="*/ 96 w 127"/>
                  <a:gd name="T81" fmla="*/ 1194 h 1863"/>
                  <a:gd name="T82" fmla="*/ 96 w 127"/>
                  <a:gd name="T83" fmla="*/ 1146 h 1863"/>
                  <a:gd name="T84" fmla="*/ 93 w 127"/>
                  <a:gd name="T85" fmla="*/ 1098 h 1863"/>
                  <a:gd name="T86" fmla="*/ 93 w 127"/>
                  <a:gd name="T87" fmla="*/ 996 h 1863"/>
                  <a:gd name="T88" fmla="*/ 86 w 127"/>
                  <a:gd name="T89" fmla="*/ 883 h 1863"/>
                  <a:gd name="T90" fmla="*/ 81 w 127"/>
                  <a:gd name="T91" fmla="*/ 854 h 1863"/>
                  <a:gd name="T92" fmla="*/ 80 w 127"/>
                  <a:gd name="T93" fmla="*/ 813 h 1863"/>
                  <a:gd name="T94" fmla="*/ 84 w 127"/>
                  <a:gd name="T95" fmla="*/ 757 h 1863"/>
                  <a:gd name="T96" fmla="*/ 85 w 127"/>
                  <a:gd name="T97" fmla="*/ 622 h 1863"/>
                  <a:gd name="T98" fmla="*/ 83 w 127"/>
                  <a:gd name="T99" fmla="*/ 524 h 1863"/>
                  <a:gd name="T100" fmla="*/ 84 w 127"/>
                  <a:gd name="T101" fmla="*/ 409 h 1863"/>
                  <a:gd name="T102" fmla="*/ 76 w 127"/>
                  <a:gd name="T103" fmla="*/ 16 h 1863"/>
                  <a:gd name="T104" fmla="*/ 59 w 127"/>
                  <a:gd name="T105" fmla="*/ 14 h 1863"/>
                  <a:gd name="T106" fmla="*/ 57 w 127"/>
                  <a:gd name="T107" fmla="*/ 30 h 1863"/>
                  <a:gd name="T108" fmla="*/ 47 w 127"/>
                  <a:gd name="T109" fmla="*/ 69 h 1863"/>
                  <a:gd name="T110" fmla="*/ 40 w 127"/>
                  <a:gd name="T111" fmla="*/ 96 h 1863"/>
                  <a:gd name="T112" fmla="*/ 18 w 127"/>
                  <a:gd name="T113" fmla="*/ 256 h 1863"/>
                  <a:gd name="T114" fmla="*/ 7 w 127"/>
                  <a:gd name="T115" fmla="*/ 566 h 1863"/>
                  <a:gd name="T116" fmla="*/ 6 w 127"/>
                  <a:gd name="T117" fmla="*/ 604 h 1863"/>
                  <a:gd name="T118" fmla="*/ 8 w 127"/>
                  <a:gd name="T119" fmla="*/ 730 h 1863"/>
                  <a:gd name="T120" fmla="*/ 3 w 127"/>
                  <a:gd name="T121" fmla="*/ 751 h 1863"/>
                  <a:gd name="T122" fmla="*/ 6 w 127"/>
                  <a:gd name="T123" fmla="*/ 816 h 1863"/>
                  <a:gd name="T124" fmla="*/ 8 w 127"/>
                  <a:gd name="T125" fmla="*/ 88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 h="1863">
                    <a:moveTo>
                      <a:pt x="4" y="927"/>
                    </a:moveTo>
                    <a:lnTo>
                      <a:pt x="4" y="927"/>
                    </a:lnTo>
                    <a:cubicBezTo>
                      <a:pt x="6" y="950"/>
                      <a:pt x="11" y="981"/>
                      <a:pt x="11" y="1004"/>
                    </a:cubicBezTo>
                    <a:cubicBezTo>
                      <a:pt x="15" y="1009"/>
                      <a:pt x="15" y="1016"/>
                      <a:pt x="17" y="1024"/>
                    </a:cubicBezTo>
                    <a:lnTo>
                      <a:pt x="11" y="1025"/>
                    </a:lnTo>
                    <a:lnTo>
                      <a:pt x="13" y="1031"/>
                    </a:lnTo>
                    <a:cubicBezTo>
                      <a:pt x="12" y="1034"/>
                      <a:pt x="12" y="1026"/>
                      <a:pt x="10" y="1031"/>
                    </a:cubicBezTo>
                    <a:lnTo>
                      <a:pt x="14" y="1033"/>
                    </a:lnTo>
                    <a:cubicBezTo>
                      <a:pt x="12" y="1034"/>
                      <a:pt x="13" y="1049"/>
                      <a:pt x="9" y="1039"/>
                    </a:cubicBezTo>
                    <a:lnTo>
                      <a:pt x="10" y="1063"/>
                    </a:lnTo>
                    <a:cubicBezTo>
                      <a:pt x="10" y="1068"/>
                      <a:pt x="15" y="1066"/>
                      <a:pt x="14" y="1072"/>
                    </a:cubicBezTo>
                    <a:cubicBezTo>
                      <a:pt x="12" y="1073"/>
                      <a:pt x="12" y="1070"/>
                      <a:pt x="10" y="1070"/>
                    </a:cubicBezTo>
                    <a:cubicBezTo>
                      <a:pt x="7" y="1088"/>
                      <a:pt x="22" y="1090"/>
                      <a:pt x="21" y="1107"/>
                    </a:cubicBezTo>
                    <a:lnTo>
                      <a:pt x="20" y="1105"/>
                    </a:lnTo>
                    <a:cubicBezTo>
                      <a:pt x="21" y="1108"/>
                      <a:pt x="21" y="1114"/>
                      <a:pt x="22" y="1114"/>
                    </a:cubicBezTo>
                    <a:cubicBezTo>
                      <a:pt x="28" y="1111"/>
                      <a:pt x="19" y="1111"/>
                      <a:pt x="22" y="1106"/>
                    </a:cubicBezTo>
                    <a:cubicBezTo>
                      <a:pt x="27" y="1106"/>
                      <a:pt x="25" y="1112"/>
                      <a:pt x="28" y="1111"/>
                    </a:cubicBezTo>
                    <a:cubicBezTo>
                      <a:pt x="27" y="1115"/>
                      <a:pt x="30" y="1117"/>
                      <a:pt x="30" y="1121"/>
                    </a:cubicBezTo>
                    <a:cubicBezTo>
                      <a:pt x="28" y="1126"/>
                      <a:pt x="30" y="1135"/>
                      <a:pt x="27" y="1139"/>
                    </a:cubicBezTo>
                    <a:cubicBezTo>
                      <a:pt x="28" y="1142"/>
                      <a:pt x="33" y="1145"/>
                      <a:pt x="34" y="1151"/>
                    </a:cubicBezTo>
                    <a:cubicBezTo>
                      <a:pt x="30" y="1155"/>
                      <a:pt x="30" y="1150"/>
                      <a:pt x="29" y="1156"/>
                    </a:cubicBezTo>
                    <a:lnTo>
                      <a:pt x="32" y="1157"/>
                    </a:lnTo>
                    <a:cubicBezTo>
                      <a:pt x="32" y="1162"/>
                      <a:pt x="31" y="1161"/>
                      <a:pt x="30" y="1161"/>
                    </a:cubicBezTo>
                    <a:cubicBezTo>
                      <a:pt x="30" y="1166"/>
                      <a:pt x="34" y="1165"/>
                      <a:pt x="32" y="1171"/>
                    </a:cubicBezTo>
                    <a:lnTo>
                      <a:pt x="30" y="1168"/>
                    </a:lnTo>
                    <a:cubicBezTo>
                      <a:pt x="31" y="1173"/>
                      <a:pt x="31" y="1175"/>
                      <a:pt x="31" y="1181"/>
                    </a:cubicBezTo>
                    <a:cubicBezTo>
                      <a:pt x="29" y="1181"/>
                      <a:pt x="29" y="1179"/>
                      <a:pt x="29" y="1177"/>
                    </a:cubicBezTo>
                    <a:cubicBezTo>
                      <a:pt x="26" y="1180"/>
                      <a:pt x="32" y="1183"/>
                      <a:pt x="31" y="1185"/>
                    </a:cubicBezTo>
                    <a:cubicBezTo>
                      <a:pt x="32" y="1184"/>
                      <a:pt x="33" y="1179"/>
                      <a:pt x="35" y="1181"/>
                    </a:cubicBezTo>
                    <a:cubicBezTo>
                      <a:pt x="35" y="1185"/>
                      <a:pt x="40" y="1188"/>
                      <a:pt x="36" y="1191"/>
                    </a:cubicBezTo>
                    <a:lnTo>
                      <a:pt x="34" y="1187"/>
                    </a:lnTo>
                    <a:cubicBezTo>
                      <a:pt x="36" y="1194"/>
                      <a:pt x="37" y="1191"/>
                      <a:pt x="37" y="1199"/>
                    </a:cubicBezTo>
                    <a:cubicBezTo>
                      <a:pt x="37" y="1198"/>
                      <a:pt x="36" y="1199"/>
                      <a:pt x="35" y="1199"/>
                    </a:cubicBezTo>
                    <a:cubicBezTo>
                      <a:pt x="39" y="1203"/>
                      <a:pt x="36" y="1210"/>
                      <a:pt x="37" y="1218"/>
                    </a:cubicBezTo>
                    <a:lnTo>
                      <a:pt x="36" y="1216"/>
                    </a:lnTo>
                    <a:cubicBezTo>
                      <a:pt x="37" y="1219"/>
                      <a:pt x="39" y="1221"/>
                      <a:pt x="39" y="1222"/>
                    </a:cubicBezTo>
                    <a:cubicBezTo>
                      <a:pt x="41" y="1218"/>
                      <a:pt x="41" y="1219"/>
                      <a:pt x="44" y="1218"/>
                    </a:cubicBezTo>
                    <a:cubicBezTo>
                      <a:pt x="40" y="1224"/>
                      <a:pt x="50" y="1227"/>
                      <a:pt x="48" y="1236"/>
                    </a:cubicBezTo>
                    <a:cubicBezTo>
                      <a:pt x="46" y="1236"/>
                      <a:pt x="44" y="1234"/>
                      <a:pt x="46" y="1231"/>
                    </a:cubicBezTo>
                    <a:cubicBezTo>
                      <a:pt x="41" y="1228"/>
                      <a:pt x="37" y="1228"/>
                      <a:pt x="34" y="1223"/>
                    </a:cubicBezTo>
                    <a:cubicBezTo>
                      <a:pt x="36" y="1226"/>
                      <a:pt x="37" y="1230"/>
                      <a:pt x="35" y="1229"/>
                    </a:cubicBezTo>
                    <a:lnTo>
                      <a:pt x="39" y="1230"/>
                    </a:lnTo>
                    <a:cubicBezTo>
                      <a:pt x="39" y="1232"/>
                      <a:pt x="39" y="1234"/>
                      <a:pt x="39" y="1236"/>
                    </a:cubicBezTo>
                    <a:cubicBezTo>
                      <a:pt x="42" y="1236"/>
                      <a:pt x="43" y="1231"/>
                      <a:pt x="45" y="1236"/>
                    </a:cubicBezTo>
                    <a:cubicBezTo>
                      <a:pt x="47" y="1241"/>
                      <a:pt x="41" y="1239"/>
                      <a:pt x="43" y="1240"/>
                    </a:cubicBezTo>
                    <a:cubicBezTo>
                      <a:pt x="45" y="1247"/>
                      <a:pt x="48" y="1242"/>
                      <a:pt x="47" y="1250"/>
                    </a:cubicBezTo>
                    <a:cubicBezTo>
                      <a:pt x="47" y="1249"/>
                      <a:pt x="46" y="1248"/>
                      <a:pt x="46" y="1247"/>
                    </a:cubicBezTo>
                    <a:cubicBezTo>
                      <a:pt x="45" y="1252"/>
                      <a:pt x="48" y="1260"/>
                      <a:pt x="43" y="1262"/>
                    </a:cubicBezTo>
                    <a:cubicBezTo>
                      <a:pt x="42" y="1261"/>
                      <a:pt x="40" y="1261"/>
                      <a:pt x="40" y="1259"/>
                    </a:cubicBezTo>
                    <a:lnTo>
                      <a:pt x="41" y="1259"/>
                    </a:lnTo>
                    <a:cubicBezTo>
                      <a:pt x="37" y="1254"/>
                      <a:pt x="43" y="1264"/>
                      <a:pt x="38" y="1262"/>
                    </a:cubicBezTo>
                    <a:cubicBezTo>
                      <a:pt x="41" y="1262"/>
                      <a:pt x="41" y="1269"/>
                      <a:pt x="40" y="1272"/>
                    </a:cubicBezTo>
                    <a:lnTo>
                      <a:pt x="43" y="1271"/>
                    </a:lnTo>
                    <a:cubicBezTo>
                      <a:pt x="53" y="1281"/>
                      <a:pt x="37" y="1271"/>
                      <a:pt x="39" y="1282"/>
                    </a:cubicBezTo>
                    <a:cubicBezTo>
                      <a:pt x="42" y="1288"/>
                      <a:pt x="40" y="1279"/>
                      <a:pt x="42" y="1283"/>
                    </a:cubicBezTo>
                    <a:cubicBezTo>
                      <a:pt x="42" y="1288"/>
                      <a:pt x="39" y="1290"/>
                      <a:pt x="41" y="1296"/>
                    </a:cubicBezTo>
                    <a:cubicBezTo>
                      <a:pt x="40" y="1298"/>
                      <a:pt x="39" y="1302"/>
                      <a:pt x="35" y="1303"/>
                    </a:cubicBezTo>
                    <a:cubicBezTo>
                      <a:pt x="37" y="1307"/>
                      <a:pt x="35" y="1316"/>
                      <a:pt x="38" y="1318"/>
                    </a:cubicBezTo>
                    <a:cubicBezTo>
                      <a:pt x="41" y="1310"/>
                      <a:pt x="34" y="1311"/>
                      <a:pt x="38" y="1302"/>
                    </a:cubicBezTo>
                    <a:lnTo>
                      <a:pt x="42" y="1304"/>
                    </a:lnTo>
                    <a:cubicBezTo>
                      <a:pt x="42" y="1310"/>
                      <a:pt x="44" y="1317"/>
                      <a:pt x="43" y="1321"/>
                    </a:cubicBezTo>
                    <a:cubicBezTo>
                      <a:pt x="44" y="1320"/>
                      <a:pt x="45" y="1320"/>
                      <a:pt x="45" y="1320"/>
                    </a:cubicBezTo>
                    <a:cubicBezTo>
                      <a:pt x="47" y="1328"/>
                      <a:pt x="51" y="1331"/>
                      <a:pt x="51" y="1338"/>
                    </a:cubicBezTo>
                    <a:cubicBezTo>
                      <a:pt x="48" y="1340"/>
                      <a:pt x="48" y="1335"/>
                      <a:pt x="47" y="1332"/>
                    </a:cubicBezTo>
                    <a:cubicBezTo>
                      <a:pt x="45" y="1337"/>
                      <a:pt x="47" y="1337"/>
                      <a:pt x="47" y="1345"/>
                    </a:cubicBezTo>
                    <a:cubicBezTo>
                      <a:pt x="44" y="1346"/>
                      <a:pt x="47" y="1340"/>
                      <a:pt x="44" y="1339"/>
                    </a:cubicBezTo>
                    <a:lnTo>
                      <a:pt x="46" y="1348"/>
                    </a:lnTo>
                    <a:cubicBezTo>
                      <a:pt x="45" y="1348"/>
                      <a:pt x="45" y="1348"/>
                      <a:pt x="45" y="1348"/>
                    </a:cubicBezTo>
                    <a:cubicBezTo>
                      <a:pt x="50" y="1349"/>
                      <a:pt x="45" y="1355"/>
                      <a:pt x="47" y="1360"/>
                    </a:cubicBezTo>
                    <a:cubicBezTo>
                      <a:pt x="48" y="1372"/>
                      <a:pt x="54" y="1374"/>
                      <a:pt x="59" y="1381"/>
                    </a:cubicBezTo>
                    <a:cubicBezTo>
                      <a:pt x="58" y="1383"/>
                      <a:pt x="56" y="1383"/>
                      <a:pt x="55" y="1382"/>
                    </a:cubicBezTo>
                    <a:cubicBezTo>
                      <a:pt x="57" y="1379"/>
                      <a:pt x="55" y="1380"/>
                      <a:pt x="54" y="1379"/>
                    </a:cubicBezTo>
                    <a:cubicBezTo>
                      <a:pt x="55" y="1383"/>
                      <a:pt x="51" y="1389"/>
                      <a:pt x="48" y="1386"/>
                    </a:cubicBezTo>
                    <a:cubicBezTo>
                      <a:pt x="50" y="1393"/>
                      <a:pt x="51" y="1384"/>
                      <a:pt x="52" y="1388"/>
                    </a:cubicBezTo>
                    <a:lnTo>
                      <a:pt x="53" y="1397"/>
                    </a:lnTo>
                    <a:cubicBezTo>
                      <a:pt x="55" y="1396"/>
                      <a:pt x="55" y="1393"/>
                      <a:pt x="58" y="1397"/>
                    </a:cubicBezTo>
                    <a:cubicBezTo>
                      <a:pt x="59" y="1401"/>
                      <a:pt x="58" y="1403"/>
                      <a:pt x="59" y="1409"/>
                    </a:cubicBezTo>
                    <a:cubicBezTo>
                      <a:pt x="57" y="1408"/>
                      <a:pt x="55" y="1411"/>
                      <a:pt x="55" y="1407"/>
                    </a:cubicBezTo>
                    <a:cubicBezTo>
                      <a:pt x="54" y="1409"/>
                      <a:pt x="55" y="1413"/>
                      <a:pt x="57" y="1415"/>
                    </a:cubicBezTo>
                    <a:cubicBezTo>
                      <a:pt x="59" y="1409"/>
                      <a:pt x="60" y="1424"/>
                      <a:pt x="63" y="1419"/>
                    </a:cubicBezTo>
                    <a:lnTo>
                      <a:pt x="61" y="1425"/>
                    </a:lnTo>
                    <a:cubicBezTo>
                      <a:pt x="61" y="1424"/>
                      <a:pt x="60" y="1424"/>
                      <a:pt x="60" y="1422"/>
                    </a:cubicBezTo>
                    <a:cubicBezTo>
                      <a:pt x="57" y="1424"/>
                      <a:pt x="62" y="1427"/>
                      <a:pt x="62" y="1429"/>
                    </a:cubicBezTo>
                    <a:cubicBezTo>
                      <a:pt x="62" y="1431"/>
                      <a:pt x="62" y="1436"/>
                      <a:pt x="60" y="1437"/>
                    </a:cubicBezTo>
                    <a:cubicBezTo>
                      <a:pt x="62" y="1438"/>
                      <a:pt x="61" y="1443"/>
                      <a:pt x="60" y="1444"/>
                    </a:cubicBezTo>
                    <a:cubicBezTo>
                      <a:pt x="60" y="1446"/>
                      <a:pt x="62" y="1444"/>
                      <a:pt x="63" y="1445"/>
                    </a:cubicBezTo>
                    <a:lnTo>
                      <a:pt x="64" y="1454"/>
                    </a:lnTo>
                    <a:cubicBezTo>
                      <a:pt x="62" y="1455"/>
                      <a:pt x="56" y="1456"/>
                      <a:pt x="56" y="1454"/>
                    </a:cubicBezTo>
                    <a:cubicBezTo>
                      <a:pt x="58" y="1458"/>
                      <a:pt x="61" y="1455"/>
                      <a:pt x="62" y="1461"/>
                    </a:cubicBezTo>
                    <a:cubicBezTo>
                      <a:pt x="58" y="1458"/>
                      <a:pt x="59" y="1468"/>
                      <a:pt x="55" y="1464"/>
                    </a:cubicBezTo>
                    <a:cubicBezTo>
                      <a:pt x="52" y="1467"/>
                      <a:pt x="53" y="1476"/>
                      <a:pt x="54" y="1480"/>
                    </a:cubicBezTo>
                    <a:cubicBezTo>
                      <a:pt x="58" y="1483"/>
                      <a:pt x="56" y="1475"/>
                      <a:pt x="59" y="1475"/>
                    </a:cubicBezTo>
                    <a:cubicBezTo>
                      <a:pt x="61" y="1488"/>
                      <a:pt x="70" y="1488"/>
                      <a:pt x="69" y="1498"/>
                    </a:cubicBezTo>
                    <a:lnTo>
                      <a:pt x="70" y="1496"/>
                    </a:lnTo>
                    <a:cubicBezTo>
                      <a:pt x="72" y="1502"/>
                      <a:pt x="72" y="1501"/>
                      <a:pt x="75" y="1504"/>
                    </a:cubicBezTo>
                    <a:cubicBezTo>
                      <a:pt x="71" y="1503"/>
                      <a:pt x="65" y="1512"/>
                      <a:pt x="67" y="1522"/>
                    </a:cubicBezTo>
                    <a:cubicBezTo>
                      <a:pt x="69" y="1523"/>
                      <a:pt x="70" y="1516"/>
                      <a:pt x="73" y="1518"/>
                    </a:cubicBezTo>
                    <a:lnTo>
                      <a:pt x="74" y="1524"/>
                    </a:lnTo>
                    <a:cubicBezTo>
                      <a:pt x="74" y="1525"/>
                      <a:pt x="73" y="1524"/>
                      <a:pt x="73" y="1523"/>
                    </a:cubicBezTo>
                    <a:cubicBezTo>
                      <a:pt x="75" y="1529"/>
                      <a:pt x="69" y="1535"/>
                      <a:pt x="74" y="1536"/>
                    </a:cubicBezTo>
                    <a:lnTo>
                      <a:pt x="69" y="1543"/>
                    </a:lnTo>
                    <a:lnTo>
                      <a:pt x="71" y="1540"/>
                    </a:lnTo>
                    <a:cubicBezTo>
                      <a:pt x="73" y="1541"/>
                      <a:pt x="74" y="1548"/>
                      <a:pt x="75" y="1549"/>
                    </a:cubicBezTo>
                    <a:cubicBezTo>
                      <a:pt x="78" y="1556"/>
                      <a:pt x="76" y="1558"/>
                      <a:pt x="74" y="1562"/>
                    </a:cubicBezTo>
                    <a:cubicBezTo>
                      <a:pt x="76" y="1561"/>
                      <a:pt x="79" y="1558"/>
                      <a:pt x="80" y="1563"/>
                    </a:cubicBezTo>
                    <a:cubicBezTo>
                      <a:pt x="74" y="1564"/>
                      <a:pt x="79" y="1575"/>
                      <a:pt x="76" y="1575"/>
                    </a:cubicBezTo>
                    <a:cubicBezTo>
                      <a:pt x="76" y="1577"/>
                      <a:pt x="75" y="1581"/>
                      <a:pt x="77" y="1581"/>
                    </a:cubicBezTo>
                    <a:lnTo>
                      <a:pt x="73" y="1581"/>
                    </a:lnTo>
                    <a:cubicBezTo>
                      <a:pt x="79" y="1581"/>
                      <a:pt x="79" y="1589"/>
                      <a:pt x="81" y="1595"/>
                    </a:cubicBezTo>
                    <a:cubicBezTo>
                      <a:pt x="74" y="1594"/>
                      <a:pt x="82" y="1602"/>
                      <a:pt x="76" y="1605"/>
                    </a:cubicBezTo>
                    <a:cubicBezTo>
                      <a:pt x="81" y="1606"/>
                      <a:pt x="79" y="1616"/>
                      <a:pt x="84" y="1616"/>
                    </a:cubicBezTo>
                    <a:cubicBezTo>
                      <a:pt x="84" y="1621"/>
                      <a:pt x="80" y="1621"/>
                      <a:pt x="78" y="1622"/>
                    </a:cubicBezTo>
                    <a:lnTo>
                      <a:pt x="80" y="1624"/>
                    </a:lnTo>
                    <a:cubicBezTo>
                      <a:pt x="78" y="1627"/>
                      <a:pt x="79" y="1636"/>
                      <a:pt x="78" y="1641"/>
                    </a:cubicBezTo>
                    <a:lnTo>
                      <a:pt x="83" y="1645"/>
                    </a:lnTo>
                    <a:lnTo>
                      <a:pt x="81" y="1648"/>
                    </a:lnTo>
                    <a:cubicBezTo>
                      <a:pt x="82" y="1648"/>
                      <a:pt x="83" y="1652"/>
                      <a:pt x="85" y="1649"/>
                    </a:cubicBezTo>
                    <a:lnTo>
                      <a:pt x="85" y="1652"/>
                    </a:lnTo>
                    <a:cubicBezTo>
                      <a:pt x="89" y="1652"/>
                      <a:pt x="86" y="1656"/>
                      <a:pt x="89" y="1661"/>
                    </a:cubicBezTo>
                    <a:cubicBezTo>
                      <a:pt x="88" y="1662"/>
                      <a:pt x="87" y="1662"/>
                      <a:pt x="86" y="1661"/>
                    </a:cubicBezTo>
                    <a:cubicBezTo>
                      <a:pt x="87" y="1663"/>
                      <a:pt x="84" y="1663"/>
                      <a:pt x="83" y="1664"/>
                    </a:cubicBezTo>
                    <a:cubicBezTo>
                      <a:pt x="84" y="1662"/>
                      <a:pt x="92" y="1673"/>
                      <a:pt x="94" y="1665"/>
                    </a:cubicBezTo>
                    <a:cubicBezTo>
                      <a:pt x="96" y="1665"/>
                      <a:pt x="98" y="1669"/>
                      <a:pt x="97" y="1671"/>
                    </a:cubicBezTo>
                    <a:lnTo>
                      <a:pt x="93" y="1673"/>
                    </a:lnTo>
                    <a:lnTo>
                      <a:pt x="98" y="1676"/>
                    </a:lnTo>
                    <a:cubicBezTo>
                      <a:pt x="99" y="1680"/>
                      <a:pt x="96" y="1682"/>
                      <a:pt x="96" y="1685"/>
                    </a:cubicBezTo>
                    <a:cubicBezTo>
                      <a:pt x="96" y="1682"/>
                      <a:pt x="87" y="1679"/>
                      <a:pt x="88" y="1687"/>
                    </a:cubicBezTo>
                    <a:cubicBezTo>
                      <a:pt x="87" y="1683"/>
                      <a:pt x="84" y="1681"/>
                      <a:pt x="83" y="1679"/>
                    </a:cubicBezTo>
                    <a:cubicBezTo>
                      <a:pt x="83" y="1680"/>
                      <a:pt x="83" y="1681"/>
                      <a:pt x="81" y="1679"/>
                    </a:cubicBezTo>
                    <a:cubicBezTo>
                      <a:pt x="83" y="1685"/>
                      <a:pt x="84" y="1681"/>
                      <a:pt x="85" y="1687"/>
                    </a:cubicBezTo>
                    <a:cubicBezTo>
                      <a:pt x="81" y="1688"/>
                      <a:pt x="80" y="1690"/>
                      <a:pt x="80" y="1696"/>
                    </a:cubicBezTo>
                    <a:lnTo>
                      <a:pt x="82" y="1691"/>
                    </a:lnTo>
                    <a:cubicBezTo>
                      <a:pt x="82" y="1691"/>
                      <a:pt x="83" y="1691"/>
                      <a:pt x="83" y="1692"/>
                    </a:cubicBezTo>
                    <a:cubicBezTo>
                      <a:pt x="83" y="1690"/>
                      <a:pt x="84" y="1689"/>
                      <a:pt x="85" y="1689"/>
                    </a:cubicBezTo>
                    <a:cubicBezTo>
                      <a:pt x="85" y="1690"/>
                      <a:pt x="91" y="1696"/>
                      <a:pt x="89" y="1697"/>
                    </a:cubicBezTo>
                    <a:cubicBezTo>
                      <a:pt x="94" y="1690"/>
                      <a:pt x="95" y="1709"/>
                      <a:pt x="98" y="1704"/>
                    </a:cubicBezTo>
                    <a:cubicBezTo>
                      <a:pt x="99" y="1704"/>
                      <a:pt x="100" y="1709"/>
                      <a:pt x="98" y="1710"/>
                    </a:cubicBezTo>
                    <a:cubicBezTo>
                      <a:pt x="94" y="1705"/>
                      <a:pt x="94" y="1715"/>
                      <a:pt x="91" y="1714"/>
                    </a:cubicBezTo>
                    <a:cubicBezTo>
                      <a:pt x="93" y="1716"/>
                      <a:pt x="94" y="1709"/>
                      <a:pt x="95" y="1712"/>
                    </a:cubicBezTo>
                    <a:cubicBezTo>
                      <a:pt x="96" y="1715"/>
                      <a:pt x="94" y="1718"/>
                      <a:pt x="93" y="1720"/>
                    </a:cubicBezTo>
                    <a:lnTo>
                      <a:pt x="92" y="1719"/>
                    </a:lnTo>
                    <a:lnTo>
                      <a:pt x="91" y="1724"/>
                    </a:lnTo>
                    <a:cubicBezTo>
                      <a:pt x="93" y="1725"/>
                      <a:pt x="94" y="1719"/>
                      <a:pt x="95" y="1723"/>
                    </a:cubicBezTo>
                    <a:cubicBezTo>
                      <a:pt x="95" y="1725"/>
                      <a:pt x="96" y="1729"/>
                      <a:pt x="95" y="1729"/>
                    </a:cubicBezTo>
                    <a:cubicBezTo>
                      <a:pt x="92" y="1727"/>
                      <a:pt x="88" y="1729"/>
                      <a:pt x="87" y="1725"/>
                    </a:cubicBezTo>
                    <a:cubicBezTo>
                      <a:pt x="88" y="1729"/>
                      <a:pt x="90" y="1739"/>
                      <a:pt x="93" y="1735"/>
                    </a:cubicBezTo>
                    <a:lnTo>
                      <a:pt x="93" y="1739"/>
                    </a:lnTo>
                    <a:cubicBezTo>
                      <a:pt x="94" y="1736"/>
                      <a:pt x="97" y="1728"/>
                      <a:pt x="98" y="1736"/>
                    </a:cubicBezTo>
                    <a:lnTo>
                      <a:pt x="97" y="1736"/>
                    </a:lnTo>
                    <a:lnTo>
                      <a:pt x="101" y="1742"/>
                    </a:lnTo>
                    <a:lnTo>
                      <a:pt x="99" y="1744"/>
                    </a:lnTo>
                    <a:cubicBezTo>
                      <a:pt x="100" y="1744"/>
                      <a:pt x="101" y="1745"/>
                      <a:pt x="101" y="1747"/>
                    </a:cubicBezTo>
                    <a:cubicBezTo>
                      <a:pt x="100" y="1748"/>
                      <a:pt x="100" y="1750"/>
                      <a:pt x="99" y="1750"/>
                    </a:cubicBezTo>
                    <a:cubicBezTo>
                      <a:pt x="99" y="1756"/>
                      <a:pt x="101" y="1755"/>
                      <a:pt x="103" y="1756"/>
                    </a:cubicBezTo>
                    <a:cubicBezTo>
                      <a:pt x="103" y="1759"/>
                      <a:pt x="103" y="1760"/>
                      <a:pt x="100" y="1759"/>
                    </a:cubicBezTo>
                    <a:cubicBezTo>
                      <a:pt x="100" y="1764"/>
                      <a:pt x="102" y="1772"/>
                      <a:pt x="100" y="1775"/>
                    </a:cubicBezTo>
                    <a:cubicBezTo>
                      <a:pt x="103" y="1781"/>
                      <a:pt x="101" y="1774"/>
                      <a:pt x="104" y="1777"/>
                    </a:cubicBezTo>
                    <a:cubicBezTo>
                      <a:pt x="98" y="1783"/>
                      <a:pt x="104" y="1798"/>
                      <a:pt x="106" y="1807"/>
                    </a:cubicBezTo>
                    <a:cubicBezTo>
                      <a:pt x="112" y="1804"/>
                      <a:pt x="107" y="1810"/>
                      <a:pt x="113" y="1811"/>
                    </a:cubicBezTo>
                    <a:cubicBezTo>
                      <a:pt x="111" y="1809"/>
                      <a:pt x="109" y="1821"/>
                      <a:pt x="107" y="1813"/>
                    </a:cubicBezTo>
                    <a:lnTo>
                      <a:pt x="108" y="1818"/>
                    </a:lnTo>
                    <a:cubicBezTo>
                      <a:pt x="105" y="1822"/>
                      <a:pt x="104" y="1810"/>
                      <a:pt x="101" y="1816"/>
                    </a:cubicBezTo>
                    <a:cubicBezTo>
                      <a:pt x="102" y="1822"/>
                      <a:pt x="109" y="1825"/>
                      <a:pt x="107" y="1832"/>
                    </a:cubicBezTo>
                    <a:cubicBezTo>
                      <a:pt x="103" y="1830"/>
                      <a:pt x="110" y="1837"/>
                      <a:pt x="105" y="1836"/>
                    </a:cubicBezTo>
                    <a:cubicBezTo>
                      <a:pt x="103" y="1835"/>
                      <a:pt x="103" y="1833"/>
                      <a:pt x="103" y="1831"/>
                    </a:cubicBezTo>
                    <a:lnTo>
                      <a:pt x="102" y="1832"/>
                    </a:lnTo>
                    <a:cubicBezTo>
                      <a:pt x="103" y="1846"/>
                      <a:pt x="107" y="1835"/>
                      <a:pt x="111" y="1842"/>
                    </a:cubicBezTo>
                    <a:cubicBezTo>
                      <a:pt x="113" y="1850"/>
                      <a:pt x="109" y="1849"/>
                      <a:pt x="107" y="1849"/>
                    </a:cubicBezTo>
                    <a:cubicBezTo>
                      <a:pt x="106" y="1851"/>
                      <a:pt x="108" y="1855"/>
                      <a:pt x="109" y="1857"/>
                    </a:cubicBezTo>
                    <a:cubicBezTo>
                      <a:pt x="106" y="1852"/>
                      <a:pt x="110" y="1847"/>
                      <a:pt x="113" y="1849"/>
                    </a:cubicBezTo>
                    <a:cubicBezTo>
                      <a:pt x="109" y="1853"/>
                      <a:pt x="115" y="1861"/>
                      <a:pt x="117" y="1863"/>
                    </a:cubicBezTo>
                    <a:cubicBezTo>
                      <a:pt x="120" y="1851"/>
                      <a:pt x="116" y="1855"/>
                      <a:pt x="120" y="1844"/>
                    </a:cubicBezTo>
                    <a:cubicBezTo>
                      <a:pt x="118" y="1842"/>
                      <a:pt x="114" y="1843"/>
                      <a:pt x="115" y="1836"/>
                    </a:cubicBezTo>
                    <a:cubicBezTo>
                      <a:pt x="117" y="1840"/>
                      <a:pt x="117" y="1836"/>
                      <a:pt x="117" y="1835"/>
                    </a:cubicBezTo>
                    <a:cubicBezTo>
                      <a:pt x="115" y="1836"/>
                      <a:pt x="116" y="1830"/>
                      <a:pt x="115" y="1828"/>
                    </a:cubicBezTo>
                    <a:cubicBezTo>
                      <a:pt x="116" y="1826"/>
                      <a:pt x="121" y="1832"/>
                      <a:pt x="121" y="1825"/>
                    </a:cubicBezTo>
                    <a:lnTo>
                      <a:pt x="115" y="1824"/>
                    </a:lnTo>
                    <a:cubicBezTo>
                      <a:pt x="115" y="1822"/>
                      <a:pt x="119" y="1825"/>
                      <a:pt x="117" y="1820"/>
                    </a:cubicBezTo>
                    <a:cubicBezTo>
                      <a:pt x="120" y="1822"/>
                      <a:pt x="122" y="1818"/>
                      <a:pt x="124" y="1825"/>
                    </a:cubicBezTo>
                    <a:cubicBezTo>
                      <a:pt x="127" y="1816"/>
                      <a:pt x="119" y="1812"/>
                      <a:pt x="116" y="1806"/>
                    </a:cubicBezTo>
                    <a:cubicBezTo>
                      <a:pt x="116" y="1806"/>
                      <a:pt x="117" y="1806"/>
                      <a:pt x="118" y="1807"/>
                    </a:cubicBezTo>
                    <a:cubicBezTo>
                      <a:pt x="116" y="1806"/>
                      <a:pt x="116" y="1803"/>
                      <a:pt x="115" y="1801"/>
                    </a:cubicBezTo>
                    <a:cubicBezTo>
                      <a:pt x="116" y="1796"/>
                      <a:pt x="118" y="1804"/>
                      <a:pt x="120" y="1803"/>
                    </a:cubicBezTo>
                    <a:lnTo>
                      <a:pt x="119" y="1796"/>
                    </a:lnTo>
                    <a:cubicBezTo>
                      <a:pt x="119" y="1796"/>
                      <a:pt x="119" y="1795"/>
                      <a:pt x="119" y="1795"/>
                    </a:cubicBezTo>
                    <a:cubicBezTo>
                      <a:pt x="118" y="1794"/>
                      <a:pt x="117" y="1792"/>
                      <a:pt x="118" y="1791"/>
                    </a:cubicBezTo>
                    <a:cubicBezTo>
                      <a:pt x="121" y="1793"/>
                      <a:pt x="123" y="1794"/>
                      <a:pt x="124" y="1795"/>
                    </a:cubicBezTo>
                    <a:lnTo>
                      <a:pt x="119" y="1788"/>
                    </a:lnTo>
                    <a:cubicBezTo>
                      <a:pt x="121" y="1788"/>
                      <a:pt x="122" y="1781"/>
                      <a:pt x="124" y="1786"/>
                    </a:cubicBezTo>
                    <a:lnTo>
                      <a:pt x="122" y="1775"/>
                    </a:lnTo>
                    <a:lnTo>
                      <a:pt x="125" y="1774"/>
                    </a:lnTo>
                    <a:cubicBezTo>
                      <a:pt x="124" y="1771"/>
                      <a:pt x="124" y="1771"/>
                      <a:pt x="123" y="1774"/>
                    </a:cubicBezTo>
                    <a:cubicBezTo>
                      <a:pt x="124" y="1770"/>
                      <a:pt x="114" y="1758"/>
                      <a:pt x="122" y="1759"/>
                    </a:cubicBezTo>
                    <a:cubicBezTo>
                      <a:pt x="118" y="1750"/>
                      <a:pt x="119" y="1747"/>
                      <a:pt x="116" y="1737"/>
                    </a:cubicBezTo>
                    <a:cubicBezTo>
                      <a:pt x="120" y="1744"/>
                      <a:pt x="119" y="1727"/>
                      <a:pt x="122" y="1735"/>
                    </a:cubicBezTo>
                    <a:cubicBezTo>
                      <a:pt x="123" y="1730"/>
                      <a:pt x="118" y="1729"/>
                      <a:pt x="117" y="1725"/>
                    </a:cubicBezTo>
                    <a:cubicBezTo>
                      <a:pt x="118" y="1721"/>
                      <a:pt x="122" y="1722"/>
                      <a:pt x="124" y="1726"/>
                    </a:cubicBezTo>
                    <a:lnTo>
                      <a:pt x="122" y="1722"/>
                    </a:lnTo>
                    <a:lnTo>
                      <a:pt x="123" y="1722"/>
                    </a:lnTo>
                    <a:lnTo>
                      <a:pt x="120" y="1718"/>
                    </a:lnTo>
                    <a:cubicBezTo>
                      <a:pt x="122" y="1713"/>
                      <a:pt x="124" y="1716"/>
                      <a:pt x="124" y="1712"/>
                    </a:cubicBezTo>
                    <a:lnTo>
                      <a:pt x="120" y="1711"/>
                    </a:lnTo>
                    <a:lnTo>
                      <a:pt x="122" y="1708"/>
                    </a:lnTo>
                    <a:cubicBezTo>
                      <a:pt x="121" y="1709"/>
                      <a:pt x="119" y="1707"/>
                      <a:pt x="119" y="1703"/>
                    </a:cubicBezTo>
                    <a:lnTo>
                      <a:pt x="120" y="1703"/>
                    </a:lnTo>
                    <a:lnTo>
                      <a:pt x="118" y="1699"/>
                    </a:lnTo>
                    <a:cubicBezTo>
                      <a:pt x="121" y="1703"/>
                      <a:pt x="119" y="1696"/>
                      <a:pt x="121" y="1697"/>
                    </a:cubicBezTo>
                    <a:cubicBezTo>
                      <a:pt x="121" y="1694"/>
                      <a:pt x="121" y="1694"/>
                      <a:pt x="120" y="1687"/>
                    </a:cubicBezTo>
                    <a:lnTo>
                      <a:pt x="118" y="1689"/>
                    </a:lnTo>
                    <a:cubicBezTo>
                      <a:pt x="115" y="1681"/>
                      <a:pt x="121" y="1688"/>
                      <a:pt x="120" y="1681"/>
                    </a:cubicBezTo>
                    <a:lnTo>
                      <a:pt x="118" y="1682"/>
                    </a:lnTo>
                    <a:cubicBezTo>
                      <a:pt x="121" y="1672"/>
                      <a:pt x="113" y="1666"/>
                      <a:pt x="115" y="1659"/>
                    </a:cubicBezTo>
                    <a:cubicBezTo>
                      <a:pt x="117" y="1663"/>
                      <a:pt x="120" y="1661"/>
                      <a:pt x="119" y="1661"/>
                    </a:cubicBezTo>
                    <a:cubicBezTo>
                      <a:pt x="117" y="1656"/>
                      <a:pt x="117" y="1646"/>
                      <a:pt x="113" y="1640"/>
                    </a:cubicBezTo>
                    <a:cubicBezTo>
                      <a:pt x="116" y="1637"/>
                      <a:pt x="117" y="1636"/>
                      <a:pt x="119" y="1630"/>
                    </a:cubicBezTo>
                    <a:cubicBezTo>
                      <a:pt x="118" y="1625"/>
                      <a:pt x="117" y="1624"/>
                      <a:pt x="115" y="1623"/>
                    </a:cubicBezTo>
                    <a:cubicBezTo>
                      <a:pt x="116" y="1618"/>
                      <a:pt x="113" y="1610"/>
                      <a:pt x="116" y="1610"/>
                    </a:cubicBezTo>
                    <a:cubicBezTo>
                      <a:pt x="113" y="1609"/>
                      <a:pt x="116" y="1605"/>
                      <a:pt x="113" y="1603"/>
                    </a:cubicBezTo>
                    <a:lnTo>
                      <a:pt x="114" y="1602"/>
                    </a:lnTo>
                    <a:lnTo>
                      <a:pt x="112" y="1603"/>
                    </a:lnTo>
                    <a:cubicBezTo>
                      <a:pt x="117" y="1594"/>
                      <a:pt x="107" y="1590"/>
                      <a:pt x="111" y="1581"/>
                    </a:cubicBezTo>
                    <a:lnTo>
                      <a:pt x="112" y="1583"/>
                    </a:lnTo>
                    <a:lnTo>
                      <a:pt x="111" y="1579"/>
                    </a:lnTo>
                    <a:cubicBezTo>
                      <a:pt x="112" y="1579"/>
                      <a:pt x="113" y="1580"/>
                      <a:pt x="114" y="1580"/>
                    </a:cubicBezTo>
                    <a:lnTo>
                      <a:pt x="113" y="1564"/>
                    </a:lnTo>
                    <a:lnTo>
                      <a:pt x="111" y="1567"/>
                    </a:lnTo>
                    <a:cubicBezTo>
                      <a:pt x="111" y="1564"/>
                      <a:pt x="108" y="1562"/>
                      <a:pt x="109" y="1558"/>
                    </a:cubicBezTo>
                    <a:cubicBezTo>
                      <a:pt x="114" y="1564"/>
                      <a:pt x="109" y="1553"/>
                      <a:pt x="112" y="1551"/>
                    </a:cubicBezTo>
                    <a:lnTo>
                      <a:pt x="113" y="1555"/>
                    </a:lnTo>
                    <a:cubicBezTo>
                      <a:pt x="112" y="1550"/>
                      <a:pt x="112" y="1550"/>
                      <a:pt x="110" y="1551"/>
                    </a:cubicBezTo>
                    <a:cubicBezTo>
                      <a:pt x="108" y="1545"/>
                      <a:pt x="115" y="1546"/>
                      <a:pt x="111" y="1541"/>
                    </a:cubicBezTo>
                    <a:lnTo>
                      <a:pt x="111" y="1545"/>
                    </a:lnTo>
                    <a:cubicBezTo>
                      <a:pt x="110" y="1546"/>
                      <a:pt x="107" y="1543"/>
                      <a:pt x="107" y="1541"/>
                    </a:cubicBezTo>
                    <a:cubicBezTo>
                      <a:pt x="107" y="1540"/>
                      <a:pt x="109" y="1538"/>
                      <a:pt x="109" y="1540"/>
                    </a:cubicBezTo>
                    <a:cubicBezTo>
                      <a:pt x="108" y="1536"/>
                      <a:pt x="108" y="1528"/>
                      <a:pt x="107" y="1526"/>
                    </a:cubicBezTo>
                    <a:cubicBezTo>
                      <a:pt x="107" y="1524"/>
                      <a:pt x="109" y="1524"/>
                      <a:pt x="110" y="1526"/>
                    </a:cubicBezTo>
                    <a:cubicBezTo>
                      <a:pt x="107" y="1516"/>
                      <a:pt x="110" y="1521"/>
                      <a:pt x="107" y="1511"/>
                    </a:cubicBezTo>
                    <a:lnTo>
                      <a:pt x="109" y="1511"/>
                    </a:lnTo>
                    <a:lnTo>
                      <a:pt x="106" y="1508"/>
                    </a:lnTo>
                    <a:lnTo>
                      <a:pt x="109" y="1502"/>
                    </a:lnTo>
                    <a:lnTo>
                      <a:pt x="107" y="1504"/>
                    </a:lnTo>
                    <a:cubicBezTo>
                      <a:pt x="107" y="1501"/>
                      <a:pt x="105" y="1499"/>
                      <a:pt x="106" y="1495"/>
                    </a:cubicBezTo>
                    <a:lnTo>
                      <a:pt x="108" y="1496"/>
                    </a:lnTo>
                    <a:cubicBezTo>
                      <a:pt x="106" y="1487"/>
                      <a:pt x="111" y="1485"/>
                      <a:pt x="107" y="1476"/>
                    </a:cubicBezTo>
                    <a:cubicBezTo>
                      <a:pt x="107" y="1476"/>
                      <a:pt x="108" y="1477"/>
                      <a:pt x="109" y="1478"/>
                    </a:cubicBezTo>
                    <a:cubicBezTo>
                      <a:pt x="104" y="1470"/>
                      <a:pt x="112" y="1471"/>
                      <a:pt x="107" y="1463"/>
                    </a:cubicBezTo>
                    <a:cubicBezTo>
                      <a:pt x="108" y="1464"/>
                      <a:pt x="109" y="1463"/>
                      <a:pt x="109" y="1463"/>
                    </a:cubicBezTo>
                    <a:lnTo>
                      <a:pt x="108" y="1459"/>
                    </a:lnTo>
                    <a:lnTo>
                      <a:pt x="111" y="1459"/>
                    </a:lnTo>
                    <a:lnTo>
                      <a:pt x="106" y="1457"/>
                    </a:lnTo>
                    <a:lnTo>
                      <a:pt x="109" y="1454"/>
                    </a:lnTo>
                    <a:lnTo>
                      <a:pt x="107" y="1453"/>
                    </a:lnTo>
                    <a:cubicBezTo>
                      <a:pt x="113" y="1448"/>
                      <a:pt x="108" y="1443"/>
                      <a:pt x="112" y="1437"/>
                    </a:cubicBezTo>
                    <a:lnTo>
                      <a:pt x="108" y="1438"/>
                    </a:lnTo>
                    <a:cubicBezTo>
                      <a:pt x="98" y="1425"/>
                      <a:pt x="109" y="1406"/>
                      <a:pt x="104" y="1389"/>
                    </a:cubicBezTo>
                    <a:lnTo>
                      <a:pt x="107" y="1389"/>
                    </a:lnTo>
                    <a:lnTo>
                      <a:pt x="103" y="1382"/>
                    </a:lnTo>
                    <a:cubicBezTo>
                      <a:pt x="105" y="1378"/>
                      <a:pt x="106" y="1384"/>
                      <a:pt x="107" y="1383"/>
                    </a:cubicBezTo>
                    <a:cubicBezTo>
                      <a:pt x="105" y="1376"/>
                      <a:pt x="103" y="1380"/>
                      <a:pt x="101" y="1372"/>
                    </a:cubicBezTo>
                    <a:cubicBezTo>
                      <a:pt x="103" y="1367"/>
                      <a:pt x="103" y="1373"/>
                      <a:pt x="105" y="1375"/>
                    </a:cubicBezTo>
                    <a:cubicBezTo>
                      <a:pt x="102" y="1367"/>
                      <a:pt x="100" y="1355"/>
                      <a:pt x="101" y="1349"/>
                    </a:cubicBezTo>
                    <a:cubicBezTo>
                      <a:pt x="101" y="1349"/>
                      <a:pt x="100" y="1349"/>
                      <a:pt x="100" y="1349"/>
                    </a:cubicBezTo>
                    <a:cubicBezTo>
                      <a:pt x="98" y="1344"/>
                      <a:pt x="99" y="1337"/>
                      <a:pt x="98" y="1331"/>
                    </a:cubicBezTo>
                    <a:cubicBezTo>
                      <a:pt x="99" y="1331"/>
                      <a:pt x="100" y="1332"/>
                      <a:pt x="100" y="1334"/>
                    </a:cubicBezTo>
                    <a:cubicBezTo>
                      <a:pt x="100" y="1331"/>
                      <a:pt x="101" y="1328"/>
                      <a:pt x="99" y="1327"/>
                    </a:cubicBezTo>
                    <a:lnTo>
                      <a:pt x="102" y="1329"/>
                    </a:lnTo>
                    <a:cubicBezTo>
                      <a:pt x="102" y="1324"/>
                      <a:pt x="99" y="1315"/>
                      <a:pt x="102" y="1314"/>
                    </a:cubicBezTo>
                    <a:cubicBezTo>
                      <a:pt x="101" y="1315"/>
                      <a:pt x="99" y="1315"/>
                      <a:pt x="99" y="1311"/>
                    </a:cubicBezTo>
                    <a:cubicBezTo>
                      <a:pt x="103" y="1308"/>
                      <a:pt x="96" y="1300"/>
                      <a:pt x="98" y="1293"/>
                    </a:cubicBezTo>
                    <a:cubicBezTo>
                      <a:pt x="99" y="1294"/>
                      <a:pt x="100" y="1299"/>
                      <a:pt x="100" y="1297"/>
                    </a:cubicBezTo>
                    <a:cubicBezTo>
                      <a:pt x="101" y="1294"/>
                      <a:pt x="98" y="1291"/>
                      <a:pt x="97" y="1289"/>
                    </a:cubicBezTo>
                    <a:lnTo>
                      <a:pt x="99" y="1289"/>
                    </a:lnTo>
                    <a:lnTo>
                      <a:pt x="95" y="1275"/>
                    </a:lnTo>
                    <a:cubicBezTo>
                      <a:pt x="99" y="1272"/>
                      <a:pt x="93" y="1261"/>
                      <a:pt x="97" y="1262"/>
                    </a:cubicBezTo>
                    <a:cubicBezTo>
                      <a:pt x="96" y="1256"/>
                      <a:pt x="95" y="1266"/>
                      <a:pt x="94" y="1260"/>
                    </a:cubicBezTo>
                    <a:cubicBezTo>
                      <a:pt x="96" y="1258"/>
                      <a:pt x="92" y="1254"/>
                      <a:pt x="95" y="1254"/>
                    </a:cubicBezTo>
                    <a:lnTo>
                      <a:pt x="96" y="1254"/>
                    </a:lnTo>
                    <a:lnTo>
                      <a:pt x="95" y="1250"/>
                    </a:lnTo>
                    <a:lnTo>
                      <a:pt x="99" y="1252"/>
                    </a:lnTo>
                    <a:cubicBezTo>
                      <a:pt x="98" y="1248"/>
                      <a:pt x="94" y="1246"/>
                      <a:pt x="92" y="1246"/>
                    </a:cubicBezTo>
                    <a:cubicBezTo>
                      <a:pt x="93" y="1242"/>
                      <a:pt x="92" y="1236"/>
                      <a:pt x="94" y="1234"/>
                    </a:cubicBezTo>
                    <a:lnTo>
                      <a:pt x="95" y="1236"/>
                    </a:lnTo>
                    <a:cubicBezTo>
                      <a:pt x="93" y="1225"/>
                      <a:pt x="102" y="1217"/>
                      <a:pt x="97" y="1209"/>
                    </a:cubicBezTo>
                    <a:cubicBezTo>
                      <a:pt x="97" y="1209"/>
                      <a:pt x="98" y="1209"/>
                      <a:pt x="98" y="1210"/>
                    </a:cubicBezTo>
                    <a:lnTo>
                      <a:pt x="97" y="1203"/>
                    </a:lnTo>
                    <a:lnTo>
                      <a:pt x="100" y="1205"/>
                    </a:lnTo>
                    <a:lnTo>
                      <a:pt x="96" y="1194"/>
                    </a:lnTo>
                    <a:lnTo>
                      <a:pt x="97" y="1194"/>
                    </a:lnTo>
                    <a:cubicBezTo>
                      <a:pt x="97" y="1187"/>
                      <a:pt x="96" y="1175"/>
                      <a:pt x="95" y="1166"/>
                    </a:cubicBezTo>
                    <a:lnTo>
                      <a:pt x="96" y="1168"/>
                    </a:lnTo>
                    <a:cubicBezTo>
                      <a:pt x="93" y="1157"/>
                      <a:pt x="96" y="1158"/>
                      <a:pt x="94" y="1150"/>
                    </a:cubicBezTo>
                    <a:cubicBezTo>
                      <a:pt x="95" y="1150"/>
                      <a:pt x="95" y="1151"/>
                      <a:pt x="95" y="1151"/>
                    </a:cubicBezTo>
                    <a:lnTo>
                      <a:pt x="94" y="1144"/>
                    </a:lnTo>
                    <a:lnTo>
                      <a:pt x="96" y="1146"/>
                    </a:lnTo>
                    <a:cubicBezTo>
                      <a:pt x="92" y="1141"/>
                      <a:pt x="99" y="1131"/>
                      <a:pt x="97" y="1134"/>
                    </a:cubicBezTo>
                    <a:cubicBezTo>
                      <a:pt x="95" y="1132"/>
                      <a:pt x="93" y="1127"/>
                      <a:pt x="91" y="1126"/>
                    </a:cubicBezTo>
                    <a:cubicBezTo>
                      <a:pt x="91" y="1119"/>
                      <a:pt x="93" y="1124"/>
                      <a:pt x="94" y="1120"/>
                    </a:cubicBezTo>
                    <a:cubicBezTo>
                      <a:pt x="94" y="1114"/>
                      <a:pt x="91" y="1114"/>
                      <a:pt x="92" y="1106"/>
                    </a:cubicBezTo>
                    <a:lnTo>
                      <a:pt x="94" y="1107"/>
                    </a:lnTo>
                    <a:cubicBezTo>
                      <a:pt x="93" y="1103"/>
                      <a:pt x="92" y="1101"/>
                      <a:pt x="92" y="1097"/>
                    </a:cubicBezTo>
                    <a:lnTo>
                      <a:pt x="93" y="1098"/>
                    </a:lnTo>
                    <a:cubicBezTo>
                      <a:pt x="89" y="1090"/>
                      <a:pt x="97" y="1088"/>
                      <a:pt x="90" y="1082"/>
                    </a:cubicBezTo>
                    <a:cubicBezTo>
                      <a:pt x="91" y="1079"/>
                      <a:pt x="89" y="1073"/>
                      <a:pt x="92" y="1073"/>
                    </a:cubicBezTo>
                    <a:cubicBezTo>
                      <a:pt x="90" y="1064"/>
                      <a:pt x="89" y="1057"/>
                      <a:pt x="87" y="1047"/>
                    </a:cubicBezTo>
                    <a:cubicBezTo>
                      <a:pt x="92" y="1046"/>
                      <a:pt x="86" y="1045"/>
                      <a:pt x="89" y="1039"/>
                    </a:cubicBezTo>
                    <a:lnTo>
                      <a:pt x="86" y="1040"/>
                    </a:lnTo>
                    <a:cubicBezTo>
                      <a:pt x="85" y="1027"/>
                      <a:pt x="92" y="1011"/>
                      <a:pt x="90" y="996"/>
                    </a:cubicBezTo>
                    <a:lnTo>
                      <a:pt x="93" y="996"/>
                    </a:lnTo>
                    <a:lnTo>
                      <a:pt x="89" y="993"/>
                    </a:lnTo>
                    <a:cubicBezTo>
                      <a:pt x="90" y="977"/>
                      <a:pt x="90" y="957"/>
                      <a:pt x="90" y="944"/>
                    </a:cubicBezTo>
                    <a:cubicBezTo>
                      <a:pt x="88" y="940"/>
                      <a:pt x="85" y="934"/>
                      <a:pt x="85" y="927"/>
                    </a:cubicBezTo>
                    <a:lnTo>
                      <a:pt x="86" y="928"/>
                    </a:lnTo>
                    <a:cubicBezTo>
                      <a:pt x="84" y="917"/>
                      <a:pt x="83" y="905"/>
                      <a:pt x="84" y="892"/>
                    </a:cubicBezTo>
                    <a:cubicBezTo>
                      <a:pt x="85" y="893"/>
                      <a:pt x="86" y="892"/>
                      <a:pt x="87" y="893"/>
                    </a:cubicBezTo>
                    <a:cubicBezTo>
                      <a:pt x="83" y="890"/>
                      <a:pt x="86" y="886"/>
                      <a:pt x="86" y="883"/>
                    </a:cubicBezTo>
                    <a:lnTo>
                      <a:pt x="84" y="886"/>
                    </a:lnTo>
                    <a:cubicBezTo>
                      <a:pt x="82" y="883"/>
                      <a:pt x="84" y="877"/>
                      <a:pt x="86" y="876"/>
                    </a:cubicBezTo>
                    <a:lnTo>
                      <a:pt x="83" y="870"/>
                    </a:lnTo>
                    <a:cubicBezTo>
                      <a:pt x="83" y="870"/>
                      <a:pt x="83" y="869"/>
                      <a:pt x="84" y="869"/>
                    </a:cubicBezTo>
                    <a:lnTo>
                      <a:pt x="82" y="868"/>
                    </a:lnTo>
                    <a:lnTo>
                      <a:pt x="86" y="865"/>
                    </a:lnTo>
                    <a:cubicBezTo>
                      <a:pt x="85" y="864"/>
                      <a:pt x="84" y="856"/>
                      <a:pt x="81" y="854"/>
                    </a:cubicBezTo>
                    <a:cubicBezTo>
                      <a:pt x="82" y="853"/>
                      <a:pt x="83" y="848"/>
                      <a:pt x="83" y="852"/>
                    </a:cubicBezTo>
                    <a:lnTo>
                      <a:pt x="84" y="832"/>
                    </a:lnTo>
                    <a:lnTo>
                      <a:pt x="83" y="835"/>
                    </a:lnTo>
                    <a:cubicBezTo>
                      <a:pt x="80" y="835"/>
                      <a:pt x="78" y="829"/>
                      <a:pt x="79" y="826"/>
                    </a:cubicBezTo>
                    <a:cubicBezTo>
                      <a:pt x="82" y="830"/>
                      <a:pt x="83" y="826"/>
                      <a:pt x="85" y="825"/>
                    </a:cubicBezTo>
                    <a:cubicBezTo>
                      <a:pt x="84" y="822"/>
                      <a:pt x="83" y="827"/>
                      <a:pt x="81" y="826"/>
                    </a:cubicBezTo>
                    <a:cubicBezTo>
                      <a:pt x="79" y="822"/>
                      <a:pt x="78" y="815"/>
                      <a:pt x="80" y="813"/>
                    </a:cubicBezTo>
                    <a:lnTo>
                      <a:pt x="81" y="815"/>
                    </a:lnTo>
                    <a:cubicBezTo>
                      <a:pt x="80" y="810"/>
                      <a:pt x="84" y="808"/>
                      <a:pt x="84" y="803"/>
                    </a:cubicBezTo>
                    <a:cubicBezTo>
                      <a:pt x="82" y="799"/>
                      <a:pt x="84" y="796"/>
                      <a:pt x="79" y="797"/>
                    </a:cubicBezTo>
                    <a:cubicBezTo>
                      <a:pt x="78" y="791"/>
                      <a:pt x="82" y="794"/>
                      <a:pt x="83" y="792"/>
                    </a:cubicBezTo>
                    <a:cubicBezTo>
                      <a:pt x="80" y="790"/>
                      <a:pt x="82" y="781"/>
                      <a:pt x="84" y="780"/>
                    </a:cubicBezTo>
                    <a:cubicBezTo>
                      <a:pt x="77" y="777"/>
                      <a:pt x="87" y="764"/>
                      <a:pt x="81" y="762"/>
                    </a:cubicBezTo>
                    <a:lnTo>
                      <a:pt x="84" y="757"/>
                    </a:lnTo>
                    <a:cubicBezTo>
                      <a:pt x="82" y="757"/>
                      <a:pt x="79" y="756"/>
                      <a:pt x="78" y="752"/>
                    </a:cubicBezTo>
                    <a:cubicBezTo>
                      <a:pt x="80" y="748"/>
                      <a:pt x="83" y="749"/>
                      <a:pt x="84" y="748"/>
                    </a:cubicBezTo>
                    <a:lnTo>
                      <a:pt x="78" y="746"/>
                    </a:lnTo>
                    <a:cubicBezTo>
                      <a:pt x="84" y="724"/>
                      <a:pt x="80" y="695"/>
                      <a:pt x="86" y="670"/>
                    </a:cubicBezTo>
                    <a:cubicBezTo>
                      <a:pt x="85" y="660"/>
                      <a:pt x="82" y="646"/>
                      <a:pt x="83" y="633"/>
                    </a:cubicBezTo>
                    <a:lnTo>
                      <a:pt x="84" y="635"/>
                    </a:lnTo>
                    <a:lnTo>
                      <a:pt x="85" y="622"/>
                    </a:lnTo>
                    <a:lnTo>
                      <a:pt x="83" y="631"/>
                    </a:lnTo>
                    <a:cubicBezTo>
                      <a:pt x="82" y="629"/>
                      <a:pt x="81" y="627"/>
                      <a:pt x="81" y="624"/>
                    </a:cubicBezTo>
                    <a:cubicBezTo>
                      <a:pt x="83" y="610"/>
                      <a:pt x="86" y="592"/>
                      <a:pt x="84" y="575"/>
                    </a:cubicBezTo>
                    <a:cubicBezTo>
                      <a:pt x="77" y="564"/>
                      <a:pt x="90" y="568"/>
                      <a:pt x="85" y="557"/>
                    </a:cubicBezTo>
                    <a:cubicBezTo>
                      <a:pt x="85" y="558"/>
                      <a:pt x="86" y="558"/>
                      <a:pt x="87" y="559"/>
                    </a:cubicBezTo>
                    <a:cubicBezTo>
                      <a:pt x="85" y="548"/>
                      <a:pt x="84" y="542"/>
                      <a:pt x="80" y="530"/>
                    </a:cubicBezTo>
                    <a:cubicBezTo>
                      <a:pt x="87" y="532"/>
                      <a:pt x="80" y="523"/>
                      <a:pt x="83" y="524"/>
                    </a:cubicBezTo>
                    <a:lnTo>
                      <a:pt x="81" y="523"/>
                    </a:lnTo>
                    <a:cubicBezTo>
                      <a:pt x="82" y="521"/>
                      <a:pt x="83" y="515"/>
                      <a:pt x="85" y="516"/>
                    </a:cubicBezTo>
                    <a:lnTo>
                      <a:pt x="82" y="511"/>
                    </a:lnTo>
                    <a:lnTo>
                      <a:pt x="84" y="510"/>
                    </a:lnTo>
                    <a:cubicBezTo>
                      <a:pt x="85" y="503"/>
                      <a:pt x="82" y="489"/>
                      <a:pt x="88" y="486"/>
                    </a:cubicBezTo>
                    <a:cubicBezTo>
                      <a:pt x="84" y="469"/>
                      <a:pt x="85" y="443"/>
                      <a:pt x="87" y="423"/>
                    </a:cubicBezTo>
                    <a:cubicBezTo>
                      <a:pt x="85" y="420"/>
                      <a:pt x="84" y="414"/>
                      <a:pt x="84" y="409"/>
                    </a:cubicBezTo>
                    <a:lnTo>
                      <a:pt x="87" y="404"/>
                    </a:lnTo>
                    <a:cubicBezTo>
                      <a:pt x="87" y="400"/>
                      <a:pt x="82" y="394"/>
                      <a:pt x="85" y="390"/>
                    </a:cubicBezTo>
                    <a:cubicBezTo>
                      <a:pt x="85" y="390"/>
                      <a:pt x="85" y="390"/>
                      <a:pt x="85" y="391"/>
                    </a:cubicBezTo>
                    <a:cubicBezTo>
                      <a:pt x="85" y="386"/>
                      <a:pt x="87" y="381"/>
                      <a:pt x="84" y="376"/>
                    </a:cubicBezTo>
                    <a:cubicBezTo>
                      <a:pt x="84" y="371"/>
                      <a:pt x="86" y="366"/>
                      <a:pt x="89" y="368"/>
                    </a:cubicBezTo>
                    <a:cubicBezTo>
                      <a:pt x="83" y="367"/>
                      <a:pt x="89" y="356"/>
                      <a:pt x="89" y="356"/>
                    </a:cubicBezTo>
                    <a:cubicBezTo>
                      <a:pt x="89" y="356"/>
                      <a:pt x="105" y="84"/>
                      <a:pt x="76" y="16"/>
                    </a:cubicBezTo>
                    <a:cubicBezTo>
                      <a:pt x="73" y="14"/>
                      <a:pt x="71" y="8"/>
                      <a:pt x="68" y="10"/>
                    </a:cubicBezTo>
                    <a:cubicBezTo>
                      <a:pt x="67" y="6"/>
                      <a:pt x="72" y="3"/>
                      <a:pt x="69" y="2"/>
                    </a:cubicBezTo>
                    <a:cubicBezTo>
                      <a:pt x="68" y="9"/>
                      <a:pt x="62" y="0"/>
                      <a:pt x="59" y="7"/>
                    </a:cubicBezTo>
                    <a:lnTo>
                      <a:pt x="58" y="2"/>
                    </a:lnTo>
                    <a:cubicBezTo>
                      <a:pt x="57" y="2"/>
                      <a:pt x="61" y="8"/>
                      <a:pt x="57" y="7"/>
                    </a:cubicBezTo>
                    <a:lnTo>
                      <a:pt x="62" y="8"/>
                    </a:lnTo>
                    <a:cubicBezTo>
                      <a:pt x="61" y="12"/>
                      <a:pt x="60" y="13"/>
                      <a:pt x="59" y="14"/>
                    </a:cubicBezTo>
                    <a:cubicBezTo>
                      <a:pt x="60" y="18"/>
                      <a:pt x="67" y="20"/>
                      <a:pt x="64" y="27"/>
                    </a:cubicBezTo>
                    <a:lnTo>
                      <a:pt x="64" y="25"/>
                    </a:lnTo>
                    <a:cubicBezTo>
                      <a:pt x="64" y="31"/>
                      <a:pt x="61" y="29"/>
                      <a:pt x="60" y="30"/>
                    </a:cubicBezTo>
                    <a:lnTo>
                      <a:pt x="60" y="29"/>
                    </a:lnTo>
                    <a:lnTo>
                      <a:pt x="57" y="34"/>
                    </a:lnTo>
                    <a:cubicBezTo>
                      <a:pt x="59" y="30"/>
                      <a:pt x="55" y="23"/>
                      <a:pt x="55" y="27"/>
                    </a:cubicBezTo>
                    <a:cubicBezTo>
                      <a:pt x="54" y="34"/>
                      <a:pt x="57" y="25"/>
                      <a:pt x="57" y="30"/>
                    </a:cubicBezTo>
                    <a:cubicBezTo>
                      <a:pt x="57" y="34"/>
                      <a:pt x="55" y="33"/>
                      <a:pt x="53" y="33"/>
                    </a:cubicBezTo>
                    <a:lnTo>
                      <a:pt x="53" y="39"/>
                    </a:lnTo>
                    <a:cubicBezTo>
                      <a:pt x="51" y="38"/>
                      <a:pt x="53" y="35"/>
                      <a:pt x="51" y="37"/>
                    </a:cubicBezTo>
                    <a:lnTo>
                      <a:pt x="53" y="45"/>
                    </a:lnTo>
                    <a:cubicBezTo>
                      <a:pt x="48" y="46"/>
                      <a:pt x="56" y="53"/>
                      <a:pt x="51" y="56"/>
                    </a:cubicBezTo>
                    <a:cubicBezTo>
                      <a:pt x="49" y="51"/>
                      <a:pt x="49" y="57"/>
                      <a:pt x="47" y="56"/>
                    </a:cubicBezTo>
                    <a:lnTo>
                      <a:pt x="47" y="69"/>
                    </a:lnTo>
                    <a:cubicBezTo>
                      <a:pt x="46" y="71"/>
                      <a:pt x="45" y="66"/>
                      <a:pt x="45" y="68"/>
                    </a:cubicBezTo>
                    <a:cubicBezTo>
                      <a:pt x="44" y="70"/>
                      <a:pt x="47" y="72"/>
                      <a:pt x="47" y="73"/>
                    </a:cubicBezTo>
                    <a:cubicBezTo>
                      <a:pt x="45" y="74"/>
                      <a:pt x="47" y="83"/>
                      <a:pt x="43" y="83"/>
                    </a:cubicBezTo>
                    <a:cubicBezTo>
                      <a:pt x="40" y="92"/>
                      <a:pt x="48" y="87"/>
                      <a:pt x="46" y="95"/>
                    </a:cubicBezTo>
                    <a:cubicBezTo>
                      <a:pt x="43" y="96"/>
                      <a:pt x="45" y="88"/>
                      <a:pt x="43" y="92"/>
                    </a:cubicBezTo>
                    <a:lnTo>
                      <a:pt x="43" y="101"/>
                    </a:lnTo>
                    <a:cubicBezTo>
                      <a:pt x="42" y="100"/>
                      <a:pt x="40" y="99"/>
                      <a:pt x="40" y="96"/>
                    </a:cubicBezTo>
                    <a:cubicBezTo>
                      <a:pt x="37" y="120"/>
                      <a:pt x="24" y="132"/>
                      <a:pt x="27" y="154"/>
                    </a:cubicBezTo>
                    <a:cubicBezTo>
                      <a:pt x="24" y="157"/>
                      <a:pt x="25" y="152"/>
                      <a:pt x="24" y="150"/>
                    </a:cubicBezTo>
                    <a:cubicBezTo>
                      <a:pt x="27" y="165"/>
                      <a:pt x="17" y="172"/>
                      <a:pt x="17" y="185"/>
                    </a:cubicBezTo>
                    <a:lnTo>
                      <a:pt x="20" y="185"/>
                    </a:lnTo>
                    <a:cubicBezTo>
                      <a:pt x="12" y="204"/>
                      <a:pt x="17" y="226"/>
                      <a:pt x="13" y="247"/>
                    </a:cubicBezTo>
                    <a:lnTo>
                      <a:pt x="15" y="245"/>
                    </a:lnTo>
                    <a:cubicBezTo>
                      <a:pt x="17" y="248"/>
                      <a:pt x="17" y="253"/>
                      <a:pt x="18" y="256"/>
                    </a:cubicBezTo>
                    <a:cubicBezTo>
                      <a:pt x="17" y="257"/>
                      <a:pt x="14" y="253"/>
                      <a:pt x="14" y="260"/>
                    </a:cubicBezTo>
                    <a:cubicBezTo>
                      <a:pt x="15" y="258"/>
                      <a:pt x="16" y="256"/>
                      <a:pt x="17" y="257"/>
                    </a:cubicBezTo>
                    <a:cubicBezTo>
                      <a:pt x="11" y="275"/>
                      <a:pt x="12" y="313"/>
                      <a:pt x="9" y="343"/>
                    </a:cubicBezTo>
                    <a:cubicBezTo>
                      <a:pt x="11" y="383"/>
                      <a:pt x="6" y="427"/>
                      <a:pt x="7" y="466"/>
                    </a:cubicBezTo>
                    <a:cubicBezTo>
                      <a:pt x="7" y="460"/>
                      <a:pt x="12" y="463"/>
                      <a:pt x="11" y="467"/>
                    </a:cubicBezTo>
                    <a:cubicBezTo>
                      <a:pt x="1" y="480"/>
                      <a:pt x="13" y="489"/>
                      <a:pt x="6" y="501"/>
                    </a:cubicBezTo>
                    <a:cubicBezTo>
                      <a:pt x="9" y="524"/>
                      <a:pt x="0" y="545"/>
                      <a:pt x="7" y="566"/>
                    </a:cubicBezTo>
                    <a:lnTo>
                      <a:pt x="5" y="567"/>
                    </a:lnTo>
                    <a:cubicBezTo>
                      <a:pt x="3" y="570"/>
                      <a:pt x="5" y="571"/>
                      <a:pt x="6" y="574"/>
                    </a:cubicBezTo>
                    <a:lnTo>
                      <a:pt x="5" y="574"/>
                    </a:lnTo>
                    <a:cubicBezTo>
                      <a:pt x="4" y="582"/>
                      <a:pt x="6" y="592"/>
                      <a:pt x="5" y="596"/>
                    </a:cubicBezTo>
                    <a:lnTo>
                      <a:pt x="8" y="597"/>
                    </a:lnTo>
                    <a:cubicBezTo>
                      <a:pt x="8" y="601"/>
                      <a:pt x="6" y="599"/>
                      <a:pt x="8" y="604"/>
                    </a:cubicBezTo>
                    <a:lnTo>
                      <a:pt x="6" y="604"/>
                    </a:lnTo>
                    <a:lnTo>
                      <a:pt x="9" y="609"/>
                    </a:lnTo>
                    <a:cubicBezTo>
                      <a:pt x="3" y="609"/>
                      <a:pt x="8" y="623"/>
                      <a:pt x="6" y="627"/>
                    </a:cubicBezTo>
                    <a:cubicBezTo>
                      <a:pt x="7" y="633"/>
                      <a:pt x="9" y="644"/>
                      <a:pt x="8" y="653"/>
                    </a:cubicBezTo>
                    <a:cubicBezTo>
                      <a:pt x="5" y="655"/>
                      <a:pt x="5" y="667"/>
                      <a:pt x="4" y="674"/>
                    </a:cubicBezTo>
                    <a:cubicBezTo>
                      <a:pt x="4" y="688"/>
                      <a:pt x="5" y="708"/>
                      <a:pt x="4" y="726"/>
                    </a:cubicBezTo>
                    <a:lnTo>
                      <a:pt x="7" y="726"/>
                    </a:lnTo>
                    <a:lnTo>
                      <a:pt x="8" y="730"/>
                    </a:lnTo>
                    <a:cubicBezTo>
                      <a:pt x="7" y="730"/>
                      <a:pt x="7" y="731"/>
                      <a:pt x="6" y="730"/>
                    </a:cubicBezTo>
                    <a:cubicBezTo>
                      <a:pt x="2" y="734"/>
                      <a:pt x="7" y="741"/>
                      <a:pt x="5" y="745"/>
                    </a:cubicBezTo>
                    <a:cubicBezTo>
                      <a:pt x="8" y="743"/>
                      <a:pt x="6" y="742"/>
                      <a:pt x="6" y="739"/>
                    </a:cubicBezTo>
                    <a:cubicBezTo>
                      <a:pt x="7" y="735"/>
                      <a:pt x="11" y="739"/>
                      <a:pt x="9" y="744"/>
                    </a:cubicBezTo>
                    <a:lnTo>
                      <a:pt x="8" y="744"/>
                    </a:lnTo>
                    <a:lnTo>
                      <a:pt x="10" y="747"/>
                    </a:lnTo>
                    <a:cubicBezTo>
                      <a:pt x="7" y="748"/>
                      <a:pt x="6" y="751"/>
                      <a:pt x="3" y="751"/>
                    </a:cubicBezTo>
                    <a:cubicBezTo>
                      <a:pt x="4" y="767"/>
                      <a:pt x="9" y="778"/>
                      <a:pt x="8" y="794"/>
                    </a:cubicBezTo>
                    <a:cubicBezTo>
                      <a:pt x="5" y="792"/>
                      <a:pt x="9" y="805"/>
                      <a:pt x="3" y="802"/>
                    </a:cubicBezTo>
                    <a:cubicBezTo>
                      <a:pt x="5" y="811"/>
                      <a:pt x="8" y="800"/>
                      <a:pt x="11" y="805"/>
                    </a:cubicBezTo>
                    <a:cubicBezTo>
                      <a:pt x="11" y="807"/>
                      <a:pt x="13" y="810"/>
                      <a:pt x="11" y="811"/>
                    </a:cubicBezTo>
                    <a:cubicBezTo>
                      <a:pt x="10" y="809"/>
                      <a:pt x="8" y="813"/>
                      <a:pt x="7" y="811"/>
                    </a:cubicBezTo>
                    <a:lnTo>
                      <a:pt x="8" y="817"/>
                    </a:lnTo>
                    <a:cubicBezTo>
                      <a:pt x="7" y="818"/>
                      <a:pt x="6" y="816"/>
                      <a:pt x="6" y="816"/>
                    </a:cubicBezTo>
                    <a:cubicBezTo>
                      <a:pt x="9" y="829"/>
                      <a:pt x="3" y="839"/>
                      <a:pt x="6" y="850"/>
                    </a:cubicBezTo>
                    <a:cubicBezTo>
                      <a:pt x="8" y="851"/>
                      <a:pt x="7" y="846"/>
                      <a:pt x="9" y="847"/>
                    </a:cubicBezTo>
                    <a:cubicBezTo>
                      <a:pt x="13" y="858"/>
                      <a:pt x="6" y="857"/>
                      <a:pt x="9" y="868"/>
                    </a:cubicBezTo>
                    <a:lnTo>
                      <a:pt x="6" y="866"/>
                    </a:lnTo>
                    <a:cubicBezTo>
                      <a:pt x="8" y="869"/>
                      <a:pt x="10" y="871"/>
                      <a:pt x="8" y="877"/>
                    </a:cubicBezTo>
                    <a:cubicBezTo>
                      <a:pt x="5" y="878"/>
                      <a:pt x="6" y="872"/>
                      <a:pt x="4" y="869"/>
                    </a:cubicBezTo>
                    <a:cubicBezTo>
                      <a:pt x="4" y="873"/>
                      <a:pt x="5" y="883"/>
                      <a:pt x="8" y="880"/>
                    </a:cubicBezTo>
                    <a:cubicBezTo>
                      <a:pt x="9" y="885"/>
                      <a:pt x="6" y="887"/>
                      <a:pt x="5" y="889"/>
                    </a:cubicBezTo>
                    <a:cubicBezTo>
                      <a:pt x="6" y="889"/>
                      <a:pt x="7" y="885"/>
                      <a:pt x="9" y="887"/>
                    </a:cubicBezTo>
                    <a:cubicBezTo>
                      <a:pt x="7" y="894"/>
                      <a:pt x="8" y="904"/>
                      <a:pt x="8" y="912"/>
                    </a:cubicBezTo>
                    <a:cubicBezTo>
                      <a:pt x="7" y="912"/>
                      <a:pt x="6" y="913"/>
                      <a:pt x="5" y="912"/>
                    </a:cubicBezTo>
                    <a:cubicBezTo>
                      <a:pt x="9" y="918"/>
                      <a:pt x="2" y="918"/>
                      <a:pt x="4" y="927"/>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6" name="Freeform 2480"/>
              <p:cNvSpPr>
                <a:spLocks/>
              </p:cNvSpPr>
              <p:nvPr/>
            </p:nvSpPr>
            <p:spPr bwMode="auto">
              <a:xfrm>
                <a:off x="4495801" y="4364038"/>
                <a:ext cx="1588" cy="1588"/>
              </a:xfrm>
              <a:custGeom>
                <a:avLst/>
                <a:gdLst>
                  <a:gd name="T0" fmla="*/ 3 w 3"/>
                  <a:gd name="T1" fmla="*/ 5 h 5"/>
                  <a:gd name="T2" fmla="*/ 3 w 3"/>
                  <a:gd name="T3" fmla="*/ 5 h 5"/>
                  <a:gd name="T4" fmla="*/ 3 w 3"/>
                  <a:gd name="T5" fmla="*/ 2 h 5"/>
                  <a:gd name="T6" fmla="*/ 0 w 3"/>
                  <a:gd name="T7" fmla="*/ 0 h 5"/>
                  <a:gd name="T8" fmla="*/ 3 w 3"/>
                  <a:gd name="T9" fmla="*/ 5 h 5"/>
                </a:gdLst>
                <a:ahLst/>
                <a:cxnLst>
                  <a:cxn ang="0">
                    <a:pos x="T0" y="T1"/>
                  </a:cxn>
                  <a:cxn ang="0">
                    <a:pos x="T2" y="T3"/>
                  </a:cxn>
                  <a:cxn ang="0">
                    <a:pos x="T4" y="T5"/>
                  </a:cxn>
                  <a:cxn ang="0">
                    <a:pos x="T6" y="T7"/>
                  </a:cxn>
                  <a:cxn ang="0">
                    <a:pos x="T8" y="T9"/>
                  </a:cxn>
                </a:cxnLst>
                <a:rect l="0" t="0" r="r" b="b"/>
                <a:pathLst>
                  <a:path w="3" h="5">
                    <a:moveTo>
                      <a:pt x="3" y="5"/>
                    </a:moveTo>
                    <a:lnTo>
                      <a:pt x="3" y="5"/>
                    </a:lnTo>
                    <a:lnTo>
                      <a:pt x="3" y="2"/>
                    </a:lnTo>
                    <a:cubicBezTo>
                      <a:pt x="2" y="2"/>
                      <a:pt x="1" y="2"/>
                      <a:pt x="0" y="0"/>
                    </a:cubicBezTo>
                    <a:lnTo>
                      <a:pt x="3" y="5"/>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7" name="Freeform 2481"/>
              <p:cNvSpPr>
                <a:spLocks/>
              </p:cNvSpPr>
              <p:nvPr/>
            </p:nvSpPr>
            <p:spPr bwMode="auto">
              <a:xfrm>
                <a:off x="4494213" y="4316413"/>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1" y="1"/>
                      <a:pt x="0" y="0"/>
                    </a:cubicBezTo>
                    <a:cubicBezTo>
                      <a:pt x="1" y="1"/>
                      <a:pt x="1" y="1"/>
                      <a:pt x="1"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8" name="Freeform 2482"/>
              <p:cNvSpPr>
                <a:spLocks/>
              </p:cNvSpPr>
              <p:nvPr/>
            </p:nvSpPr>
            <p:spPr bwMode="auto">
              <a:xfrm>
                <a:off x="4491038" y="4305301"/>
                <a:ext cx="1588" cy="1588"/>
              </a:xfrm>
              <a:custGeom>
                <a:avLst/>
                <a:gdLst>
                  <a:gd name="T0" fmla="*/ 0 w 3"/>
                  <a:gd name="T1" fmla="*/ 1 h 3"/>
                  <a:gd name="T2" fmla="*/ 0 w 3"/>
                  <a:gd name="T3" fmla="*/ 1 h 3"/>
                  <a:gd name="T4" fmla="*/ 3 w 3"/>
                  <a:gd name="T5" fmla="*/ 0 h 3"/>
                  <a:gd name="T6" fmla="*/ 0 w 3"/>
                  <a:gd name="T7" fmla="*/ 1 h 3"/>
                </a:gdLst>
                <a:ahLst/>
                <a:cxnLst>
                  <a:cxn ang="0">
                    <a:pos x="T0" y="T1"/>
                  </a:cxn>
                  <a:cxn ang="0">
                    <a:pos x="T2" y="T3"/>
                  </a:cxn>
                  <a:cxn ang="0">
                    <a:pos x="T4" y="T5"/>
                  </a:cxn>
                  <a:cxn ang="0">
                    <a:pos x="T6" y="T7"/>
                  </a:cxn>
                </a:cxnLst>
                <a:rect l="0" t="0" r="r" b="b"/>
                <a:pathLst>
                  <a:path w="3" h="3">
                    <a:moveTo>
                      <a:pt x="0" y="1"/>
                    </a:moveTo>
                    <a:lnTo>
                      <a:pt x="0" y="1"/>
                    </a:lnTo>
                    <a:cubicBezTo>
                      <a:pt x="1" y="3"/>
                      <a:pt x="2" y="1"/>
                      <a:pt x="3" y="0"/>
                    </a:cubicBezTo>
                    <a:cubicBezTo>
                      <a:pt x="2" y="0"/>
                      <a:pt x="1"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9" name="Freeform 2483"/>
              <p:cNvSpPr>
                <a:spLocks/>
              </p:cNvSpPr>
              <p:nvPr/>
            </p:nvSpPr>
            <p:spPr bwMode="auto">
              <a:xfrm>
                <a:off x="4502151" y="4391026"/>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1" y="0"/>
                      <a:pt x="0" y="0"/>
                    </a:cubicBezTo>
                    <a:cubicBezTo>
                      <a:pt x="1" y="1"/>
                      <a:pt x="1" y="1"/>
                      <a:pt x="1"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0" name="Freeform 2484"/>
              <p:cNvSpPr>
                <a:spLocks/>
              </p:cNvSpPr>
              <p:nvPr/>
            </p:nvSpPr>
            <p:spPr bwMode="auto">
              <a:xfrm>
                <a:off x="4508501" y="446563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0"/>
                    </a:cubicBezTo>
                    <a:cubicBezTo>
                      <a:pt x="0" y="1"/>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1" name="Freeform 2485"/>
              <p:cNvSpPr>
                <a:spLocks/>
              </p:cNvSpPr>
              <p:nvPr/>
            </p:nvSpPr>
            <p:spPr bwMode="auto">
              <a:xfrm>
                <a:off x="4510088" y="4460876"/>
                <a:ext cx="0" cy="1588"/>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cubicBezTo>
                      <a:pt x="0" y="2"/>
                      <a:pt x="0" y="1"/>
                      <a:pt x="0" y="0"/>
                    </a:cubicBezTo>
                    <a:cubicBezTo>
                      <a:pt x="0" y="1"/>
                      <a:pt x="0" y="2"/>
                      <a:pt x="0" y="3"/>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2" name="Freeform 2486"/>
              <p:cNvSpPr>
                <a:spLocks/>
              </p:cNvSpPr>
              <p:nvPr/>
            </p:nvSpPr>
            <p:spPr bwMode="auto">
              <a:xfrm>
                <a:off x="4498976" y="4371976"/>
                <a:ext cx="1588" cy="158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1" y="2"/>
                      <a:pt x="1" y="1"/>
                      <a:pt x="0" y="0"/>
                    </a:cubicBezTo>
                    <a:cubicBezTo>
                      <a:pt x="0" y="2"/>
                      <a:pt x="1" y="2"/>
                      <a:pt x="1" y="3"/>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3" name="Freeform 2487"/>
              <p:cNvSpPr>
                <a:spLocks/>
              </p:cNvSpPr>
              <p:nvPr/>
            </p:nvSpPr>
            <p:spPr bwMode="auto">
              <a:xfrm>
                <a:off x="4508501" y="4459288"/>
                <a:ext cx="1588" cy="1588"/>
              </a:xfrm>
              <a:custGeom>
                <a:avLst/>
                <a:gdLst>
                  <a:gd name="T0" fmla="*/ 1 w 1"/>
                  <a:gd name="T1" fmla="*/ 3 h 3"/>
                  <a:gd name="T2" fmla="*/ 1 w 1"/>
                  <a:gd name="T3" fmla="*/ 3 h 3"/>
                  <a:gd name="T4" fmla="*/ 1 w 1"/>
                  <a:gd name="T5" fmla="*/ 0 h 3"/>
                  <a:gd name="T6" fmla="*/ 0 w 1"/>
                  <a:gd name="T7" fmla="*/ 0 h 3"/>
                  <a:gd name="T8" fmla="*/ 1 w 1"/>
                  <a:gd name="T9" fmla="*/ 3 h 3"/>
                </a:gdLst>
                <a:ahLst/>
                <a:cxnLst>
                  <a:cxn ang="0">
                    <a:pos x="T0" y="T1"/>
                  </a:cxn>
                  <a:cxn ang="0">
                    <a:pos x="T2" y="T3"/>
                  </a:cxn>
                  <a:cxn ang="0">
                    <a:pos x="T4" y="T5"/>
                  </a:cxn>
                  <a:cxn ang="0">
                    <a:pos x="T6" y="T7"/>
                  </a:cxn>
                  <a:cxn ang="0">
                    <a:pos x="T8" y="T9"/>
                  </a:cxn>
                </a:cxnLst>
                <a:rect l="0" t="0" r="r" b="b"/>
                <a:pathLst>
                  <a:path w="1" h="3">
                    <a:moveTo>
                      <a:pt x="1" y="3"/>
                    </a:moveTo>
                    <a:lnTo>
                      <a:pt x="1" y="3"/>
                    </a:lnTo>
                    <a:lnTo>
                      <a:pt x="1" y="0"/>
                    </a:lnTo>
                    <a:cubicBezTo>
                      <a:pt x="0" y="0"/>
                      <a:pt x="0" y="0"/>
                      <a:pt x="0" y="0"/>
                    </a:cubicBezTo>
                    <a:lnTo>
                      <a:pt x="1" y="3"/>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4" name="Freeform 2488"/>
              <p:cNvSpPr>
                <a:spLocks/>
              </p:cNvSpPr>
              <p:nvPr/>
            </p:nvSpPr>
            <p:spPr bwMode="auto">
              <a:xfrm>
                <a:off x="4508501" y="4465638"/>
                <a:ext cx="0" cy="1588"/>
              </a:xfrm>
              <a:custGeom>
                <a:avLst/>
                <a:gdLst>
                  <a:gd name="T0" fmla="*/ 5 h 5"/>
                  <a:gd name="T1" fmla="*/ 5 h 5"/>
                  <a:gd name="T2" fmla="*/ 0 h 5"/>
                  <a:gd name="T3" fmla="*/ 5 h 5"/>
                </a:gdLst>
                <a:ahLst/>
                <a:cxnLst>
                  <a:cxn ang="0">
                    <a:pos x="0" y="T0"/>
                  </a:cxn>
                  <a:cxn ang="0">
                    <a:pos x="0" y="T1"/>
                  </a:cxn>
                  <a:cxn ang="0">
                    <a:pos x="0" y="T2"/>
                  </a:cxn>
                  <a:cxn ang="0">
                    <a:pos x="0" y="T3"/>
                  </a:cxn>
                </a:cxnLst>
                <a:rect l="0" t="0" r="r" b="b"/>
                <a:pathLst>
                  <a:path h="5">
                    <a:moveTo>
                      <a:pt x="0" y="5"/>
                    </a:moveTo>
                    <a:lnTo>
                      <a:pt x="0" y="5"/>
                    </a:lnTo>
                    <a:cubicBezTo>
                      <a:pt x="0" y="3"/>
                      <a:pt x="0" y="2"/>
                      <a:pt x="0" y="0"/>
                    </a:cubicBezTo>
                    <a:cubicBezTo>
                      <a:pt x="0" y="2"/>
                      <a:pt x="0" y="4"/>
                      <a:pt x="0" y="5"/>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5" name="Freeform 2489"/>
              <p:cNvSpPr>
                <a:spLocks/>
              </p:cNvSpPr>
              <p:nvPr/>
            </p:nvSpPr>
            <p:spPr bwMode="auto">
              <a:xfrm>
                <a:off x="4505326" y="4418013"/>
                <a:ext cx="0" cy="1588"/>
              </a:xfrm>
              <a:custGeom>
                <a:avLst/>
                <a:gdLst>
                  <a:gd name="T0" fmla="*/ 2 w 2"/>
                  <a:gd name="T1" fmla="*/ 2 h 2"/>
                  <a:gd name="T2" fmla="*/ 2 w 2"/>
                  <a:gd name="T3" fmla="*/ 2 h 2"/>
                  <a:gd name="T4" fmla="*/ 2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2" y="2"/>
                    </a:lnTo>
                    <a:cubicBezTo>
                      <a:pt x="0" y="0"/>
                      <a:pt x="1" y="1"/>
                      <a:pt x="2"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6" name="Freeform 2490"/>
              <p:cNvSpPr>
                <a:spLocks/>
              </p:cNvSpPr>
              <p:nvPr/>
            </p:nvSpPr>
            <p:spPr bwMode="auto">
              <a:xfrm>
                <a:off x="4506913" y="4456113"/>
                <a:ext cx="0" cy="0"/>
              </a:xfrm>
              <a:custGeom>
                <a:avLst/>
                <a:gdLst>
                  <a:gd name="T0" fmla="*/ 1 w 1"/>
                  <a:gd name="T1" fmla="*/ 2 h 2"/>
                  <a:gd name="T2" fmla="*/ 1 w 1"/>
                  <a:gd name="T3" fmla="*/ 2 h 2"/>
                  <a:gd name="T4" fmla="*/ 1 w 1"/>
                  <a:gd name="T5" fmla="*/ 1 h 2"/>
                  <a:gd name="T6" fmla="*/ 0 w 1"/>
                  <a:gd name="T7" fmla="*/ 0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lnTo>
                      <a:pt x="1" y="2"/>
                    </a:lnTo>
                    <a:lnTo>
                      <a:pt x="1" y="1"/>
                    </a:lnTo>
                    <a:lnTo>
                      <a:pt x="0" y="0"/>
                    </a:lnTo>
                    <a:lnTo>
                      <a:pt x="1" y="2"/>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7" name="Freeform 2491"/>
              <p:cNvSpPr>
                <a:spLocks/>
              </p:cNvSpPr>
              <p:nvPr/>
            </p:nvSpPr>
            <p:spPr bwMode="auto">
              <a:xfrm>
                <a:off x="4508501" y="4471988"/>
                <a:ext cx="0" cy="0"/>
              </a:xfrm>
              <a:custGeom>
                <a:avLst/>
                <a:gdLst>
                  <a:gd name="T0" fmla="*/ 1 w 1"/>
                  <a:gd name="T1" fmla="*/ 1 h 1"/>
                  <a:gd name="T2" fmla="*/ 1 w 1"/>
                  <a:gd name="T3" fmla="*/ 1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cubicBezTo>
                      <a:pt x="1" y="1"/>
                      <a:pt x="0" y="0"/>
                      <a:pt x="0" y="0"/>
                    </a:cubicBezTo>
                    <a:cubicBezTo>
                      <a:pt x="0" y="0"/>
                      <a:pt x="0" y="1"/>
                      <a:pt x="0" y="1"/>
                    </a:cubicBezTo>
                    <a:cubicBezTo>
                      <a:pt x="0" y="1"/>
                      <a:pt x="1" y="1"/>
                      <a:pt x="1"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8" name="Freeform 2492"/>
              <p:cNvSpPr>
                <a:spLocks/>
              </p:cNvSpPr>
              <p:nvPr/>
            </p:nvSpPr>
            <p:spPr bwMode="auto">
              <a:xfrm>
                <a:off x="4505326" y="4433888"/>
                <a:ext cx="1588" cy="1588"/>
              </a:xfrm>
              <a:custGeom>
                <a:avLst/>
                <a:gdLst>
                  <a:gd name="T0" fmla="*/ 0 w 3"/>
                  <a:gd name="T1" fmla="*/ 1 h 2"/>
                  <a:gd name="T2" fmla="*/ 0 w 3"/>
                  <a:gd name="T3" fmla="*/ 1 h 2"/>
                  <a:gd name="T4" fmla="*/ 3 w 3"/>
                  <a:gd name="T5" fmla="*/ 2 h 2"/>
                  <a:gd name="T6" fmla="*/ 0 w 3"/>
                  <a:gd name="T7" fmla="*/ 1 h 2"/>
                </a:gdLst>
                <a:ahLst/>
                <a:cxnLst>
                  <a:cxn ang="0">
                    <a:pos x="T0" y="T1"/>
                  </a:cxn>
                  <a:cxn ang="0">
                    <a:pos x="T2" y="T3"/>
                  </a:cxn>
                  <a:cxn ang="0">
                    <a:pos x="T4" y="T5"/>
                  </a:cxn>
                  <a:cxn ang="0">
                    <a:pos x="T6" y="T7"/>
                  </a:cxn>
                </a:cxnLst>
                <a:rect l="0" t="0" r="r" b="b"/>
                <a:pathLst>
                  <a:path w="3" h="2">
                    <a:moveTo>
                      <a:pt x="0" y="1"/>
                    </a:moveTo>
                    <a:lnTo>
                      <a:pt x="0" y="1"/>
                    </a:lnTo>
                    <a:cubicBezTo>
                      <a:pt x="2" y="2"/>
                      <a:pt x="2" y="2"/>
                      <a:pt x="3" y="2"/>
                    </a:cubicBezTo>
                    <a:cubicBezTo>
                      <a:pt x="3" y="1"/>
                      <a:pt x="2"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9" name="Freeform 2493"/>
              <p:cNvSpPr>
                <a:spLocks/>
              </p:cNvSpPr>
              <p:nvPr/>
            </p:nvSpPr>
            <p:spPr bwMode="auto">
              <a:xfrm>
                <a:off x="4383088" y="4545013"/>
                <a:ext cx="0" cy="1588"/>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1" y="0"/>
                      <a:pt x="1" y="0"/>
                    </a:cubicBezTo>
                    <a:cubicBezTo>
                      <a:pt x="0" y="0"/>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0" name="Freeform 2494"/>
              <p:cNvSpPr>
                <a:spLocks/>
              </p:cNvSpPr>
              <p:nvPr/>
            </p:nvSpPr>
            <p:spPr bwMode="auto">
              <a:xfrm>
                <a:off x="4306888" y="4548188"/>
                <a:ext cx="1588" cy="0"/>
              </a:xfrm>
              <a:custGeom>
                <a:avLst/>
                <a:gdLst>
                  <a:gd name="T0" fmla="*/ 0 w 3"/>
                  <a:gd name="T1" fmla="*/ 1 h 1"/>
                  <a:gd name="T2" fmla="*/ 0 w 3"/>
                  <a:gd name="T3" fmla="*/ 1 h 1"/>
                  <a:gd name="T4" fmla="*/ 3 w 3"/>
                  <a:gd name="T5" fmla="*/ 0 h 1"/>
                  <a:gd name="T6" fmla="*/ 0 w 3"/>
                  <a:gd name="T7" fmla="*/ 1 h 1"/>
                </a:gdLst>
                <a:ahLst/>
                <a:cxnLst>
                  <a:cxn ang="0">
                    <a:pos x="T0" y="T1"/>
                  </a:cxn>
                  <a:cxn ang="0">
                    <a:pos x="T2" y="T3"/>
                  </a:cxn>
                  <a:cxn ang="0">
                    <a:pos x="T4" y="T5"/>
                  </a:cxn>
                  <a:cxn ang="0">
                    <a:pos x="T6" y="T7"/>
                  </a:cxn>
                </a:cxnLst>
                <a:rect l="0" t="0" r="r" b="b"/>
                <a:pathLst>
                  <a:path w="3" h="1">
                    <a:moveTo>
                      <a:pt x="0" y="1"/>
                    </a:moveTo>
                    <a:lnTo>
                      <a:pt x="0" y="1"/>
                    </a:lnTo>
                    <a:lnTo>
                      <a:pt x="3" y="0"/>
                    </a:lnTo>
                    <a:cubicBezTo>
                      <a:pt x="1" y="0"/>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1" name="Freeform 2495"/>
              <p:cNvSpPr>
                <a:spLocks/>
              </p:cNvSpPr>
              <p:nvPr/>
            </p:nvSpPr>
            <p:spPr bwMode="auto">
              <a:xfrm>
                <a:off x="4427538" y="4543426"/>
                <a:ext cx="3175" cy="0"/>
              </a:xfrm>
              <a:custGeom>
                <a:avLst/>
                <a:gdLst>
                  <a:gd name="T0" fmla="*/ 0 w 10"/>
                  <a:gd name="T1" fmla="*/ 1 h 1"/>
                  <a:gd name="T2" fmla="*/ 0 w 10"/>
                  <a:gd name="T3" fmla="*/ 1 h 1"/>
                  <a:gd name="T4" fmla="*/ 0 w 10"/>
                  <a:gd name="T5" fmla="*/ 1 h 1"/>
                  <a:gd name="T6" fmla="*/ 10 w 10"/>
                  <a:gd name="T7" fmla="*/ 0 h 1"/>
                  <a:gd name="T8" fmla="*/ 0 w 10"/>
                  <a:gd name="T9" fmla="*/ 1 h 1"/>
                </a:gdLst>
                <a:ahLst/>
                <a:cxnLst>
                  <a:cxn ang="0">
                    <a:pos x="T0" y="T1"/>
                  </a:cxn>
                  <a:cxn ang="0">
                    <a:pos x="T2" y="T3"/>
                  </a:cxn>
                  <a:cxn ang="0">
                    <a:pos x="T4" y="T5"/>
                  </a:cxn>
                  <a:cxn ang="0">
                    <a:pos x="T6" y="T7"/>
                  </a:cxn>
                  <a:cxn ang="0">
                    <a:pos x="T8" y="T9"/>
                  </a:cxn>
                </a:cxnLst>
                <a:rect l="0" t="0" r="r" b="b"/>
                <a:pathLst>
                  <a:path w="10" h="1">
                    <a:moveTo>
                      <a:pt x="0" y="1"/>
                    </a:moveTo>
                    <a:lnTo>
                      <a:pt x="0" y="1"/>
                    </a:lnTo>
                    <a:cubicBezTo>
                      <a:pt x="0" y="1"/>
                      <a:pt x="0" y="1"/>
                      <a:pt x="0" y="1"/>
                    </a:cubicBezTo>
                    <a:cubicBezTo>
                      <a:pt x="2" y="1"/>
                      <a:pt x="5" y="1"/>
                      <a:pt x="10" y="0"/>
                    </a:cubicBezTo>
                    <a:lnTo>
                      <a:pt x="0" y="1"/>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2" name="Freeform 2496"/>
              <p:cNvSpPr>
                <a:spLocks/>
              </p:cNvSpPr>
              <p:nvPr/>
            </p:nvSpPr>
            <p:spPr bwMode="auto">
              <a:xfrm>
                <a:off x="4146551" y="4548188"/>
                <a:ext cx="1588" cy="0"/>
              </a:xfrm>
              <a:custGeom>
                <a:avLst/>
                <a:gdLst>
                  <a:gd name="T0" fmla="*/ 0 w 4"/>
                  <a:gd name="T1" fmla="*/ 1 h 1"/>
                  <a:gd name="T2" fmla="*/ 0 w 4"/>
                  <a:gd name="T3" fmla="*/ 1 h 1"/>
                  <a:gd name="T4" fmla="*/ 4 w 4"/>
                  <a:gd name="T5" fmla="*/ 1 h 1"/>
                  <a:gd name="T6" fmla="*/ 0 w 4"/>
                  <a:gd name="T7" fmla="*/ 1 h 1"/>
                </a:gdLst>
                <a:ahLst/>
                <a:cxnLst>
                  <a:cxn ang="0">
                    <a:pos x="T0" y="T1"/>
                  </a:cxn>
                  <a:cxn ang="0">
                    <a:pos x="T2" y="T3"/>
                  </a:cxn>
                  <a:cxn ang="0">
                    <a:pos x="T4" y="T5"/>
                  </a:cxn>
                  <a:cxn ang="0">
                    <a:pos x="T6" y="T7"/>
                  </a:cxn>
                </a:cxnLst>
                <a:rect l="0" t="0" r="r" b="b"/>
                <a:pathLst>
                  <a:path w="4" h="1">
                    <a:moveTo>
                      <a:pt x="0" y="1"/>
                    </a:moveTo>
                    <a:lnTo>
                      <a:pt x="0" y="1"/>
                    </a:lnTo>
                    <a:lnTo>
                      <a:pt x="4" y="1"/>
                    </a:lnTo>
                    <a:cubicBezTo>
                      <a:pt x="2" y="1"/>
                      <a:pt x="1"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3" name="Freeform 2497"/>
              <p:cNvSpPr>
                <a:spLocks/>
              </p:cNvSpPr>
              <p:nvPr/>
            </p:nvSpPr>
            <p:spPr bwMode="auto">
              <a:xfrm>
                <a:off x="4240213" y="4549776"/>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1"/>
                      <a:pt x="2" y="1"/>
                      <a:pt x="0" y="1"/>
                    </a:cubicBezTo>
                    <a:cubicBezTo>
                      <a:pt x="2" y="1"/>
                      <a:pt x="4" y="1"/>
                      <a:pt x="4"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4" name="Freeform 2498"/>
              <p:cNvSpPr>
                <a:spLocks/>
              </p:cNvSpPr>
              <p:nvPr/>
            </p:nvSpPr>
            <p:spPr bwMode="auto">
              <a:xfrm>
                <a:off x="4451351" y="4549776"/>
                <a:ext cx="1588" cy="0"/>
              </a:xfrm>
              <a:custGeom>
                <a:avLst/>
                <a:gdLst>
                  <a:gd name="T0" fmla="*/ 4 w 4"/>
                  <a:gd name="T1" fmla="*/ 2 h 2"/>
                  <a:gd name="T2" fmla="*/ 4 w 4"/>
                  <a:gd name="T3" fmla="*/ 2 h 2"/>
                  <a:gd name="T4" fmla="*/ 0 w 4"/>
                  <a:gd name="T5" fmla="*/ 0 h 2"/>
                  <a:gd name="T6" fmla="*/ 4 w 4"/>
                  <a:gd name="T7" fmla="*/ 2 h 2"/>
                </a:gdLst>
                <a:ahLst/>
                <a:cxnLst>
                  <a:cxn ang="0">
                    <a:pos x="T0" y="T1"/>
                  </a:cxn>
                  <a:cxn ang="0">
                    <a:pos x="T2" y="T3"/>
                  </a:cxn>
                  <a:cxn ang="0">
                    <a:pos x="T4" y="T5"/>
                  </a:cxn>
                  <a:cxn ang="0">
                    <a:pos x="T6" y="T7"/>
                  </a:cxn>
                </a:cxnLst>
                <a:rect l="0" t="0" r="r" b="b"/>
                <a:pathLst>
                  <a:path w="4" h="2">
                    <a:moveTo>
                      <a:pt x="4" y="2"/>
                    </a:moveTo>
                    <a:lnTo>
                      <a:pt x="4" y="2"/>
                    </a:lnTo>
                    <a:lnTo>
                      <a:pt x="0" y="0"/>
                    </a:lnTo>
                    <a:cubicBezTo>
                      <a:pt x="0" y="1"/>
                      <a:pt x="2" y="2"/>
                      <a:pt x="4"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5" name="Freeform 2499"/>
              <p:cNvSpPr>
                <a:spLocks/>
              </p:cNvSpPr>
              <p:nvPr/>
            </p:nvSpPr>
            <p:spPr bwMode="auto">
              <a:xfrm>
                <a:off x="4497388" y="4541838"/>
                <a:ext cx="158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cubicBezTo>
                      <a:pt x="1" y="0"/>
                      <a:pt x="1" y="0"/>
                      <a:pt x="0" y="0"/>
                    </a:cubicBezTo>
                    <a:cubicBezTo>
                      <a:pt x="0" y="0"/>
                      <a:pt x="1" y="0"/>
                      <a:pt x="1"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6" name="Freeform 2500"/>
              <p:cNvSpPr>
                <a:spLocks/>
              </p:cNvSpPr>
              <p:nvPr/>
            </p:nvSpPr>
            <p:spPr bwMode="auto">
              <a:xfrm>
                <a:off x="4478338" y="4541838"/>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1" y="1"/>
                      <a:pt x="0" y="1"/>
                    </a:cubicBezTo>
                    <a:cubicBezTo>
                      <a:pt x="2" y="1"/>
                      <a:pt x="4" y="1"/>
                      <a:pt x="4"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7" name="Freeform 2501"/>
              <p:cNvSpPr>
                <a:spLocks/>
              </p:cNvSpPr>
              <p:nvPr/>
            </p:nvSpPr>
            <p:spPr bwMode="auto">
              <a:xfrm>
                <a:off x="4478338" y="4541838"/>
                <a:ext cx="0" cy="0"/>
              </a:xfrm>
              <a:custGeom>
                <a:avLst/>
                <a:gdLst>
                  <a:gd name="T0" fmla="*/ 0 w 2"/>
                  <a:gd name="T1" fmla="*/ 1 h 1"/>
                  <a:gd name="T2" fmla="*/ 0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0" y="1"/>
                    </a:lnTo>
                    <a:lnTo>
                      <a:pt x="2" y="0"/>
                    </a:lnTo>
                    <a:cubicBezTo>
                      <a:pt x="1" y="0"/>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8" name="Freeform 2502"/>
              <p:cNvSpPr>
                <a:spLocks/>
              </p:cNvSpPr>
              <p:nvPr/>
            </p:nvSpPr>
            <p:spPr bwMode="auto">
              <a:xfrm>
                <a:off x="3557588" y="4530726"/>
                <a:ext cx="3175" cy="0"/>
              </a:xfrm>
              <a:custGeom>
                <a:avLst/>
                <a:gdLst>
                  <a:gd name="T0" fmla="*/ 12 w 12"/>
                  <a:gd name="T1" fmla="*/ 0 h 3"/>
                  <a:gd name="T2" fmla="*/ 12 w 12"/>
                  <a:gd name="T3" fmla="*/ 0 h 3"/>
                  <a:gd name="T4" fmla="*/ 0 w 12"/>
                  <a:gd name="T5" fmla="*/ 3 h 3"/>
                  <a:gd name="T6" fmla="*/ 12 w 12"/>
                  <a:gd name="T7" fmla="*/ 0 h 3"/>
                </a:gdLst>
                <a:ahLst/>
                <a:cxnLst>
                  <a:cxn ang="0">
                    <a:pos x="T0" y="T1"/>
                  </a:cxn>
                  <a:cxn ang="0">
                    <a:pos x="T2" y="T3"/>
                  </a:cxn>
                  <a:cxn ang="0">
                    <a:pos x="T4" y="T5"/>
                  </a:cxn>
                  <a:cxn ang="0">
                    <a:pos x="T6" y="T7"/>
                  </a:cxn>
                </a:cxnLst>
                <a:rect l="0" t="0" r="r" b="b"/>
                <a:pathLst>
                  <a:path w="12" h="3">
                    <a:moveTo>
                      <a:pt x="12" y="0"/>
                    </a:moveTo>
                    <a:lnTo>
                      <a:pt x="12" y="0"/>
                    </a:lnTo>
                    <a:cubicBezTo>
                      <a:pt x="8" y="0"/>
                      <a:pt x="4" y="1"/>
                      <a:pt x="0" y="3"/>
                    </a:cubicBezTo>
                    <a:lnTo>
                      <a:pt x="12"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9" name="Freeform 2503"/>
              <p:cNvSpPr>
                <a:spLocks/>
              </p:cNvSpPr>
              <p:nvPr/>
            </p:nvSpPr>
            <p:spPr bwMode="auto">
              <a:xfrm>
                <a:off x="4000501" y="4545013"/>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0" y="0"/>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0" name="Freeform 2504"/>
              <p:cNvSpPr>
                <a:spLocks/>
              </p:cNvSpPr>
              <p:nvPr/>
            </p:nvSpPr>
            <p:spPr bwMode="auto">
              <a:xfrm>
                <a:off x="3559176" y="4535488"/>
                <a:ext cx="0" cy="0"/>
              </a:xfrm>
              <a:custGeom>
                <a:avLst/>
                <a:gdLst>
                  <a:gd name="T0" fmla="*/ 3 w 3"/>
                  <a:gd name="T1" fmla="*/ 1 h 1"/>
                  <a:gd name="T2" fmla="*/ 3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3" y="1"/>
                    </a:lnTo>
                    <a:lnTo>
                      <a:pt x="0" y="0"/>
                    </a:lnTo>
                    <a:cubicBezTo>
                      <a:pt x="1" y="1"/>
                      <a:pt x="2" y="1"/>
                      <a:pt x="3"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1" name="Freeform 2505"/>
              <p:cNvSpPr>
                <a:spLocks/>
              </p:cNvSpPr>
              <p:nvPr/>
            </p:nvSpPr>
            <p:spPr bwMode="auto">
              <a:xfrm>
                <a:off x="4424363" y="4554538"/>
                <a:ext cx="4763" cy="0"/>
              </a:xfrm>
              <a:custGeom>
                <a:avLst/>
                <a:gdLst>
                  <a:gd name="T0" fmla="*/ 13 w 13"/>
                  <a:gd name="T1" fmla="*/ 0 h 3"/>
                  <a:gd name="T2" fmla="*/ 13 w 13"/>
                  <a:gd name="T3" fmla="*/ 0 h 3"/>
                  <a:gd name="T4" fmla="*/ 1 w 13"/>
                  <a:gd name="T5" fmla="*/ 3 h 3"/>
                  <a:gd name="T6" fmla="*/ 13 w 13"/>
                  <a:gd name="T7" fmla="*/ 0 h 3"/>
                </a:gdLst>
                <a:ahLst/>
                <a:cxnLst>
                  <a:cxn ang="0">
                    <a:pos x="T0" y="T1"/>
                  </a:cxn>
                  <a:cxn ang="0">
                    <a:pos x="T2" y="T3"/>
                  </a:cxn>
                  <a:cxn ang="0">
                    <a:pos x="T4" y="T5"/>
                  </a:cxn>
                  <a:cxn ang="0">
                    <a:pos x="T6" y="T7"/>
                  </a:cxn>
                </a:cxnLst>
                <a:rect l="0" t="0" r="r" b="b"/>
                <a:pathLst>
                  <a:path w="13" h="3">
                    <a:moveTo>
                      <a:pt x="13" y="0"/>
                    </a:moveTo>
                    <a:lnTo>
                      <a:pt x="13" y="0"/>
                    </a:lnTo>
                    <a:cubicBezTo>
                      <a:pt x="9" y="3"/>
                      <a:pt x="0" y="1"/>
                      <a:pt x="1" y="3"/>
                    </a:cubicBezTo>
                    <a:cubicBezTo>
                      <a:pt x="5" y="2"/>
                      <a:pt x="12" y="3"/>
                      <a:pt x="13"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2" name="Freeform 2506"/>
              <p:cNvSpPr>
                <a:spLocks/>
              </p:cNvSpPr>
              <p:nvPr/>
            </p:nvSpPr>
            <p:spPr bwMode="auto">
              <a:xfrm>
                <a:off x="3968751" y="4567238"/>
                <a:ext cx="0" cy="0"/>
              </a:xfrm>
              <a:custGeom>
                <a:avLst/>
                <a:gdLst>
                  <a:gd name="T0" fmla="*/ 2 w 2"/>
                  <a:gd name="T1" fmla="*/ 0 h 1"/>
                  <a:gd name="T2" fmla="*/ 2 w 2"/>
                  <a:gd name="T3" fmla="*/ 0 h 1"/>
                  <a:gd name="T4" fmla="*/ 0 w 2"/>
                  <a:gd name="T5" fmla="*/ 0 h 1"/>
                  <a:gd name="T6" fmla="*/ 2 w 2"/>
                  <a:gd name="T7" fmla="*/ 0 h 1"/>
                </a:gdLst>
                <a:ahLst/>
                <a:cxnLst>
                  <a:cxn ang="0">
                    <a:pos x="T0" y="T1"/>
                  </a:cxn>
                  <a:cxn ang="0">
                    <a:pos x="T2" y="T3"/>
                  </a:cxn>
                  <a:cxn ang="0">
                    <a:pos x="T4" y="T5"/>
                  </a:cxn>
                  <a:cxn ang="0">
                    <a:pos x="T6" y="T7"/>
                  </a:cxn>
                </a:cxnLst>
                <a:rect l="0" t="0" r="r" b="b"/>
                <a:pathLst>
                  <a:path w="2" h="1">
                    <a:moveTo>
                      <a:pt x="2" y="0"/>
                    </a:moveTo>
                    <a:lnTo>
                      <a:pt x="2" y="0"/>
                    </a:lnTo>
                    <a:lnTo>
                      <a:pt x="0" y="0"/>
                    </a:lnTo>
                    <a:cubicBezTo>
                      <a:pt x="1" y="1"/>
                      <a:pt x="2" y="1"/>
                      <a:pt x="2"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3" name="Freeform 2507"/>
              <p:cNvSpPr>
                <a:spLocks/>
              </p:cNvSpPr>
              <p:nvPr/>
            </p:nvSpPr>
            <p:spPr bwMode="auto">
              <a:xfrm>
                <a:off x="3559176" y="4535488"/>
                <a:ext cx="1588" cy="0"/>
              </a:xfrm>
              <a:custGeom>
                <a:avLst/>
                <a:gdLst>
                  <a:gd name="T0" fmla="*/ 0 w 3"/>
                  <a:gd name="T1" fmla="*/ 1 h 1"/>
                  <a:gd name="T2" fmla="*/ 0 w 3"/>
                  <a:gd name="T3" fmla="*/ 1 h 1"/>
                  <a:gd name="T4" fmla="*/ 3 w 3"/>
                  <a:gd name="T5" fmla="*/ 1 h 1"/>
                  <a:gd name="T6" fmla="*/ 2 w 3"/>
                  <a:gd name="T7" fmla="*/ 0 h 1"/>
                  <a:gd name="T8" fmla="*/ 0 w 3"/>
                  <a:gd name="T9" fmla="*/ 1 h 1"/>
                </a:gdLst>
                <a:ahLst/>
                <a:cxnLst>
                  <a:cxn ang="0">
                    <a:pos x="T0" y="T1"/>
                  </a:cxn>
                  <a:cxn ang="0">
                    <a:pos x="T2" y="T3"/>
                  </a:cxn>
                  <a:cxn ang="0">
                    <a:pos x="T4" y="T5"/>
                  </a:cxn>
                  <a:cxn ang="0">
                    <a:pos x="T6" y="T7"/>
                  </a:cxn>
                  <a:cxn ang="0">
                    <a:pos x="T8" y="T9"/>
                  </a:cxn>
                </a:cxnLst>
                <a:rect l="0" t="0" r="r" b="b"/>
                <a:pathLst>
                  <a:path w="3" h="1">
                    <a:moveTo>
                      <a:pt x="0" y="1"/>
                    </a:moveTo>
                    <a:lnTo>
                      <a:pt x="0" y="1"/>
                    </a:lnTo>
                    <a:lnTo>
                      <a:pt x="3" y="1"/>
                    </a:lnTo>
                    <a:cubicBezTo>
                      <a:pt x="3" y="1"/>
                      <a:pt x="2" y="1"/>
                      <a:pt x="2" y="0"/>
                    </a:cubicBezTo>
                    <a:cubicBezTo>
                      <a:pt x="1" y="1"/>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4" name="Freeform 2508"/>
              <p:cNvSpPr>
                <a:spLocks/>
              </p:cNvSpPr>
              <p:nvPr/>
            </p:nvSpPr>
            <p:spPr bwMode="auto">
              <a:xfrm>
                <a:off x="3848101" y="4538663"/>
                <a:ext cx="1588"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0" y="0"/>
                      <a:pt x="0" y="0"/>
                    </a:cubicBezTo>
                    <a:cubicBezTo>
                      <a:pt x="0" y="0"/>
                      <a:pt x="1" y="0"/>
                      <a:pt x="1" y="0"/>
                    </a:cubicBezTo>
                    <a:lnTo>
                      <a:pt x="0"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5" name="Freeform 2509"/>
              <p:cNvSpPr>
                <a:spLocks/>
              </p:cNvSpPr>
              <p:nvPr/>
            </p:nvSpPr>
            <p:spPr bwMode="auto">
              <a:xfrm>
                <a:off x="3840163" y="4537076"/>
                <a:ext cx="1588" cy="0"/>
              </a:xfrm>
              <a:custGeom>
                <a:avLst/>
                <a:gdLst>
                  <a:gd name="T0" fmla="*/ 0 w 6"/>
                  <a:gd name="T1" fmla="*/ 1 h 1"/>
                  <a:gd name="T2" fmla="*/ 0 w 6"/>
                  <a:gd name="T3" fmla="*/ 1 h 1"/>
                  <a:gd name="T4" fmla="*/ 6 w 6"/>
                  <a:gd name="T5" fmla="*/ 0 h 1"/>
                  <a:gd name="T6" fmla="*/ 0 w 6"/>
                  <a:gd name="T7" fmla="*/ 1 h 1"/>
                </a:gdLst>
                <a:ahLst/>
                <a:cxnLst>
                  <a:cxn ang="0">
                    <a:pos x="T0" y="T1"/>
                  </a:cxn>
                  <a:cxn ang="0">
                    <a:pos x="T2" y="T3"/>
                  </a:cxn>
                  <a:cxn ang="0">
                    <a:pos x="T4" y="T5"/>
                  </a:cxn>
                  <a:cxn ang="0">
                    <a:pos x="T6" y="T7"/>
                  </a:cxn>
                </a:cxnLst>
                <a:rect l="0" t="0" r="r" b="b"/>
                <a:pathLst>
                  <a:path w="6" h="1">
                    <a:moveTo>
                      <a:pt x="0" y="1"/>
                    </a:moveTo>
                    <a:lnTo>
                      <a:pt x="0" y="1"/>
                    </a:lnTo>
                    <a:cubicBezTo>
                      <a:pt x="2" y="1"/>
                      <a:pt x="4" y="1"/>
                      <a:pt x="6" y="0"/>
                    </a:cubicBezTo>
                    <a:cubicBezTo>
                      <a:pt x="3" y="0"/>
                      <a:pt x="1"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6" name="Freeform 2510"/>
              <p:cNvSpPr>
                <a:spLocks/>
              </p:cNvSpPr>
              <p:nvPr/>
            </p:nvSpPr>
            <p:spPr bwMode="auto">
              <a:xfrm>
                <a:off x="3556001" y="4530726"/>
                <a:ext cx="1588" cy="1588"/>
              </a:xfrm>
              <a:custGeom>
                <a:avLst/>
                <a:gdLst>
                  <a:gd name="T0" fmla="*/ 7 w 7"/>
                  <a:gd name="T1" fmla="*/ 0 h 1"/>
                  <a:gd name="T2" fmla="*/ 7 w 7"/>
                  <a:gd name="T3" fmla="*/ 0 h 1"/>
                  <a:gd name="T4" fmla="*/ 0 w 7"/>
                  <a:gd name="T5" fmla="*/ 1 h 1"/>
                  <a:gd name="T6" fmla="*/ 7 w 7"/>
                  <a:gd name="T7" fmla="*/ 0 h 1"/>
                </a:gdLst>
                <a:ahLst/>
                <a:cxnLst>
                  <a:cxn ang="0">
                    <a:pos x="T0" y="T1"/>
                  </a:cxn>
                  <a:cxn ang="0">
                    <a:pos x="T2" y="T3"/>
                  </a:cxn>
                  <a:cxn ang="0">
                    <a:pos x="T4" y="T5"/>
                  </a:cxn>
                  <a:cxn ang="0">
                    <a:pos x="T6" y="T7"/>
                  </a:cxn>
                </a:cxnLst>
                <a:rect l="0" t="0" r="r" b="b"/>
                <a:pathLst>
                  <a:path w="7" h="1">
                    <a:moveTo>
                      <a:pt x="7" y="0"/>
                    </a:moveTo>
                    <a:lnTo>
                      <a:pt x="7" y="0"/>
                    </a:lnTo>
                    <a:lnTo>
                      <a:pt x="0" y="1"/>
                    </a:lnTo>
                    <a:cubicBezTo>
                      <a:pt x="3" y="1"/>
                      <a:pt x="5" y="0"/>
                      <a:pt x="7"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7" name="Freeform 2511"/>
              <p:cNvSpPr>
                <a:spLocks/>
              </p:cNvSpPr>
              <p:nvPr/>
            </p:nvSpPr>
            <p:spPr bwMode="auto">
              <a:xfrm>
                <a:off x="3754438" y="4535488"/>
                <a:ext cx="0"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cubicBezTo>
                      <a:pt x="1" y="0"/>
                      <a:pt x="2" y="0"/>
                      <a:pt x="3" y="0"/>
                    </a:cubicBezTo>
                    <a:cubicBezTo>
                      <a:pt x="2"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8" name="Freeform 2512"/>
              <p:cNvSpPr>
                <a:spLocks/>
              </p:cNvSpPr>
              <p:nvPr/>
            </p:nvSpPr>
            <p:spPr bwMode="auto">
              <a:xfrm>
                <a:off x="4248151" y="4549776"/>
                <a:ext cx="0" cy="0"/>
              </a:xfrm>
              <a:custGeom>
                <a:avLst/>
                <a:gdLst>
                  <a:gd name="T0" fmla="*/ 0 w 2"/>
                  <a:gd name="T1" fmla="*/ 1 h 1"/>
                  <a:gd name="T2" fmla="*/ 0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0" y="1"/>
                    </a:lnTo>
                    <a:cubicBezTo>
                      <a:pt x="0" y="1"/>
                      <a:pt x="1" y="1"/>
                      <a:pt x="2" y="1"/>
                    </a:cubicBezTo>
                    <a:cubicBezTo>
                      <a:pt x="2" y="1"/>
                      <a:pt x="2"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9" name="Rectangle 2513"/>
              <p:cNvSpPr>
                <a:spLocks noChangeArrowheads="1"/>
              </p:cNvSpPr>
              <p:nvPr/>
            </p:nvSpPr>
            <p:spPr bwMode="auto">
              <a:xfrm>
                <a:off x="4187826" y="4567238"/>
                <a:ext cx="1588" cy="1588"/>
              </a:xfrm>
              <a:prstGeom prst="rect">
                <a:avLst/>
              </a:prstGeom>
              <a:solidFill>
                <a:srgbClr val="A8B21C"/>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0" name="Freeform 2514"/>
              <p:cNvSpPr>
                <a:spLocks/>
              </p:cNvSpPr>
              <p:nvPr/>
            </p:nvSpPr>
            <p:spPr bwMode="auto">
              <a:xfrm>
                <a:off x="4187826" y="4567238"/>
                <a:ext cx="3175" cy="0"/>
              </a:xfrm>
              <a:custGeom>
                <a:avLst/>
                <a:gdLst>
                  <a:gd name="T0" fmla="*/ 10 w 10"/>
                  <a:gd name="T1" fmla="*/ 0 h 3"/>
                  <a:gd name="T2" fmla="*/ 10 w 10"/>
                  <a:gd name="T3" fmla="*/ 0 h 3"/>
                  <a:gd name="T4" fmla="*/ 0 w 10"/>
                  <a:gd name="T5" fmla="*/ 3 h 3"/>
                  <a:gd name="T6" fmla="*/ 10 w 10"/>
                  <a:gd name="T7" fmla="*/ 0 h 3"/>
                </a:gdLst>
                <a:ahLst/>
                <a:cxnLst>
                  <a:cxn ang="0">
                    <a:pos x="T0" y="T1"/>
                  </a:cxn>
                  <a:cxn ang="0">
                    <a:pos x="T2" y="T3"/>
                  </a:cxn>
                  <a:cxn ang="0">
                    <a:pos x="T4" y="T5"/>
                  </a:cxn>
                  <a:cxn ang="0">
                    <a:pos x="T6" y="T7"/>
                  </a:cxn>
                </a:cxnLst>
                <a:rect l="0" t="0" r="r" b="b"/>
                <a:pathLst>
                  <a:path w="10" h="3">
                    <a:moveTo>
                      <a:pt x="10" y="0"/>
                    </a:moveTo>
                    <a:lnTo>
                      <a:pt x="10" y="0"/>
                    </a:lnTo>
                    <a:cubicBezTo>
                      <a:pt x="7" y="0"/>
                      <a:pt x="3" y="1"/>
                      <a:pt x="0" y="3"/>
                    </a:cubicBezTo>
                    <a:cubicBezTo>
                      <a:pt x="3" y="3"/>
                      <a:pt x="6" y="2"/>
                      <a:pt x="1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1" name="Freeform 2515"/>
              <p:cNvSpPr>
                <a:spLocks/>
              </p:cNvSpPr>
              <p:nvPr/>
            </p:nvSpPr>
            <p:spPr bwMode="auto">
              <a:xfrm>
                <a:off x="4181476" y="4567238"/>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cubicBezTo>
                      <a:pt x="1" y="0"/>
                      <a:pt x="1" y="0"/>
                      <a:pt x="1" y="0"/>
                    </a:cubicBezTo>
                    <a:cubicBezTo>
                      <a:pt x="1"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2" name="Freeform 2516"/>
              <p:cNvSpPr>
                <a:spLocks/>
              </p:cNvSpPr>
              <p:nvPr/>
            </p:nvSpPr>
            <p:spPr bwMode="auto">
              <a:xfrm>
                <a:off x="4246563" y="4567238"/>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lnTo>
                      <a:pt x="1" y="0"/>
                    </a:lnTo>
                    <a:cubicBezTo>
                      <a:pt x="1" y="0"/>
                      <a:pt x="1" y="0"/>
                      <a:pt x="1" y="0"/>
                    </a:cubicBezTo>
                    <a:lnTo>
                      <a:pt x="0" y="0"/>
                    </a:lnTo>
                    <a:lnTo>
                      <a:pt x="1"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3" name="Freeform 2517"/>
              <p:cNvSpPr>
                <a:spLocks/>
              </p:cNvSpPr>
              <p:nvPr/>
            </p:nvSpPr>
            <p:spPr bwMode="auto">
              <a:xfrm>
                <a:off x="4232276" y="4567238"/>
                <a:ext cx="1588" cy="1588"/>
              </a:xfrm>
              <a:custGeom>
                <a:avLst/>
                <a:gdLst>
                  <a:gd name="T0" fmla="*/ 3 w 3"/>
                  <a:gd name="T1" fmla="*/ 1 h 1"/>
                  <a:gd name="T2" fmla="*/ 3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3" y="1"/>
                    </a:lnTo>
                    <a:cubicBezTo>
                      <a:pt x="2" y="0"/>
                      <a:pt x="1" y="0"/>
                      <a:pt x="0" y="0"/>
                    </a:cubicBezTo>
                    <a:cubicBezTo>
                      <a:pt x="1" y="0"/>
                      <a:pt x="2" y="0"/>
                      <a:pt x="3"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4" name="Freeform 2518"/>
              <p:cNvSpPr>
                <a:spLocks/>
              </p:cNvSpPr>
              <p:nvPr/>
            </p:nvSpPr>
            <p:spPr bwMode="auto">
              <a:xfrm>
                <a:off x="4149726" y="4568826"/>
                <a:ext cx="0" cy="0"/>
              </a:xfrm>
              <a:custGeom>
                <a:avLst/>
                <a:gdLst>
                  <a:gd name="T0" fmla="*/ 1 h 1"/>
                  <a:gd name="T1" fmla="*/ 1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1"/>
                    </a:lnTo>
                    <a:lnTo>
                      <a:pt x="0" y="0"/>
                    </a:lnTo>
                    <a:cubicBezTo>
                      <a:pt x="0" y="0"/>
                      <a:pt x="0" y="0"/>
                      <a:pt x="0" y="1"/>
                    </a:cubicBezTo>
                    <a:cubicBezTo>
                      <a:pt x="0" y="1"/>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5" name="Freeform 2519"/>
              <p:cNvSpPr>
                <a:spLocks/>
              </p:cNvSpPr>
              <p:nvPr/>
            </p:nvSpPr>
            <p:spPr bwMode="auto">
              <a:xfrm>
                <a:off x="3552826" y="4525963"/>
                <a:ext cx="960438" cy="49213"/>
              </a:xfrm>
              <a:custGeom>
                <a:avLst/>
                <a:gdLst>
                  <a:gd name="T0" fmla="*/ 1690 w 3058"/>
                  <a:gd name="T1" fmla="*/ 141 h 152"/>
                  <a:gd name="T2" fmla="*/ 1809 w 3058"/>
                  <a:gd name="T3" fmla="*/ 139 h 152"/>
                  <a:gd name="T4" fmla="*/ 1918 w 3058"/>
                  <a:gd name="T5" fmla="*/ 134 h 152"/>
                  <a:gd name="T6" fmla="*/ 1964 w 3058"/>
                  <a:gd name="T7" fmla="*/ 131 h 152"/>
                  <a:gd name="T8" fmla="*/ 2003 w 3058"/>
                  <a:gd name="T9" fmla="*/ 135 h 152"/>
                  <a:gd name="T10" fmla="*/ 2067 w 3058"/>
                  <a:gd name="T11" fmla="*/ 128 h 152"/>
                  <a:gd name="T12" fmla="*/ 2124 w 3058"/>
                  <a:gd name="T13" fmla="*/ 132 h 152"/>
                  <a:gd name="T14" fmla="*/ 2183 w 3058"/>
                  <a:gd name="T15" fmla="*/ 127 h 152"/>
                  <a:gd name="T16" fmla="*/ 2260 w 3058"/>
                  <a:gd name="T17" fmla="*/ 122 h 152"/>
                  <a:gd name="T18" fmla="*/ 2327 w 3058"/>
                  <a:gd name="T19" fmla="*/ 114 h 152"/>
                  <a:gd name="T20" fmla="*/ 2384 w 3058"/>
                  <a:gd name="T21" fmla="*/ 122 h 152"/>
                  <a:gd name="T22" fmla="*/ 2497 w 3058"/>
                  <a:gd name="T23" fmla="*/ 111 h 152"/>
                  <a:gd name="T24" fmla="*/ 2563 w 3058"/>
                  <a:gd name="T25" fmla="*/ 103 h 152"/>
                  <a:gd name="T26" fmla="*/ 2661 w 3058"/>
                  <a:gd name="T27" fmla="*/ 98 h 152"/>
                  <a:gd name="T28" fmla="*/ 2725 w 3058"/>
                  <a:gd name="T29" fmla="*/ 89 h 152"/>
                  <a:gd name="T30" fmla="*/ 2754 w 3058"/>
                  <a:gd name="T31" fmla="*/ 91 h 152"/>
                  <a:gd name="T32" fmla="*/ 2797 w 3058"/>
                  <a:gd name="T33" fmla="*/ 76 h 152"/>
                  <a:gd name="T34" fmla="*/ 2838 w 3058"/>
                  <a:gd name="T35" fmla="*/ 78 h 152"/>
                  <a:gd name="T36" fmla="*/ 2867 w 3058"/>
                  <a:gd name="T37" fmla="*/ 70 h 152"/>
                  <a:gd name="T38" fmla="*/ 2975 w 3058"/>
                  <a:gd name="T39" fmla="*/ 60 h 152"/>
                  <a:gd name="T40" fmla="*/ 3035 w 3058"/>
                  <a:gd name="T41" fmla="*/ 57 h 152"/>
                  <a:gd name="T42" fmla="*/ 2996 w 3058"/>
                  <a:gd name="T43" fmla="*/ 45 h 152"/>
                  <a:gd name="T44" fmla="*/ 2949 w 3058"/>
                  <a:gd name="T45" fmla="*/ 49 h 152"/>
                  <a:gd name="T46" fmla="*/ 2914 w 3058"/>
                  <a:gd name="T47" fmla="*/ 46 h 152"/>
                  <a:gd name="T48" fmla="*/ 2822 w 3058"/>
                  <a:gd name="T49" fmla="*/ 52 h 152"/>
                  <a:gd name="T50" fmla="*/ 2772 w 3058"/>
                  <a:gd name="T51" fmla="*/ 54 h 152"/>
                  <a:gd name="T52" fmla="*/ 2666 w 3058"/>
                  <a:gd name="T53" fmla="*/ 61 h 152"/>
                  <a:gd name="T54" fmla="*/ 2596 w 3058"/>
                  <a:gd name="T55" fmla="*/ 63 h 152"/>
                  <a:gd name="T56" fmla="*/ 2538 w 3058"/>
                  <a:gd name="T57" fmla="*/ 66 h 152"/>
                  <a:gd name="T58" fmla="*/ 2468 w 3058"/>
                  <a:gd name="T59" fmla="*/ 68 h 152"/>
                  <a:gd name="T60" fmla="*/ 2398 w 3058"/>
                  <a:gd name="T61" fmla="*/ 70 h 152"/>
                  <a:gd name="T62" fmla="*/ 2283 w 3058"/>
                  <a:gd name="T63" fmla="*/ 69 h 152"/>
                  <a:gd name="T64" fmla="*/ 2191 w 3058"/>
                  <a:gd name="T65" fmla="*/ 74 h 152"/>
                  <a:gd name="T66" fmla="*/ 2119 w 3058"/>
                  <a:gd name="T67" fmla="*/ 74 h 152"/>
                  <a:gd name="T68" fmla="*/ 2046 w 3058"/>
                  <a:gd name="T69" fmla="*/ 79 h 152"/>
                  <a:gd name="T70" fmla="*/ 1962 w 3058"/>
                  <a:gd name="T71" fmla="*/ 71 h 152"/>
                  <a:gd name="T72" fmla="*/ 1851 w 3058"/>
                  <a:gd name="T73" fmla="*/ 72 h 152"/>
                  <a:gd name="T74" fmla="*/ 1721 w 3058"/>
                  <a:gd name="T75" fmla="*/ 69 h 152"/>
                  <a:gd name="T76" fmla="*/ 1524 w 3058"/>
                  <a:gd name="T77" fmla="*/ 59 h 152"/>
                  <a:gd name="T78" fmla="*/ 1426 w 3058"/>
                  <a:gd name="T79" fmla="*/ 58 h 152"/>
                  <a:gd name="T80" fmla="*/ 1355 w 3058"/>
                  <a:gd name="T81" fmla="*/ 56 h 152"/>
                  <a:gd name="T82" fmla="*/ 1243 w 3058"/>
                  <a:gd name="T83" fmla="*/ 48 h 152"/>
                  <a:gd name="T84" fmla="*/ 1036 w 3058"/>
                  <a:gd name="T85" fmla="*/ 43 h 152"/>
                  <a:gd name="T86" fmla="*/ 845 w 3058"/>
                  <a:gd name="T87" fmla="*/ 35 h 152"/>
                  <a:gd name="T88" fmla="*/ 640 w 3058"/>
                  <a:gd name="T89" fmla="*/ 28 h 152"/>
                  <a:gd name="T90" fmla="*/ 4 w 3058"/>
                  <a:gd name="T91" fmla="*/ 18 h 152"/>
                  <a:gd name="T92" fmla="*/ 48 w 3058"/>
                  <a:gd name="T93" fmla="*/ 29 h 152"/>
                  <a:gd name="T94" fmla="*/ 72 w 3058"/>
                  <a:gd name="T95" fmla="*/ 37 h 152"/>
                  <a:gd name="T96" fmla="*/ 150 w 3058"/>
                  <a:gd name="T97" fmla="*/ 51 h 152"/>
                  <a:gd name="T98" fmla="*/ 400 w 3058"/>
                  <a:gd name="T99" fmla="*/ 90 h 152"/>
                  <a:gd name="T100" fmla="*/ 927 w 3058"/>
                  <a:gd name="T101" fmla="*/ 115 h 152"/>
                  <a:gd name="T102" fmla="*/ 998 w 3058"/>
                  <a:gd name="T103" fmla="*/ 116 h 152"/>
                  <a:gd name="T104" fmla="*/ 1219 w 3058"/>
                  <a:gd name="T105" fmla="*/ 126 h 152"/>
                  <a:gd name="T106" fmla="*/ 1317 w 3058"/>
                  <a:gd name="T107" fmla="*/ 124 h 152"/>
                  <a:gd name="T108" fmla="*/ 1416 w 3058"/>
                  <a:gd name="T109" fmla="*/ 134 h 152"/>
                  <a:gd name="T110" fmla="*/ 1515 w 3058"/>
                  <a:gd name="T111" fmla="*/ 14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58" h="152">
                    <a:moveTo>
                      <a:pt x="1515" y="141"/>
                    </a:moveTo>
                    <a:lnTo>
                      <a:pt x="1515" y="141"/>
                    </a:lnTo>
                    <a:cubicBezTo>
                      <a:pt x="1554" y="141"/>
                      <a:pt x="1604" y="139"/>
                      <a:pt x="1642" y="141"/>
                    </a:cubicBezTo>
                    <a:cubicBezTo>
                      <a:pt x="1650" y="138"/>
                      <a:pt x="1663" y="138"/>
                      <a:pt x="1675" y="137"/>
                    </a:cubicBezTo>
                    <a:lnTo>
                      <a:pt x="1676" y="143"/>
                    </a:lnTo>
                    <a:lnTo>
                      <a:pt x="1686" y="141"/>
                    </a:lnTo>
                    <a:cubicBezTo>
                      <a:pt x="1690" y="143"/>
                      <a:pt x="1678" y="142"/>
                      <a:pt x="1686" y="144"/>
                    </a:cubicBezTo>
                    <a:lnTo>
                      <a:pt x="1690" y="141"/>
                    </a:lnTo>
                    <a:cubicBezTo>
                      <a:pt x="1690" y="143"/>
                      <a:pt x="1716" y="143"/>
                      <a:pt x="1699" y="146"/>
                    </a:cubicBezTo>
                    <a:lnTo>
                      <a:pt x="1738" y="147"/>
                    </a:lnTo>
                    <a:cubicBezTo>
                      <a:pt x="1747" y="148"/>
                      <a:pt x="1743" y="143"/>
                      <a:pt x="1753" y="145"/>
                    </a:cubicBezTo>
                    <a:cubicBezTo>
                      <a:pt x="1755" y="146"/>
                      <a:pt x="1750" y="146"/>
                      <a:pt x="1750" y="148"/>
                    </a:cubicBezTo>
                    <a:cubicBezTo>
                      <a:pt x="1779" y="152"/>
                      <a:pt x="1784" y="138"/>
                      <a:pt x="1811" y="141"/>
                    </a:cubicBezTo>
                    <a:lnTo>
                      <a:pt x="1809" y="142"/>
                    </a:lnTo>
                    <a:cubicBezTo>
                      <a:pt x="1814" y="140"/>
                      <a:pt x="1822" y="140"/>
                      <a:pt x="1822" y="140"/>
                    </a:cubicBezTo>
                    <a:cubicBezTo>
                      <a:pt x="1819" y="134"/>
                      <a:pt x="1818" y="143"/>
                      <a:pt x="1809" y="139"/>
                    </a:cubicBezTo>
                    <a:cubicBezTo>
                      <a:pt x="1810" y="135"/>
                      <a:pt x="1820" y="137"/>
                      <a:pt x="1819" y="133"/>
                    </a:cubicBezTo>
                    <a:cubicBezTo>
                      <a:pt x="1825" y="135"/>
                      <a:pt x="1829" y="132"/>
                      <a:pt x="1835" y="132"/>
                    </a:cubicBezTo>
                    <a:cubicBezTo>
                      <a:pt x="1844" y="135"/>
                      <a:pt x="1858" y="133"/>
                      <a:pt x="1865" y="137"/>
                    </a:cubicBezTo>
                    <a:cubicBezTo>
                      <a:pt x="1869" y="135"/>
                      <a:pt x="1875" y="131"/>
                      <a:pt x="1885" y="131"/>
                    </a:cubicBezTo>
                    <a:cubicBezTo>
                      <a:pt x="1892" y="134"/>
                      <a:pt x="1883" y="134"/>
                      <a:pt x="1893" y="136"/>
                    </a:cubicBezTo>
                    <a:lnTo>
                      <a:pt x="1894" y="133"/>
                    </a:lnTo>
                    <a:cubicBezTo>
                      <a:pt x="1902" y="133"/>
                      <a:pt x="1901" y="134"/>
                      <a:pt x="1900" y="135"/>
                    </a:cubicBezTo>
                    <a:cubicBezTo>
                      <a:pt x="1909" y="136"/>
                      <a:pt x="1908" y="132"/>
                      <a:pt x="1918" y="134"/>
                    </a:cubicBezTo>
                    <a:lnTo>
                      <a:pt x="1912" y="136"/>
                    </a:lnTo>
                    <a:cubicBezTo>
                      <a:pt x="1920" y="135"/>
                      <a:pt x="1923" y="136"/>
                      <a:pt x="1934" y="136"/>
                    </a:cubicBezTo>
                    <a:cubicBezTo>
                      <a:pt x="1934" y="138"/>
                      <a:pt x="1930" y="137"/>
                      <a:pt x="1926" y="137"/>
                    </a:cubicBezTo>
                    <a:cubicBezTo>
                      <a:pt x="1932" y="141"/>
                      <a:pt x="1937" y="135"/>
                      <a:pt x="1940" y="136"/>
                    </a:cubicBezTo>
                    <a:cubicBezTo>
                      <a:pt x="1939" y="135"/>
                      <a:pt x="1931" y="134"/>
                      <a:pt x="1935" y="131"/>
                    </a:cubicBezTo>
                    <a:cubicBezTo>
                      <a:pt x="1941" y="132"/>
                      <a:pt x="1947" y="128"/>
                      <a:pt x="1951" y="131"/>
                    </a:cubicBezTo>
                    <a:lnTo>
                      <a:pt x="1945" y="134"/>
                    </a:lnTo>
                    <a:cubicBezTo>
                      <a:pt x="1956" y="132"/>
                      <a:pt x="1951" y="130"/>
                      <a:pt x="1964" y="131"/>
                    </a:cubicBezTo>
                    <a:cubicBezTo>
                      <a:pt x="1963" y="131"/>
                      <a:pt x="1963" y="132"/>
                      <a:pt x="1963" y="133"/>
                    </a:cubicBezTo>
                    <a:cubicBezTo>
                      <a:pt x="1971" y="129"/>
                      <a:pt x="1982" y="132"/>
                      <a:pt x="1994" y="132"/>
                    </a:cubicBezTo>
                    <a:lnTo>
                      <a:pt x="1992" y="133"/>
                    </a:lnTo>
                    <a:cubicBezTo>
                      <a:pt x="1997" y="132"/>
                      <a:pt x="2000" y="130"/>
                      <a:pt x="2002" y="130"/>
                    </a:cubicBezTo>
                    <a:cubicBezTo>
                      <a:pt x="1995" y="128"/>
                      <a:pt x="1997" y="128"/>
                      <a:pt x="1996" y="125"/>
                    </a:cubicBezTo>
                    <a:cubicBezTo>
                      <a:pt x="2006" y="129"/>
                      <a:pt x="2010" y="120"/>
                      <a:pt x="2025" y="122"/>
                    </a:cubicBezTo>
                    <a:cubicBezTo>
                      <a:pt x="2025" y="124"/>
                      <a:pt x="2022" y="126"/>
                      <a:pt x="2017" y="124"/>
                    </a:cubicBezTo>
                    <a:cubicBezTo>
                      <a:pt x="2012" y="129"/>
                      <a:pt x="2012" y="133"/>
                      <a:pt x="2003" y="135"/>
                    </a:cubicBezTo>
                    <a:cubicBezTo>
                      <a:pt x="2008" y="134"/>
                      <a:pt x="2015" y="133"/>
                      <a:pt x="2014" y="135"/>
                    </a:cubicBezTo>
                    <a:lnTo>
                      <a:pt x="2015" y="131"/>
                    </a:lnTo>
                    <a:cubicBezTo>
                      <a:pt x="2019" y="130"/>
                      <a:pt x="2022" y="131"/>
                      <a:pt x="2024" y="131"/>
                    </a:cubicBezTo>
                    <a:cubicBezTo>
                      <a:pt x="2026" y="128"/>
                      <a:pt x="2017" y="126"/>
                      <a:pt x="2025" y="125"/>
                    </a:cubicBezTo>
                    <a:cubicBezTo>
                      <a:pt x="2034" y="123"/>
                      <a:pt x="2030" y="129"/>
                      <a:pt x="2031" y="127"/>
                    </a:cubicBezTo>
                    <a:cubicBezTo>
                      <a:pt x="2044" y="125"/>
                      <a:pt x="2036" y="122"/>
                      <a:pt x="2048" y="124"/>
                    </a:cubicBezTo>
                    <a:cubicBezTo>
                      <a:pt x="2047" y="124"/>
                      <a:pt x="2045" y="125"/>
                      <a:pt x="2044" y="124"/>
                    </a:cubicBezTo>
                    <a:cubicBezTo>
                      <a:pt x="2052" y="126"/>
                      <a:pt x="2065" y="123"/>
                      <a:pt x="2067" y="128"/>
                    </a:cubicBezTo>
                    <a:cubicBezTo>
                      <a:pt x="2066" y="130"/>
                      <a:pt x="2066" y="131"/>
                      <a:pt x="2063" y="131"/>
                    </a:cubicBezTo>
                    <a:lnTo>
                      <a:pt x="2063" y="130"/>
                    </a:lnTo>
                    <a:cubicBezTo>
                      <a:pt x="2053" y="134"/>
                      <a:pt x="2071" y="129"/>
                      <a:pt x="2068" y="134"/>
                    </a:cubicBezTo>
                    <a:cubicBezTo>
                      <a:pt x="2067" y="131"/>
                      <a:pt x="2079" y="131"/>
                      <a:pt x="2084" y="132"/>
                    </a:cubicBezTo>
                    <a:lnTo>
                      <a:pt x="2083" y="129"/>
                    </a:lnTo>
                    <a:cubicBezTo>
                      <a:pt x="2100" y="119"/>
                      <a:pt x="2082" y="135"/>
                      <a:pt x="2100" y="133"/>
                    </a:cubicBezTo>
                    <a:cubicBezTo>
                      <a:pt x="2111" y="131"/>
                      <a:pt x="2095" y="133"/>
                      <a:pt x="2102" y="130"/>
                    </a:cubicBezTo>
                    <a:cubicBezTo>
                      <a:pt x="2110" y="131"/>
                      <a:pt x="2113" y="133"/>
                      <a:pt x="2124" y="132"/>
                    </a:cubicBezTo>
                    <a:cubicBezTo>
                      <a:pt x="2127" y="133"/>
                      <a:pt x="2133" y="134"/>
                      <a:pt x="2134" y="138"/>
                    </a:cubicBezTo>
                    <a:cubicBezTo>
                      <a:pt x="2141" y="136"/>
                      <a:pt x="2155" y="139"/>
                      <a:pt x="2158" y="135"/>
                    </a:cubicBezTo>
                    <a:cubicBezTo>
                      <a:pt x="2147" y="133"/>
                      <a:pt x="2147" y="139"/>
                      <a:pt x="2133" y="135"/>
                    </a:cubicBezTo>
                    <a:lnTo>
                      <a:pt x="2137" y="132"/>
                    </a:lnTo>
                    <a:cubicBezTo>
                      <a:pt x="2146" y="132"/>
                      <a:pt x="2158" y="130"/>
                      <a:pt x="2165" y="131"/>
                    </a:cubicBezTo>
                    <a:cubicBezTo>
                      <a:pt x="2164" y="130"/>
                      <a:pt x="2163" y="129"/>
                      <a:pt x="2164" y="128"/>
                    </a:cubicBezTo>
                    <a:cubicBezTo>
                      <a:pt x="2177" y="127"/>
                      <a:pt x="2181" y="123"/>
                      <a:pt x="2194" y="124"/>
                    </a:cubicBezTo>
                    <a:cubicBezTo>
                      <a:pt x="2196" y="127"/>
                      <a:pt x="2188" y="127"/>
                      <a:pt x="2183" y="127"/>
                    </a:cubicBezTo>
                    <a:cubicBezTo>
                      <a:pt x="2191" y="129"/>
                      <a:pt x="2191" y="127"/>
                      <a:pt x="2204" y="128"/>
                    </a:cubicBezTo>
                    <a:cubicBezTo>
                      <a:pt x="2205" y="131"/>
                      <a:pt x="2196" y="128"/>
                      <a:pt x="2194" y="131"/>
                    </a:cubicBezTo>
                    <a:lnTo>
                      <a:pt x="2209" y="129"/>
                    </a:lnTo>
                    <a:cubicBezTo>
                      <a:pt x="2208" y="130"/>
                      <a:pt x="2209" y="130"/>
                      <a:pt x="2209" y="130"/>
                    </a:cubicBezTo>
                    <a:cubicBezTo>
                      <a:pt x="2211" y="125"/>
                      <a:pt x="2220" y="130"/>
                      <a:pt x="2228" y="128"/>
                    </a:cubicBezTo>
                    <a:cubicBezTo>
                      <a:pt x="2249" y="128"/>
                      <a:pt x="2252" y="121"/>
                      <a:pt x="2264" y="117"/>
                    </a:cubicBezTo>
                    <a:cubicBezTo>
                      <a:pt x="2267" y="118"/>
                      <a:pt x="2268" y="120"/>
                      <a:pt x="2266" y="121"/>
                    </a:cubicBezTo>
                    <a:cubicBezTo>
                      <a:pt x="2261" y="119"/>
                      <a:pt x="2262" y="120"/>
                      <a:pt x="2260" y="122"/>
                    </a:cubicBezTo>
                    <a:cubicBezTo>
                      <a:pt x="2268" y="121"/>
                      <a:pt x="2276" y="126"/>
                      <a:pt x="2272" y="128"/>
                    </a:cubicBezTo>
                    <a:cubicBezTo>
                      <a:pt x="2283" y="126"/>
                      <a:pt x="2268" y="125"/>
                      <a:pt x="2275" y="124"/>
                    </a:cubicBezTo>
                    <a:lnTo>
                      <a:pt x="2290" y="123"/>
                    </a:lnTo>
                    <a:cubicBezTo>
                      <a:pt x="2288" y="121"/>
                      <a:pt x="2283" y="121"/>
                      <a:pt x="2291" y="119"/>
                    </a:cubicBezTo>
                    <a:cubicBezTo>
                      <a:pt x="2297" y="118"/>
                      <a:pt x="2301" y="118"/>
                      <a:pt x="2309" y="118"/>
                    </a:cubicBezTo>
                    <a:cubicBezTo>
                      <a:pt x="2308" y="119"/>
                      <a:pt x="2312" y="121"/>
                      <a:pt x="2306" y="122"/>
                    </a:cubicBezTo>
                    <a:cubicBezTo>
                      <a:pt x="2310" y="122"/>
                      <a:pt x="2317" y="122"/>
                      <a:pt x="2319" y="120"/>
                    </a:cubicBezTo>
                    <a:cubicBezTo>
                      <a:pt x="2309" y="118"/>
                      <a:pt x="2335" y="117"/>
                      <a:pt x="2327" y="114"/>
                    </a:cubicBezTo>
                    <a:lnTo>
                      <a:pt x="2337" y="116"/>
                    </a:lnTo>
                    <a:cubicBezTo>
                      <a:pt x="2335" y="116"/>
                      <a:pt x="2335" y="117"/>
                      <a:pt x="2331" y="117"/>
                    </a:cubicBezTo>
                    <a:cubicBezTo>
                      <a:pt x="2334" y="120"/>
                      <a:pt x="2339" y="116"/>
                      <a:pt x="2343" y="115"/>
                    </a:cubicBezTo>
                    <a:cubicBezTo>
                      <a:pt x="2346" y="116"/>
                      <a:pt x="2355" y="115"/>
                      <a:pt x="2355" y="117"/>
                    </a:cubicBezTo>
                    <a:cubicBezTo>
                      <a:pt x="2358" y="116"/>
                      <a:pt x="2366" y="116"/>
                      <a:pt x="2367" y="118"/>
                    </a:cubicBezTo>
                    <a:cubicBezTo>
                      <a:pt x="2372" y="117"/>
                      <a:pt x="2368" y="115"/>
                      <a:pt x="2369" y="114"/>
                    </a:cubicBezTo>
                    <a:lnTo>
                      <a:pt x="2384" y="114"/>
                    </a:lnTo>
                    <a:cubicBezTo>
                      <a:pt x="2385" y="116"/>
                      <a:pt x="2387" y="121"/>
                      <a:pt x="2384" y="122"/>
                    </a:cubicBezTo>
                    <a:cubicBezTo>
                      <a:pt x="2390" y="120"/>
                      <a:pt x="2386" y="116"/>
                      <a:pt x="2395" y="116"/>
                    </a:cubicBezTo>
                    <a:cubicBezTo>
                      <a:pt x="2390" y="120"/>
                      <a:pt x="2407" y="118"/>
                      <a:pt x="2400" y="123"/>
                    </a:cubicBezTo>
                    <a:cubicBezTo>
                      <a:pt x="2405" y="126"/>
                      <a:pt x="2419" y="125"/>
                      <a:pt x="2427" y="123"/>
                    </a:cubicBezTo>
                    <a:cubicBezTo>
                      <a:pt x="2432" y="120"/>
                      <a:pt x="2418" y="122"/>
                      <a:pt x="2419" y="119"/>
                    </a:cubicBezTo>
                    <a:cubicBezTo>
                      <a:pt x="2441" y="117"/>
                      <a:pt x="2441" y="108"/>
                      <a:pt x="2458" y="109"/>
                    </a:cubicBezTo>
                    <a:lnTo>
                      <a:pt x="2454" y="108"/>
                    </a:lnTo>
                    <a:cubicBezTo>
                      <a:pt x="2464" y="106"/>
                      <a:pt x="2462" y="106"/>
                      <a:pt x="2468" y="103"/>
                    </a:cubicBezTo>
                    <a:cubicBezTo>
                      <a:pt x="2466" y="107"/>
                      <a:pt x="2480" y="113"/>
                      <a:pt x="2497" y="111"/>
                    </a:cubicBezTo>
                    <a:cubicBezTo>
                      <a:pt x="2498" y="109"/>
                      <a:pt x="2487" y="108"/>
                      <a:pt x="2490" y="104"/>
                    </a:cubicBezTo>
                    <a:lnTo>
                      <a:pt x="2501" y="103"/>
                    </a:lnTo>
                    <a:cubicBezTo>
                      <a:pt x="2502" y="103"/>
                      <a:pt x="2500" y="104"/>
                      <a:pt x="2499" y="105"/>
                    </a:cubicBezTo>
                    <a:cubicBezTo>
                      <a:pt x="2509" y="103"/>
                      <a:pt x="2518" y="109"/>
                      <a:pt x="2520" y="104"/>
                    </a:cubicBezTo>
                    <a:lnTo>
                      <a:pt x="2531" y="109"/>
                    </a:lnTo>
                    <a:lnTo>
                      <a:pt x="2527" y="107"/>
                    </a:lnTo>
                    <a:cubicBezTo>
                      <a:pt x="2528" y="105"/>
                      <a:pt x="2539" y="103"/>
                      <a:pt x="2541" y="103"/>
                    </a:cubicBezTo>
                    <a:cubicBezTo>
                      <a:pt x="2552" y="100"/>
                      <a:pt x="2557" y="101"/>
                      <a:pt x="2563" y="103"/>
                    </a:cubicBezTo>
                    <a:cubicBezTo>
                      <a:pt x="2561" y="102"/>
                      <a:pt x="2556" y="98"/>
                      <a:pt x="2565" y="97"/>
                    </a:cubicBezTo>
                    <a:cubicBezTo>
                      <a:pt x="2565" y="103"/>
                      <a:pt x="2583" y="98"/>
                      <a:pt x="2583" y="101"/>
                    </a:cubicBezTo>
                    <a:cubicBezTo>
                      <a:pt x="2587" y="101"/>
                      <a:pt x="2593" y="102"/>
                      <a:pt x="2594" y="100"/>
                    </a:cubicBezTo>
                    <a:lnTo>
                      <a:pt x="2593" y="104"/>
                    </a:lnTo>
                    <a:cubicBezTo>
                      <a:pt x="2594" y="98"/>
                      <a:pt x="2607" y="98"/>
                      <a:pt x="2617" y="96"/>
                    </a:cubicBezTo>
                    <a:cubicBezTo>
                      <a:pt x="2615" y="103"/>
                      <a:pt x="2628" y="94"/>
                      <a:pt x="2633" y="101"/>
                    </a:cubicBezTo>
                    <a:cubicBezTo>
                      <a:pt x="2634" y="96"/>
                      <a:pt x="2650" y="97"/>
                      <a:pt x="2652" y="93"/>
                    </a:cubicBezTo>
                    <a:cubicBezTo>
                      <a:pt x="2660" y="92"/>
                      <a:pt x="2659" y="97"/>
                      <a:pt x="2661" y="98"/>
                    </a:cubicBezTo>
                    <a:lnTo>
                      <a:pt x="2665" y="96"/>
                    </a:lnTo>
                    <a:cubicBezTo>
                      <a:pt x="2669" y="98"/>
                      <a:pt x="2683" y="97"/>
                      <a:pt x="2692" y="98"/>
                    </a:cubicBezTo>
                    <a:lnTo>
                      <a:pt x="2700" y="93"/>
                    </a:lnTo>
                    <a:lnTo>
                      <a:pt x="2703" y="95"/>
                    </a:lnTo>
                    <a:cubicBezTo>
                      <a:pt x="2704" y="93"/>
                      <a:pt x="2711" y="92"/>
                      <a:pt x="2706" y="91"/>
                    </a:cubicBezTo>
                    <a:lnTo>
                      <a:pt x="2711" y="91"/>
                    </a:lnTo>
                    <a:cubicBezTo>
                      <a:pt x="2711" y="86"/>
                      <a:pt x="2717" y="89"/>
                      <a:pt x="2725" y="86"/>
                    </a:cubicBezTo>
                    <a:cubicBezTo>
                      <a:pt x="2727" y="87"/>
                      <a:pt x="2727" y="88"/>
                      <a:pt x="2725" y="89"/>
                    </a:cubicBezTo>
                    <a:cubicBezTo>
                      <a:pt x="2729" y="88"/>
                      <a:pt x="2728" y="91"/>
                      <a:pt x="2730" y="92"/>
                    </a:cubicBezTo>
                    <a:cubicBezTo>
                      <a:pt x="2727" y="91"/>
                      <a:pt x="2745" y="82"/>
                      <a:pt x="2733" y="81"/>
                    </a:cubicBezTo>
                    <a:cubicBezTo>
                      <a:pt x="2732" y="79"/>
                      <a:pt x="2739" y="77"/>
                      <a:pt x="2743" y="78"/>
                    </a:cubicBezTo>
                    <a:lnTo>
                      <a:pt x="2746" y="82"/>
                    </a:lnTo>
                    <a:lnTo>
                      <a:pt x="2751" y="77"/>
                    </a:lnTo>
                    <a:cubicBezTo>
                      <a:pt x="2757" y="76"/>
                      <a:pt x="2761" y="78"/>
                      <a:pt x="2766" y="78"/>
                    </a:cubicBezTo>
                    <a:cubicBezTo>
                      <a:pt x="2760" y="79"/>
                      <a:pt x="2754" y="88"/>
                      <a:pt x="2769" y="86"/>
                    </a:cubicBezTo>
                    <a:cubicBezTo>
                      <a:pt x="2761" y="87"/>
                      <a:pt x="2758" y="90"/>
                      <a:pt x="2754" y="91"/>
                    </a:cubicBezTo>
                    <a:cubicBezTo>
                      <a:pt x="2757" y="91"/>
                      <a:pt x="2759" y="91"/>
                      <a:pt x="2754" y="94"/>
                    </a:cubicBezTo>
                    <a:cubicBezTo>
                      <a:pt x="2765" y="91"/>
                      <a:pt x="2758" y="91"/>
                      <a:pt x="2769" y="89"/>
                    </a:cubicBezTo>
                    <a:cubicBezTo>
                      <a:pt x="2768" y="93"/>
                      <a:pt x="2772" y="94"/>
                      <a:pt x="2781" y="94"/>
                    </a:cubicBezTo>
                    <a:lnTo>
                      <a:pt x="2774" y="92"/>
                    </a:lnTo>
                    <a:cubicBezTo>
                      <a:pt x="2774" y="92"/>
                      <a:pt x="2775" y="91"/>
                      <a:pt x="2775" y="91"/>
                    </a:cubicBezTo>
                    <a:cubicBezTo>
                      <a:pt x="2772" y="91"/>
                      <a:pt x="2771" y="90"/>
                      <a:pt x="2771" y="89"/>
                    </a:cubicBezTo>
                    <a:cubicBezTo>
                      <a:pt x="2773" y="89"/>
                      <a:pt x="2783" y="83"/>
                      <a:pt x="2785" y="85"/>
                    </a:cubicBezTo>
                    <a:cubicBezTo>
                      <a:pt x="2773" y="80"/>
                      <a:pt x="2804" y="78"/>
                      <a:pt x="2797" y="76"/>
                    </a:cubicBezTo>
                    <a:cubicBezTo>
                      <a:pt x="2798" y="74"/>
                      <a:pt x="2805" y="73"/>
                      <a:pt x="2806" y="75"/>
                    </a:cubicBezTo>
                    <a:cubicBezTo>
                      <a:pt x="2797" y="79"/>
                      <a:pt x="2814" y="79"/>
                      <a:pt x="2812" y="82"/>
                    </a:cubicBezTo>
                    <a:cubicBezTo>
                      <a:pt x="2816" y="80"/>
                      <a:pt x="2805" y="80"/>
                      <a:pt x="2809" y="78"/>
                    </a:cubicBezTo>
                    <a:cubicBezTo>
                      <a:pt x="2815" y="77"/>
                      <a:pt x="2819" y="79"/>
                      <a:pt x="2822" y="80"/>
                    </a:cubicBezTo>
                    <a:lnTo>
                      <a:pt x="2820" y="81"/>
                    </a:lnTo>
                    <a:lnTo>
                      <a:pt x="2829" y="82"/>
                    </a:lnTo>
                    <a:cubicBezTo>
                      <a:pt x="2830" y="79"/>
                      <a:pt x="2820" y="79"/>
                      <a:pt x="2828" y="77"/>
                    </a:cubicBezTo>
                    <a:cubicBezTo>
                      <a:pt x="2830" y="78"/>
                      <a:pt x="2838" y="76"/>
                      <a:pt x="2838" y="78"/>
                    </a:cubicBezTo>
                    <a:cubicBezTo>
                      <a:pt x="2834" y="81"/>
                      <a:pt x="2837" y="84"/>
                      <a:pt x="2831" y="85"/>
                    </a:cubicBezTo>
                    <a:cubicBezTo>
                      <a:pt x="2836" y="84"/>
                      <a:pt x="2854" y="82"/>
                      <a:pt x="2846" y="79"/>
                    </a:cubicBezTo>
                    <a:lnTo>
                      <a:pt x="2853" y="79"/>
                    </a:lnTo>
                    <a:cubicBezTo>
                      <a:pt x="2849" y="77"/>
                      <a:pt x="2837" y="76"/>
                      <a:pt x="2850" y="74"/>
                    </a:cubicBezTo>
                    <a:lnTo>
                      <a:pt x="2850" y="75"/>
                    </a:lnTo>
                    <a:lnTo>
                      <a:pt x="2859" y="71"/>
                    </a:lnTo>
                    <a:lnTo>
                      <a:pt x="2863" y="72"/>
                    </a:lnTo>
                    <a:cubicBezTo>
                      <a:pt x="2863" y="71"/>
                      <a:pt x="2864" y="70"/>
                      <a:pt x="2867" y="70"/>
                    </a:cubicBezTo>
                    <a:cubicBezTo>
                      <a:pt x="2868" y="71"/>
                      <a:pt x="2872" y="71"/>
                      <a:pt x="2872" y="73"/>
                    </a:cubicBezTo>
                    <a:cubicBezTo>
                      <a:pt x="2881" y="71"/>
                      <a:pt x="2880" y="69"/>
                      <a:pt x="2882" y="68"/>
                    </a:cubicBezTo>
                    <a:cubicBezTo>
                      <a:pt x="2887" y="67"/>
                      <a:pt x="2889" y="68"/>
                      <a:pt x="2887" y="70"/>
                    </a:cubicBezTo>
                    <a:cubicBezTo>
                      <a:pt x="2895" y="70"/>
                      <a:pt x="2908" y="68"/>
                      <a:pt x="2913" y="69"/>
                    </a:cubicBezTo>
                    <a:cubicBezTo>
                      <a:pt x="2923" y="66"/>
                      <a:pt x="2911" y="69"/>
                      <a:pt x="2916" y="66"/>
                    </a:cubicBezTo>
                    <a:cubicBezTo>
                      <a:pt x="2926" y="71"/>
                      <a:pt x="2950" y="64"/>
                      <a:pt x="2967" y="61"/>
                    </a:cubicBezTo>
                    <a:cubicBezTo>
                      <a:pt x="2961" y="56"/>
                      <a:pt x="2971" y="60"/>
                      <a:pt x="2973" y="54"/>
                    </a:cubicBezTo>
                    <a:cubicBezTo>
                      <a:pt x="2970" y="56"/>
                      <a:pt x="2990" y="57"/>
                      <a:pt x="2975" y="60"/>
                    </a:cubicBezTo>
                    <a:lnTo>
                      <a:pt x="2984" y="58"/>
                    </a:lnTo>
                    <a:cubicBezTo>
                      <a:pt x="2990" y="61"/>
                      <a:pt x="2970" y="63"/>
                      <a:pt x="2979" y="66"/>
                    </a:cubicBezTo>
                    <a:cubicBezTo>
                      <a:pt x="2989" y="64"/>
                      <a:pt x="2995" y="57"/>
                      <a:pt x="3007" y="58"/>
                    </a:cubicBezTo>
                    <a:cubicBezTo>
                      <a:pt x="3004" y="62"/>
                      <a:pt x="3016" y="55"/>
                      <a:pt x="3013" y="60"/>
                    </a:cubicBezTo>
                    <a:cubicBezTo>
                      <a:pt x="3011" y="62"/>
                      <a:pt x="3008" y="62"/>
                      <a:pt x="3005" y="63"/>
                    </a:cubicBezTo>
                    <a:lnTo>
                      <a:pt x="3007" y="63"/>
                    </a:lnTo>
                    <a:cubicBezTo>
                      <a:pt x="3029" y="61"/>
                      <a:pt x="3012" y="57"/>
                      <a:pt x="3023" y="53"/>
                    </a:cubicBezTo>
                    <a:cubicBezTo>
                      <a:pt x="3036" y="51"/>
                      <a:pt x="3034" y="55"/>
                      <a:pt x="3035" y="57"/>
                    </a:cubicBezTo>
                    <a:cubicBezTo>
                      <a:pt x="3037" y="57"/>
                      <a:pt x="3044" y="55"/>
                      <a:pt x="3047" y="54"/>
                    </a:cubicBezTo>
                    <a:cubicBezTo>
                      <a:pt x="3040" y="58"/>
                      <a:pt x="3032" y="53"/>
                      <a:pt x="3035" y="50"/>
                    </a:cubicBezTo>
                    <a:cubicBezTo>
                      <a:pt x="3042" y="54"/>
                      <a:pt x="3055" y="48"/>
                      <a:pt x="3058" y="45"/>
                    </a:cubicBezTo>
                    <a:cubicBezTo>
                      <a:pt x="3039" y="43"/>
                      <a:pt x="3045" y="47"/>
                      <a:pt x="3027" y="44"/>
                    </a:cubicBezTo>
                    <a:cubicBezTo>
                      <a:pt x="3024" y="46"/>
                      <a:pt x="3026" y="50"/>
                      <a:pt x="3015" y="50"/>
                    </a:cubicBezTo>
                    <a:cubicBezTo>
                      <a:pt x="3021" y="47"/>
                      <a:pt x="3014" y="48"/>
                      <a:pt x="3012" y="47"/>
                    </a:cubicBezTo>
                    <a:cubicBezTo>
                      <a:pt x="3014" y="50"/>
                      <a:pt x="3005" y="49"/>
                      <a:pt x="3002" y="51"/>
                    </a:cubicBezTo>
                    <a:cubicBezTo>
                      <a:pt x="2998" y="49"/>
                      <a:pt x="3007" y="44"/>
                      <a:pt x="2996" y="45"/>
                    </a:cubicBezTo>
                    <a:lnTo>
                      <a:pt x="2995" y="51"/>
                    </a:lnTo>
                    <a:cubicBezTo>
                      <a:pt x="2991" y="51"/>
                      <a:pt x="2996" y="46"/>
                      <a:pt x="2988" y="49"/>
                    </a:cubicBezTo>
                    <a:cubicBezTo>
                      <a:pt x="2992" y="45"/>
                      <a:pt x="2985" y="45"/>
                      <a:pt x="2997" y="42"/>
                    </a:cubicBezTo>
                    <a:cubicBezTo>
                      <a:pt x="2982" y="39"/>
                      <a:pt x="2976" y="48"/>
                      <a:pt x="2965" y="51"/>
                    </a:cubicBezTo>
                    <a:cubicBezTo>
                      <a:pt x="2966" y="51"/>
                      <a:pt x="2966" y="50"/>
                      <a:pt x="2967" y="49"/>
                    </a:cubicBezTo>
                    <a:cubicBezTo>
                      <a:pt x="2965" y="51"/>
                      <a:pt x="2960" y="52"/>
                      <a:pt x="2957" y="52"/>
                    </a:cubicBezTo>
                    <a:cubicBezTo>
                      <a:pt x="2950" y="52"/>
                      <a:pt x="2963" y="49"/>
                      <a:pt x="2960" y="48"/>
                    </a:cubicBezTo>
                    <a:lnTo>
                      <a:pt x="2949" y="49"/>
                    </a:lnTo>
                    <a:cubicBezTo>
                      <a:pt x="2948" y="49"/>
                      <a:pt x="2948" y="49"/>
                      <a:pt x="2948" y="49"/>
                    </a:cubicBezTo>
                    <a:cubicBezTo>
                      <a:pt x="2945" y="50"/>
                      <a:pt x="2942" y="51"/>
                      <a:pt x="2941" y="50"/>
                    </a:cubicBezTo>
                    <a:cubicBezTo>
                      <a:pt x="2944" y="47"/>
                      <a:pt x="2945" y="45"/>
                      <a:pt x="2948" y="44"/>
                    </a:cubicBezTo>
                    <a:lnTo>
                      <a:pt x="2936" y="49"/>
                    </a:lnTo>
                    <a:cubicBezTo>
                      <a:pt x="2937" y="47"/>
                      <a:pt x="2925" y="47"/>
                      <a:pt x="2934" y="45"/>
                    </a:cubicBezTo>
                    <a:lnTo>
                      <a:pt x="2915" y="48"/>
                    </a:lnTo>
                    <a:lnTo>
                      <a:pt x="2913" y="44"/>
                    </a:lnTo>
                    <a:cubicBezTo>
                      <a:pt x="2909" y="45"/>
                      <a:pt x="2909" y="46"/>
                      <a:pt x="2914" y="46"/>
                    </a:cubicBezTo>
                    <a:cubicBezTo>
                      <a:pt x="2907" y="46"/>
                      <a:pt x="2887" y="56"/>
                      <a:pt x="2889" y="48"/>
                    </a:cubicBezTo>
                    <a:cubicBezTo>
                      <a:pt x="2875" y="53"/>
                      <a:pt x="2869" y="52"/>
                      <a:pt x="2852" y="56"/>
                    </a:cubicBezTo>
                    <a:cubicBezTo>
                      <a:pt x="2865" y="51"/>
                      <a:pt x="2836" y="53"/>
                      <a:pt x="2850" y="50"/>
                    </a:cubicBezTo>
                    <a:cubicBezTo>
                      <a:pt x="2841" y="49"/>
                      <a:pt x="2840" y="54"/>
                      <a:pt x="2833" y="55"/>
                    </a:cubicBezTo>
                    <a:cubicBezTo>
                      <a:pt x="2827" y="54"/>
                      <a:pt x="2829" y="50"/>
                      <a:pt x="2836" y="48"/>
                    </a:cubicBezTo>
                    <a:lnTo>
                      <a:pt x="2828" y="50"/>
                    </a:lnTo>
                    <a:lnTo>
                      <a:pt x="2828" y="50"/>
                    </a:lnTo>
                    <a:lnTo>
                      <a:pt x="2822" y="52"/>
                    </a:lnTo>
                    <a:cubicBezTo>
                      <a:pt x="2814" y="51"/>
                      <a:pt x="2820" y="49"/>
                      <a:pt x="2812" y="49"/>
                    </a:cubicBezTo>
                    <a:lnTo>
                      <a:pt x="2811" y="53"/>
                    </a:lnTo>
                    <a:lnTo>
                      <a:pt x="2805" y="51"/>
                    </a:lnTo>
                    <a:cubicBezTo>
                      <a:pt x="2808" y="52"/>
                      <a:pt x="2803" y="54"/>
                      <a:pt x="2798" y="54"/>
                    </a:cubicBezTo>
                    <a:lnTo>
                      <a:pt x="2798" y="54"/>
                    </a:lnTo>
                    <a:lnTo>
                      <a:pt x="2791" y="55"/>
                    </a:lnTo>
                    <a:cubicBezTo>
                      <a:pt x="2798" y="52"/>
                      <a:pt x="2785" y="55"/>
                      <a:pt x="2788" y="52"/>
                    </a:cubicBezTo>
                    <a:cubicBezTo>
                      <a:pt x="2782" y="52"/>
                      <a:pt x="2782" y="53"/>
                      <a:pt x="2772" y="54"/>
                    </a:cubicBezTo>
                    <a:lnTo>
                      <a:pt x="2774" y="56"/>
                    </a:lnTo>
                    <a:cubicBezTo>
                      <a:pt x="2761" y="60"/>
                      <a:pt x="2773" y="53"/>
                      <a:pt x="2762" y="54"/>
                    </a:cubicBezTo>
                    <a:lnTo>
                      <a:pt x="2763" y="56"/>
                    </a:lnTo>
                    <a:cubicBezTo>
                      <a:pt x="2747" y="53"/>
                      <a:pt x="2737" y="62"/>
                      <a:pt x="2725" y="60"/>
                    </a:cubicBezTo>
                    <a:cubicBezTo>
                      <a:pt x="2731" y="58"/>
                      <a:pt x="2729" y="55"/>
                      <a:pt x="2729" y="56"/>
                    </a:cubicBezTo>
                    <a:cubicBezTo>
                      <a:pt x="2719" y="58"/>
                      <a:pt x="2703" y="59"/>
                      <a:pt x="2693" y="63"/>
                    </a:cubicBezTo>
                    <a:cubicBezTo>
                      <a:pt x="2689" y="59"/>
                      <a:pt x="2688" y="58"/>
                      <a:pt x="2677" y="57"/>
                    </a:cubicBezTo>
                    <a:cubicBezTo>
                      <a:pt x="2670" y="58"/>
                      <a:pt x="2669" y="59"/>
                      <a:pt x="2666" y="61"/>
                    </a:cubicBezTo>
                    <a:cubicBezTo>
                      <a:pt x="2659" y="61"/>
                      <a:pt x="2645" y="64"/>
                      <a:pt x="2644" y="61"/>
                    </a:cubicBezTo>
                    <a:cubicBezTo>
                      <a:pt x="2643" y="63"/>
                      <a:pt x="2637" y="61"/>
                      <a:pt x="2634" y="63"/>
                    </a:cubicBezTo>
                    <a:lnTo>
                      <a:pt x="2633" y="62"/>
                    </a:lnTo>
                    <a:lnTo>
                      <a:pt x="2633" y="65"/>
                    </a:lnTo>
                    <a:cubicBezTo>
                      <a:pt x="2620" y="60"/>
                      <a:pt x="2611" y="70"/>
                      <a:pt x="2598" y="66"/>
                    </a:cubicBezTo>
                    <a:lnTo>
                      <a:pt x="2600" y="65"/>
                    </a:lnTo>
                    <a:lnTo>
                      <a:pt x="2594" y="66"/>
                    </a:lnTo>
                    <a:cubicBezTo>
                      <a:pt x="2593" y="65"/>
                      <a:pt x="2596" y="64"/>
                      <a:pt x="2596" y="63"/>
                    </a:cubicBezTo>
                    <a:lnTo>
                      <a:pt x="2570" y="64"/>
                    </a:lnTo>
                    <a:lnTo>
                      <a:pt x="2575" y="66"/>
                    </a:lnTo>
                    <a:cubicBezTo>
                      <a:pt x="2569" y="67"/>
                      <a:pt x="2566" y="70"/>
                      <a:pt x="2559" y="68"/>
                    </a:cubicBezTo>
                    <a:cubicBezTo>
                      <a:pt x="2570" y="64"/>
                      <a:pt x="2551" y="69"/>
                      <a:pt x="2549" y="66"/>
                    </a:cubicBezTo>
                    <a:lnTo>
                      <a:pt x="2554" y="64"/>
                    </a:lnTo>
                    <a:cubicBezTo>
                      <a:pt x="2547" y="65"/>
                      <a:pt x="2547" y="65"/>
                      <a:pt x="2548" y="68"/>
                    </a:cubicBezTo>
                    <a:cubicBezTo>
                      <a:pt x="2538" y="69"/>
                      <a:pt x="2540" y="63"/>
                      <a:pt x="2531" y="66"/>
                    </a:cubicBezTo>
                    <a:lnTo>
                      <a:pt x="2538" y="66"/>
                    </a:lnTo>
                    <a:cubicBezTo>
                      <a:pt x="2540" y="68"/>
                      <a:pt x="2535" y="70"/>
                      <a:pt x="2531" y="70"/>
                    </a:cubicBezTo>
                    <a:cubicBezTo>
                      <a:pt x="2530" y="70"/>
                      <a:pt x="2527" y="69"/>
                      <a:pt x="2530" y="68"/>
                    </a:cubicBezTo>
                    <a:cubicBezTo>
                      <a:pt x="2522" y="70"/>
                      <a:pt x="2511" y="69"/>
                      <a:pt x="2507" y="71"/>
                    </a:cubicBezTo>
                    <a:cubicBezTo>
                      <a:pt x="2503" y="70"/>
                      <a:pt x="2504" y="68"/>
                      <a:pt x="2506" y="67"/>
                    </a:cubicBezTo>
                    <a:cubicBezTo>
                      <a:pt x="2490" y="71"/>
                      <a:pt x="2499" y="67"/>
                      <a:pt x="2482" y="71"/>
                    </a:cubicBezTo>
                    <a:lnTo>
                      <a:pt x="2482" y="69"/>
                    </a:lnTo>
                    <a:lnTo>
                      <a:pt x="2477" y="71"/>
                    </a:lnTo>
                    <a:lnTo>
                      <a:pt x="2468" y="68"/>
                    </a:lnTo>
                    <a:lnTo>
                      <a:pt x="2471" y="70"/>
                    </a:lnTo>
                    <a:cubicBezTo>
                      <a:pt x="2466" y="71"/>
                      <a:pt x="2462" y="72"/>
                      <a:pt x="2456" y="72"/>
                    </a:cubicBezTo>
                    <a:lnTo>
                      <a:pt x="2458" y="69"/>
                    </a:lnTo>
                    <a:cubicBezTo>
                      <a:pt x="2443" y="71"/>
                      <a:pt x="2440" y="66"/>
                      <a:pt x="2426" y="70"/>
                    </a:cubicBezTo>
                    <a:cubicBezTo>
                      <a:pt x="2425" y="70"/>
                      <a:pt x="2427" y="69"/>
                      <a:pt x="2428" y="69"/>
                    </a:cubicBezTo>
                    <a:cubicBezTo>
                      <a:pt x="2415" y="73"/>
                      <a:pt x="2418" y="65"/>
                      <a:pt x="2404" y="70"/>
                    </a:cubicBezTo>
                    <a:cubicBezTo>
                      <a:pt x="2405" y="70"/>
                      <a:pt x="2403" y="69"/>
                      <a:pt x="2404" y="68"/>
                    </a:cubicBezTo>
                    <a:lnTo>
                      <a:pt x="2398" y="70"/>
                    </a:lnTo>
                    <a:lnTo>
                      <a:pt x="2398" y="67"/>
                    </a:lnTo>
                    <a:lnTo>
                      <a:pt x="2393" y="71"/>
                    </a:lnTo>
                    <a:lnTo>
                      <a:pt x="2389" y="68"/>
                    </a:lnTo>
                    <a:lnTo>
                      <a:pt x="2387" y="70"/>
                    </a:lnTo>
                    <a:cubicBezTo>
                      <a:pt x="2380" y="65"/>
                      <a:pt x="2370" y="69"/>
                      <a:pt x="2361" y="65"/>
                    </a:cubicBezTo>
                    <a:lnTo>
                      <a:pt x="2363" y="69"/>
                    </a:lnTo>
                    <a:cubicBezTo>
                      <a:pt x="2340" y="79"/>
                      <a:pt x="2310" y="67"/>
                      <a:pt x="2282" y="72"/>
                    </a:cubicBezTo>
                    <a:lnTo>
                      <a:pt x="2283" y="69"/>
                    </a:lnTo>
                    <a:lnTo>
                      <a:pt x="2271" y="73"/>
                    </a:lnTo>
                    <a:cubicBezTo>
                      <a:pt x="2265" y="71"/>
                      <a:pt x="2275" y="70"/>
                      <a:pt x="2273" y="69"/>
                    </a:cubicBezTo>
                    <a:cubicBezTo>
                      <a:pt x="2261" y="71"/>
                      <a:pt x="2268" y="73"/>
                      <a:pt x="2254" y="75"/>
                    </a:cubicBezTo>
                    <a:cubicBezTo>
                      <a:pt x="2246" y="73"/>
                      <a:pt x="2256" y="72"/>
                      <a:pt x="2259" y="71"/>
                    </a:cubicBezTo>
                    <a:cubicBezTo>
                      <a:pt x="2246" y="73"/>
                      <a:pt x="2226" y="76"/>
                      <a:pt x="2217" y="74"/>
                    </a:cubicBezTo>
                    <a:cubicBezTo>
                      <a:pt x="2217" y="75"/>
                      <a:pt x="2216" y="75"/>
                      <a:pt x="2217" y="75"/>
                    </a:cubicBezTo>
                    <a:cubicBezTo>
                      <a:pt x="2208" y="77"/>
                      <a:pt x="2196" y="76"/>
                      <a:pt x="2186" y="76"/>
                    </a:cubicBezTo>
                    <a:cubicBezTo>
                      <a:pt x="2186" y="75"/>
                      <a:pt x="2189" y="75"/>
                      <a:pt x="2191" y="74"/>
                    </a:cubicBezTo>
                    <a:cubicBezTo>
                      <a:pt x="2187" y="74"/>
                      <a:pt x="2183" y="73"/>
                      <a:pt x="2180" y="75"/>
                    </a:cubicBezTo>
                    <a:lnTo>
                      <a:pt x="2183" y="72"/>
                    </a:lnTo>
                    <a:cubicBezTo>
                      <a:pt x="2176" y="72"/>
                      <a:pt x="2161" y="74"/>
                      <a:pt x="2159" y="71"/>
                    </a:cubicBezTo>
                    <a:cubicBezTo>
                      <a:pt x="2160" y="72"/>
                      <a:pt x="2160" y="75"/>
                      <a:pt x="2153" y="75"/>
                    </a:cubicBezTo>
                    <a:cubicBezTo>
                      <a:pt x="2150" y="70"/>
                      <a:pt x="2136" y="77"/>
                      <a:pt x="2125" y="75"/>
                    </a:cubicBezTo>
                    <a:cubicBezTo>
                      <a:pt x="2126" y="74"/>
                      <a:pt x="2134" y="73"/>
                      <a:pt x="2132" y="73"/>
                    </a:cubicBezTo>
                    <a:cubicBezTo>
                      <a:pt x="2127" y="72"/>
                      <a:pt x="2122" y="75"/>
                      <a:pt x="2117" y="76"/>
                    </a:cubicBezTo>
                    <a:lnTo>
                      <a:pt x="2119" y="74"/>
                    </a:lnTo>
                    <a:lnTo>
                      <a:pt x="2094" y="77"/>
                    </a:lnTo>
                    <a:cubicBezTo>
                      <a:pt x="2091" y="73"/>
                      <a:pt x="2071" y="78"/>
                      <a:pt x="2073" y="75"/>
                    </a:cubicBezTo>
                    <a:cubicBezTo>
                      <a:pt x="2064" y="75"/>
                      <a:pt x="2080" y="77"/>
                      <a:pt x="2069" y="78"/>
                    </a:cubicBezTo>
                    <a:cubicBezTo>
                      <a:pt x="2066" y="76"/>
                      <a:pt x="2059" y="79"/>
                      <a:pt x="2060" y="76"/>
                    </a:cubicBezTo>
                    <a:lnTo>
                      <a:pt x="2061" y="75"/>
                    </a:lnTo>
                    <a:lnTo>
                      <a:pt x="2053" y="75"/>
                    </a:lnTo>
                    <a:lnTo>
                      <a:pt x="2058" y="72"/>
                    </a:lnTo>
                    <a:cubicBezTo>
                      <a:pt x="2051" y="73"/>
                      <a:pt x="2046" y="76"/>
                      <a:pt x="2046" y="79"/>
                    </a:cubicBezTo>
                    <a:cubicBezTo>
                      <a:pt x="2040" y="77"/>
                      <a:pt x="2031" y="78"/>
                      <a:pt x="2028" y="76"/>
                    </a:cubicBezTo>
                    <a:lnTo>
                      <a:pt x="2030" y="75"/>
                    </a:lnTo>
                    <a:cubicBezTo>
                      <a:pt x="2013" y="76"/>
                      <a:pt x="2001" y="67"/>
                      <a:pt x="1987" y="72"/>
                    </a:cubicBezTo>
                    <a:cubicBezTo>
                      <a:pt x="1986" y="72"/>
                      <a:pt x="1986" y="71"/>
                      <a:pt x="1988" y="71"/>
                    </a:cubicBezTo>
                    <a:lnTo>
                      <a:pt x="1977" y="71"/>
                    </a:lnTo>
                    <a:lnTo>
                      <a:pt x="1980" y="68"/>
                    </a:lnTo>
                    <a:lnTo>
                      <a:pt x="1962" y="72"/>
                    </a:lnTo>
                    <a:lnTo>
                      <a:pt x="1962" y="71"/>
                    </a:lnTo>
                    <a:cubicBezTo>
                      <a:pt x="1950" y="70"/>
                      <a:pt x="1932" y="71"/>
                      <a:pt x="1916" y="71"/>
                    </a:cubicBezTo>
                    <a:lnTo>
                      <a:pt x="1919" y="70"/>
                    </a:lnTo>
                    <a:cubicBezTo>
                      <a:pt x="1902" y="73"/>
                      <a:pt x="1902" y="69"/>
                      <a:pt x="1890" y="70"/>
                    </a:cubicBezTo>
                    <a:cubicBezTo>
                      <a:pt x="1891" y="70"/>
                      <a:pt x="1891" y="70"/>
                      <a:pt x="1891" y="70"/>
                    </a:cubicBezTo>
                    <a:lnTo>
                      <a:pt x="1880" y="70"/>
                    </a:lnTo>
                    <a:lnTo>
                      <a:pt x="1883" y="68"/>
                    </a:lnTo>
                    <a:cubicBezTo>
                      <a:pt x="1875" y="71"/>
                      <a:pt x="1860" y="64"/>
                      <a:pt x="1865" y="66"/>
                    </a:cubicBezTo>
                    <a:cubicBezTo>
                      <a:pt x="1860" y="68"/>
                      <a:pt x="1852" y="70"/>
                      <a:pt x="1851" y="72"/>
                    </a:cubicBezTo>
                    <a:cubicBezTo>
                      <a:pt x="1839" y="72"/>
                      <a:pt x="1848" y="70"/>
                      <a:pt x="1840" y="68"/>
                    </a:cubicBezTo>
                    <a:cubicBezTo>
                      <a:pt x="1832" y="68"/>
                      <a:pt x="1830" y="71"/>
                      <a:pt x="1818" y="69"/>
                    </a:cubicBezTo>
                    <a:lnTo>
                      <a:pt x="1819" y="68"/>
                    </a:lnTo>
                    <a:cubicBezTo>
                      <a:pt x="1813" y="68"/>
                      <a:pt x="1810" y="69"/>
                      <a:pt x="1802" y="69"/>
                    </a:cubicBezTo>
                    <a:lnTo>
                      <a:pt x="1804" y="68"/>
                    </a:lnTo>
                    <a:cubicBezTo>
                      <a:pt x="1792" y="71"/>
                      <a:pt x="1789" y="63"/>
                      <a:pt x="1779" y="70"/>
                    </a:cubicBezTo>
                    <a:cubicBezTo>
                      <a:pt x="1773" y="68"/>
                      <a:pt x="1763" y="69"/>
                      <a:pt x="1764" y="66"/>
                    </a:cubicBezTo>
                    <a:cubicBezTo>
                      <a:pt x="1748" y="68"/>
                      <a:pt x="1736" y="68"/>
                      <a:pt x="1721" y="69"/>
                    </a:cubicBezTo>
                    <a:cubicBezTo>
                      <a:pt x="1718" y="64"/>
                      <a:pt x="1717" y="69"/>
                      <a:pt x="1708" y="66"/>
                    </a:cubicBezTo>
                    <a:lnTo>
                      <a:pt x="1709" y="69"/>
                    </a:lnTo>
                    <a:cubicBezTo>
                      <a:pt x="1687" y="69"/>
                      <a:pt x="1662" y="62"/>
                      <a:pt x="1638" y="62"/>
                    </a:cubicBezTo>
                    <a:lnTo>
                      <a:pt x="1637" y="59"/>
                    </a:lnTo>
                    <a:lnTo>
                      <a:pt x="1632" y="62"/>
                    </a:lnTo>
                    <a:cubicBezTo>
                      <a:pt x="1606" y="60"/>
                      <a:pt x="1572" y="58"/>
                      <a:pt x="1551" y="57"/>
                    </a:cubicBezTo>
                    <a:cubicBezTo>
                      <a:pt x="1545" y="58"/>
                      <a:pt x="1534" y="61"/>
                      <a:pt x="1523" y="60"/>
                    </a:cubicBezTo>
                    <a:lnTo>
                      <a:pt x="1524" y="59"/>
                    </a:lnTo>
                    <a:cubicBezTo>
                      <a:pt x="1506" y="60"/>
                      <a:pt x="1486" y="61"/>
                      <a:pt x="1465" y="58"/>
                    </a:cubicBezTo>
                    <a:cubicBezTo>
                      <a:pt x="1466" y="57"/>
                      <a:pt x="1464" y="56"/>
                      <a:pt x="1467" y="56"/>
                    </a:cubicBezTo>
                    <a:cubicBezTo>
                      <a:pt x="1462" y="59"/>
                      <a:pt x="1455" y="55"/>
                      <a:pt x="1450" y="55"/>
                    </a:cubicBezTo>
                    <a:lnTo>
                      <a:pt x="1455" y="57"/>
                    </a:lnTo>
                    <a:cubicBezTo>
                      <a:pt x="1449" y="60"/>
                      <a:pt x="1441" y="57"/>
                      <a:pt x="1438" y="55"/>
                    </a:cubicBezTo>
                    <a:lnTo>
                      <a:pt x="1429" y="58"/>
                    </a:lnTo>
                    <a:cubicBezTo>
                      <a:pt x="1428" y="57"/>
                      <a:pt x="1427" y="57"/>
                      <a:pt x="1427" y="56"/>
                    </a:cubicBezTo>
                    <a:lnTo>
                      <a:pt x="1426" y="58"/>
                    </a:lnTo>
                    <a:lnTo>
                      <a:pt x="1421" y="54"/>
                    </a:lnTo>
                    <a:cubicBezTo>
                      <a:pt x="1418" y="55"/>
                      <a:pt x="1406" y="55"/>
                      <a:pt x="1402" y="58"/>
                    </a:cubicBezTo>
                    <a:cubicBezTo>
                      <a:pt x="1401" y="57"/>
                      <a:pt x="1393" y="56"/>
                      <a:pt x="1399" y="56"/>
                    </a:cubicBezTo>
                    <a:lnTo>
                      <a:pt x="1366" y="53"/>
                    </a:lnTo>
                    <a:lnTo>
                      <a:pt x="1371" y="55"/>
                    </a:lnTo>
                    <a:cubicBezTo>
                      <a:pt x="1372" y="58"/>
                      <a:pt x="1361" y="59"/>
                      <a:pt x="1356" y="58"/>
                    </a:cubicBezTo>
                    <a:cubicBezTo>
                      <a:pt x="1363" y="56"/>
                      <a:pt x="1357" y="54"/>
                      <a:pt x="1354" y="52"/>
                    </a:cubicBezTo>
                    <a:cubicBezTo>
                      <a:pt x="1349" y="53"/>
                      <a:pt x="1358" y="54"/>
                      <a:pt x="1355" y="56"/>
                    </a:cubicBezTo>
                    <a:cubicBezTo>
                      <a:pt x="1350" y="57"/>
                      <a:pt x="1337" y="58"/>
                      <a:pt x="1334" y="56"/>
                    </a:cubicBezTo>
                    <a:lnTo>
                      <a:pt x="1338" y="55"/>
                    </a:lnTo>
                    <a:cubicBezTo>
                      <a:pt x="1330" y="56"/>
                      <a:pt x="1326" y="51"/>
                      <a:pt x="1319" y="51"/>
                    </a:cubicBezTo>
                    <a:cubicBezTo>
                      <a:pt x="1312" y="53"/>
                      <a:pt x="1307" y="51"/>
                      <a:pt x="1308" y="56"/>
                    </a:cubicBezTo>
                    <a:cubicBezTo>
                      <a:pt x="1298" y="56"/>
                      <a:pt x="1304" y="52"/>
                      <a:pt x="1301" y="52"/>
                    </a:cubicBezTo>
                    <a:cubicBezTo>
                      <a:pt x="1296" y="54"/>
                      <a:pt x="1282" y="52"/>
                      <a:pt x="1280" y="50"/>
                    </a:cubicBezTo>
                    <a:cubicBezTo>
                      <a:pt x="1275" y="56"/>
                      <a:pt x="1254" y="46"/>
                      <a:pt x="1251" y="52"/>
                    </a:cubicBezTo>
                    <a:lnTo>
                      <a:pt x="1243" y="48"/>
                    </a:lnTo>
                    <a:cubicBezTo>
                      <a:pt x="1243" y="50"/>
                      <a:pt x="1241" y="53"/>
                      <a:pt x="1234" y="54"/>
                    </a:cubicBezTo>
                    <a:cubicBezTo>
                      <a:pt x="1228" y="52"/>
                      <a:pt x="1230" y="49"/>
                      <a:pt x="1228" y="47"/>
                    </a:cubicBezTo>
                    <a:lnTo>
                      <a:pt x="1223" y="53"/>
                    </a:lnTo>
                    <a:cubicBezTo>
                      <a:pt x="1187" y="46"/>
                      <a:pt x="1140" y="48"/>
                      <a:pt x="1100" y="42"/>
                    </a:cubicBezTo>
                    <a:cubicBezTo>
                      <a:pt x="1082" y="42"/>
                      <a:pt x="1060" y="44"/>
                      <a:pt x="1039" y="43"/>
                    </a:cubicBezTo>
                    <a:lnTo>
                      <a:pt x="1041" y="42"/>
                    </a:lnTo>
                    <a:lnTo>
                      <a:pt x="1021" y="40"/>
                    </a:lnTo>
                    <a:lnTo>
                      <a:pt x="1036" y="43"/>
                    </a:lnTo>
                    <a:cubicBezTo>
                      <a:pt x="1031" y="43"/>
                      <a:pt x="1028" y="44"/>
                      <a:pt x="1023" y="44"/>
                    </a:cubicBezTo>
                    <a:cubicBezTo>
                      <a:pt x="1001" y="41"/>
                      <a:pt x="971" y="37"/>
                      <a:pt x="943" y="39"/>
                    </a:cubicBezTo>
                    <a:cubicBezTo>
                      <a:pt x="925" y="45"/>
                      <a:pt x="931" y="33"/>
                      <a:pt x="914" y="37"/>
                    </a:cubicBezTo>
                    <a:cubicBezTo>
                      <a:pt x="915" y="36"/>
                      <a:pt x="916" y="36"/>
                      <a:pt x="917" y="35"/>
                    </a:cubicBezTo>
                    <a:cubicBezTo>
                      <a:pt x="899" y="36"/>
                      <a:pt x="888" y="37"/>
                      <a:pt x="870" y="41"/>
                    </a:cubicBezTo>
                    <a:cubicBezTo>
                      <a:pt x="872" y="34"/>
                      <a:pt x="858" y="40"/>
                      <a:pt x="859" y="37"/>
                    </a:cubicBezTo>
                    <a:lnTo>
                      <a:pt x="858" y="40"/>
                    </a:lnTo>
                    <a:cubicBezTo>
                      <a:pt x="854" y="38"/>
                      <a:pt x="844" y="37"/>
                      <a:pt x="845" y="35"/>
                    </a:cubicBezTo>
                    <a:lnTo>
                      <a:pt x="837" y="38"/>
                    </a:lnTo>
                    <a:lnTo>
                      <a:pt x="836" y="35"/>
                    </a:lnTo>
                    <a:cubicBezTo>
                      <a:pt x="826" y="35"/>
                      <a:pt x="802" y="36"/>
                      <a:pt x="797" y="30"/>
                    </a:cubicBezTo>
                    <a:cubicBezTo>
                      <a:pt x="770" y="34"/>
                      <a:pt x="727" y="31"/>
                      <a:pt x="693" y="29"/>
                    </a:cubicBezTo>
                    <a:cubicBezTo>
                      <a:pt x="689" y="31"/>
                      <a:pt x="679" y="31"/>
                      <a:pt x="671" y="31"/>
                    </a:cubicBezTo>
                    <a:lnTo>
                      <a:pt x="663" y="27"/>
                    </a:lnTo>
                    <a:cubicBezTo>
                      <a:pt x="655" y="28"/>
                      <a:pt x="646" y="32"/>
                      <a:pt x="639" y="29"/>
                    </a:cubicBezTo>
                    <a:cubicBezTo>
                      <a:pt x="639" y="29"/>
                      <a:pt x="640" y="29"/>
                      <a:pt x="640" y="28"/>
                    </a:cubicBezTo>
                    <a:cubicBezTo>
                      <a:pt x="632" y="29"/>
                      <a:pt x="625" y="27"/>
                      <a:pt x="617" y="30"/>
                    </a:cubicBezTo>
                    <a:cubicBezTo>
                      <a:pt x="608" y="29"/>
                      <a:pt x="600" y="27"/>
                      <a:pt x="603" y="24"/>
                    </a:cubicBezTo>
                    <a:cubicBezTo>
                      <a:pt x="602" y="30"/>
                      <a:pt x="584" y="23"/>
                      <a:pt x="584" y="23"/>
                    </a:cubicBezTo>
                    <a:cubicBezTo>
                      <a:pt x="584" y="23"/>
                      <a:pt x="556" y="21"/>
                      <a:pt x="513" y="18"/>
                    </a:cubicBezTo>
                    <a:cubicBezTo>
                      <a:pt x="469" y="15"/>
                      <a:pt x="410" y="12"/>
                      <a:pt x="347" y="9"/>
                    </a:cubicBezTo>
                    <a:cubicBezTo>
                      <a:pt x="222" y="3"/>
                      <a:pt x="82" y="0"/>
                      <a:pt x="27" y="12"/>
                    </a:cubicBezTo>
                    <a:cubicBezTo>
                      <a:pt x="23" y="15"/>
                      <a:pt x="13" y="16"/>
                      <a:pt x="16" y="19"/>
                    </a:cubicBezTo>
                    <a:cubicBezTo>
                      <a:pt x="9" y="20"/>
                      <a:pt x="5" y="15"/>
                      <a:pt x="4" y="18"/>
                    </a:cubicBezTo>
                    <a:cubicBezTo>
                      <a:pt x="14" y="20"/>
                      <a:pt x="0" y="25"/>
                      <a:pt x="10" y="28"/>
                    </a:cubicBezTo>
                    <a:lnTo>
                      <a:pt x="3" y="29"/>
                    </a:lnTo>
                    <a:cubicBezTo>
                      <a:pt x="2" y="30"/>
                      <a:pt x="13" y="27"/>
                      <a:pt x="11" y="30"/>
                    </a:cubicBezTo>
                    <a:lnTo>
                      <a:pt x="13" y="25"/>
                    </a:lnTo>
                    <a:cubicBezTo>
                      <a:pt x="18" y="26"/>
                      <a:pt x="21" y="28"/>
                      <a:pt x="23" y="29"/>
                    </a:cubicBezTo>
                    <a:cubicBezTo>
                      <a:pt x="28" y="28"/>
                      <a:pt x="32" y="21"/>
                      <a:pt x="44" y="25"/>
                    </a:cubicBezTo>
                    <a:lnTo>
                      <a:pt x="40" y="25"/>
                    </a:lnTo>
                    <a:cubicBezTo>
                      <a:pt x="50" y="25"/>
                      <a:pt x="46" y="28"/>
                      <a:pt x="48" y="29"/>
                    </a:cubicBezTo>
                    <a:lnTo>
                      <a:pt x="46" y="29"/>
                    </a:lnTo>
                    <a:lnTo>
                      <a:pt x="54" y="32"/>
                    </a:lnTo>
                    <a:cubicBezTo>
                      <a:pt x="48" y="30"/>
                      <a:pt x="38" y="34"/>
                      <a:pt x="43" y="34"/>
                    </a:cubicBezTo>
                    <a:cubicBezTo>
                      <a:pt x="55" y="35"/>
                      <a:pt x="40" y="32"/>
                      <a:pt x="49" y="32"/>
                    </a:cubicBezTo>
                    <a:cubicBezTo>
                      <a:pt x="54" y="32"/>
                      <a:pt x="53" y="35"/>
                      <a:pt x="52" y="36"/>
                    </a:cubicBezTo>
                    <a:lnTo>
                      <a:pt x="62" y="36"/>
                    </a:lnTo>
                    <a:cubicBezTo>
                      <a:pt x="62" y="39"/>
                      <a:pt x="56" y="36"/>
                      <a:pt x="60" y="39"/>
                    </a:cubicBezTo>
                    <a:lnTo>
                      <a:pt x="72" y="37"/>
                    </a:lnTo>
                    <a:cubicBezTo>
                      <a:pt x="74" y="43"/>
                      <a:pt x="86" y="35"/>
                      <a:pt x="91" y="40"/>
                    </a:cubicBezTo>
                    <a:cubicBezTo>
                      <a:pt x="82" y="41"/>
                      <a:pt x="92" y="42"/>
                      <a:pt x="91" y="44"/>
                    </a:cubicBezTo>
                    <a:lnTo>
                      <a:pt x="112" y="45"/>
                    </a:lnTo>
                    <a:cubicBezTo>
                      <a:pt x="115" y="46"/>
                      <a:pt x="107" y="46"/>
                      <a:pt x="110" y="46"/>
                    </a:cubicBezTo>
                    <a:cubicBezTo>
                      <a:pt x="114" y="48"/>
                      <a:pt x="117" y="45"/>
                      <a:pt x="119" y="45"/>
                    </a:cubicBezTo>
                    <a:cubicBezTo>
                      <a:pt x="121" y="47"/>
                      <a:pt x="135" y="46"/>
                      <a:pt x="135" y="50"/>
                    </a:cubicBezTo>
                    <a:cubicBezTo>
                      <a:pt x="149" y="53"/>
                      <a:pt x="141" y="45"/>
                      <a:pt x="155" y="48"/>
                    </a:cubicBezTo>
                    <a:cubicBezTo>
                      <a:pt x="157" y="51"/>
                      <a:pt x="144" y="48"/>
                      <a:pt x="150" y="51"/>
                    </a:cubicBezTo>
                    <a:lnTo>
                      <a:pt x="164" y="51"/>
                    </a:lnTo>
                    <a:cubicBezTo>
                      <a:pt x="163" y="52"/>
                      <a:pt x="161" y="55"/>
                      <a:pt x="156" y="54"/>
                    </a:cubicBezTo>
                    <a:cubicBezTo>
                      <a:pt x="195" y="59"/>
                      <a:pt x="215" y="72"/>
                      <a:pt x="251" y="71"/>
                    </a:cubicBezTo>
                    <a:cubicBezTo>
                      <a:pt x="256" y="74"/>
                      <a:pt x="247" y="72"/>
                      <a:pt x="244" y="74"/>
                    </a:cubicBezTo>
                    <a:cubicBezTo>
                      <a:pt x="270" y="72"/>
                      <a:pt x="280" y="82"/>
                      <a:pt x="302" y="83"/>
                    </a:cubicBezTo>
                    <a:lnTo>
                      <a:pt x="302" y="81"/>
                    </a:lnTo>
                    <a:cubicBezTo>
                      <a:pt x="332" y="89"/>
                      <a:pt x="369" y="87"/>
                      <a:pt x="404" y="91"/>
                    </a:cubicBezTo>
                    <a:lnTo>
                      <a:pt x="400" y="90"/>
                    </a:lnTo>
                    <a:cubicBezTo>
                      <a:pt x="405" y="88"/>
                      <a:pt x="412" y="88"/>
                      <a:pt x="418" y="87"/>
                    </a:cubicBezTo>
                    <a:cubicBezTo>
                      <a:pt x="419" y="88"/>
                      <a:pt x="414" y="92"/>
                      <a:pt x="424" y="91"/>
                    </a:cubicBezTo>
                    <a:cubicBezTo>
                      <a:pt x="422" y="90"/>
                      <a:pt x="418" y="89"/>
                      <a:pt x="419" y="88"/>
                    </a:cubicBezTo>
                    <a:cubicBezTo>
                      <a:pt x="449" y="96"/>
                      <a:pt x="511" y="97"/>
                      <a:pt x="560" y="102"/>
                    </a:cubicBezTo>
                    <a:cubicBezTo>
                      <a:pt x="626" y="103"/>
                      <a:pt x="698" y="110"/>
                      <a:pt x="763" y="111"/>
                    </a:cubicBezTo>
                    <a:cubicBezTo>
                      <a:pt x="753" y="110"/>
                      <a:pt x="757" y="105"/>
                      <a:pt x="764" y="106"/>
                    </a:cubicBezTo>
                    <a:cubicBezTo>
                      <a:pt x="784" y="117"/>
                      <a:pt x="800" y="106"/>
                      <a:pt x="820" y="113"/>
                    </a:cubicBezTo>
                    <a:cubicBezTo>
                      <a:pt x="858" y="112"/>
                      <a:pt x="892" y="121"/>
                      <a:pt x="927" y="115"/>
                    </a:cubicBezTo>
                    <a:lnTo>
                      <a:pt x="928" y="118"/>
                    </a:lnTo>
                    <a:cubicBezTo>
                      <a:pt x="933" y="119"/>
                      <a:pt x="934" y="117"/>
                      <a:pt x="940" y="117"/>
                    </a:cubicBezTo>
                    <a:lnTo>
                      <a:pt x="940" y="118"/>
                    </a:lnTo>
                    <a:cubicBezTo>
                      <a:pt x="953" y="119"/>
                      <a:pt x="969" y="117"/>
                      <a:pt x="976" y="119"/>
                    </a:cubicBezTo>
                    <a:lnTo>
                      <a:pt x="977" y="116"/>
                    </a:lnTo>
                    <a:cubicBezTo>
                      <a:pt x="984" y="116"/>
                      <a:pt x="981" y="118"/>
                      <a:pt x="989" y="117"/>
                    </a:cubicBezTo>
                    <a:lnTo>
                      <a:pt x="988" y="118"/>
                    </a:lnTo>
                    <a:lnTo>
                      <a:pt x="998" y="116"/>
                    </a:lnTo>
                    <a:cubicBezTo>
                      <a:pt x="997" y="121"/>
                      <a:pt x="1019" y="117"/>
                      <a:pt x="1025" y="119"/>
                    </a:cubicBezTo>
                    <a:cubicBezTo>
                      <a:pt x="1036" y="119"/>
                      <a:pt x="1055" y="117"/>
                      <a:pt x="1070" y="119"/>
                    </a:cubicBezTo>
                    <a:cubicBezTo>
                      <a:pt x="1072" y="122"/>
                      <a:pt x="1091" y="122"/>
                      <a:pt x="1103" y="124"/>
                    </a:cubicBezTo>
                    <a:cubicBezTo>
                      <a:pt x="1126" y="124"/>
                      <a:pt x="1159" y="124"/>
                      <a:pt x="1188" y="126"/>
                    </a:cubicBezTo>
                    <a:lnTo>
                      <a:pt x="1188" y="123"/>
                    </a:lnTo>
                    <a:lnTo>
                      <a:pt x="1196" y="123"/>
                    </a:lnTo>
                    <a:cubicBezTo>
                      <a:pt x="1196" y="124"/>
                      <a:pt x="1197" y="124"/>
                      <a:pt x="1195" y="124"/>
                    </a:cubicBezTo>
                    <a:cubicBezTo>
                      <a:pt x="1201" y="128"/>
                      <a:pt x="1213" y="124"/>
                      <a:pt x="1219" y="126"/>
                    </a:cubicBezTo>
                    <a:cubicBezTo>
                      <a:pt x="1216" y="123"/>
                      <a:pt x="1214" y="126"/>
                      <a:pt x="1210" y="125"/>
                    </a:cubicBezTo>
                    <a:cubicBezTo>
                      <a:pt x="1203" y="124"/>
                      <a:pt x="1209" y="120"/>
                      <a:pt x="1218" y="122"/>
                    </a:cubicBezTo>
                    <a:lnTo>
                      <a:pt x="1218" y="123"/>
                    </a:lnTo>
                    <a:lnTo>
                      <a:pt x="1224" y="122"/>
                    </a:lnTo>
                    <a:cubicBezTo>
                      <a:pt x="1224" y="124"/>
                      <a:pt x="1229" y="126"/>
                      <a:pt x="1230" y="128"/>
                    </a:cubicBezTo>
                    <a:cubicBezTo>
                      <a:pt x="1255" y="129"/>
                      <a:pt x="1273" y="125"/>
                      <a:pt x="1299" y="127"/>
                    </a:cubicBezTo>
                    <a:cubicBezTo>
                      <a:pt x="1296" y="130"/>
                      <a:pt x="1317" y="127"/>
                      <a:pt x="1312" y="132"/>
                    </a:cubicBezTo>
                    <a:cubicBezTo>
                      <a:pt x="1328" y="130"/>
                      <a:pt x="1310" y="127"/>
                      <a:pt x="1317" y="124"/>
                    </a:cubicBezTo>
                    <a:cubicBezTo>
                      <a:pt x="1321" y="124"/>
                      <a:pt x="1326" y="123"/>
                      <a:pt x="1327" y="125"/>
                    </a:cubicBezTo>
                    <a:cubicBezTo>
                      <a:pt x="1324" y="126"/>
                      <a:pt x="1330" y="128"/>
                      <a:pt x="1326" y="128"/>
                    </a:cubicBezTo>
                    <a:lnTo>
                      <a:pt x="1337" y="128"/>
                    </a:lnTo>
                    <a:cubicBezTo>
                      <a:pt x="1338" y="129"/>
                      <a:pt x="1336" y="130"/>
                      <a:pt x="1334" y="130"/>
                    </a:cubicBezTo>
                    <a:cubicBezTo>
                      <a:pt x="1356" y="128"/>
                      <a:pt x="1372" y="135"/>
                      <a:pt x="1391" y="132"/>
                    </a:cubicBezTo>
                    <a:cubicBezTo>
                      <a:pt x="1393" y="130"/>
                      <a:pt x="1384" y="131"/>
                      <a:pt x="1385" y="129"/>
                    </a:cubicBezTo>
                    <a:cubicBezTo>
                      <a:pt x="1405" y="126"/>
                      <a:pt x="1402" y="134"/>
                      <a:pt x="1420" y="131"/>
                    </a:cubicBezTo>
                    <a:lnTo>
                      <a:pt x="1416" y="134"/>
                    </a:lnTo>
                    <a:cubicBezTo>
                      <a:pt x="1422" y="132"/>
                      <a:pt x="1425" y="130"/>
                      <a:pt x="1434" y="133"/>
                    </a:cubicBezTo>
                    <a:cubicBezTo>
                      <a:pt x="1436" y="136"/>
                      <a:pt x="1426" y="135"/>
                      <a:pt x="1421" y="136"/>
                    </a:cubicBezTo>
                    <a:cubicBezTo>
                      <a:pt x="1428" y="136"/>
                      <a:pt x="1445" y="136"/>
                      <a:pt x="1440" y="133"/>
                    </a:cubicBezTo>
                    <a:cubicBezTo>
                      <a:pt x="1447" y="132"/>
                      <a:pt x="1450" y="135"/>
                      <a:pt x="1454" y="136"/>
                    </a:cubicBezTo>
                    <a:cubicBezTo>
                      <a:pt x="1455" y="136"/>
                      <a:pt x="1447" y="134"/>
                      <a:pt x="1452" y="133"/>
                    </a:cubicBezTo>
                    <a:cubicBezTo>
                      <a:pt x="1462" y="135"/>
                      <a:pt x="1479" y="135"/>
                      <a:pt x="1492" y="136"/>
                    </a:cubicBezTo>
                    <a:cubicBezTo>
                      <a:pt x="1492" y="137"/>
                      <a:pt x="1493" y="138"/>
                      <a:pt x="1492" y="138"/>
                    </a:cubicBezTo>
                    <a:cubicBezTo>
                      <a:pt x="1502" y="135"/>
                      <a:pt x="1501" y="142"/>
                      <a:pt x="1515" y="14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6" name="Freeform 2520"/>
              <p:cNvSpPr>
                <a:spLocks/>
              </p:cNvSpPr>
              <p:nvPr/>
            </p:nvSpPr>
            <p:spPr bwMode="auto">
              <a:xfrm>
                <a:off x="4244976" y="4567238"/>
                <a:ext cx="3175" cy="1588"/>
              </a:xfrm>
              <a:custGeom>
                <a:avLst/>
                <a:gdLst>
                  <a:gd name="T0" fmla="*/ 8 w 8"/>
                  <a:gd name="T1" fmla="*/ 1 h 3"/>
                  <a:gd name="T2" fmla="*/ 8 w 8"/>
                  <a:gd name="T3" fmla="*/ 1 h 3"/>
                  <a:gd name="T4" fmla="*/ 3 w 8"/>
                  <a:gd name="T5" fmla="*/ 0 h 3"/>
                  <a:gd name="T6" fmla="*/ 0 w 8"/>
                  <a:gd name="T7" fmla="*/ 3 h 3"/>
                  <a:gd name="T8" fmla="*/ 8 w 8"/>
                  <a:gd name="T9" fmla="*/ 1 h 3"/>
                </a:gdLst>
                <a:ahLst/>
                <a:cxnLst>
                  <a:cxn ang="0">
                    <a:pos x="T0" y="T1"/>
                  </a:cxn>
                  <a:cxn ang="0">
                    <a:pos x="T2" y="T3"/>
                  </a:cxn>
                  <a:cxn ang="0">
                    <a:pos x="T4" y="T5"/>
                  </a:cxn>
                  <a:cxn ang="0">
                    <a:pos x="T6" y="T7"/>
                  </a:cxn>
                  <a:cxn ang="0">
                    <a:pos x="T8" y="T9"/>
                  </a:cxn>
                </a:cxnLst>
                <a:rect l="0" t="0" r="r" b="b"/>
                <a:pathLst>
                  <a:path w="8" h="3">
                    <a:moveTo>
                      <a:pt x="8" y="1"/>
                    </a:moveTo>
                    <a:lnTo>
                      <a:pt x="8" y="1"/>
                    </a:lnTo>
                    <a:lnTo>
                      <a:pt x="3" y="0"/>
                    </a:lnTo>
                    <a:cubicBezTo>
                      <a:pt x="3" y="1"/>
                      <a:pt x="2" y="2"/>
                      <a:pt x="0" y="3"/>
                    </a:cubicBezTo>
                    <a:lnTo>
                      <a:pt x="8" y="1"/>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7" name="Freeform 2521"/>
              <p:cNvSpPr>
                <a:spLocks/>
              </p:cNvSpPr>
              <p:nvPr/>
            </p:nvSpPr>
            <p:spPr bwMode="auto">
              <a:xfrm>
                <a:off x="4168776" y="4568826"/>
                <a:ext cx="0"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1" y="0"/>
                      <a:pt x="1" y="0"/>
                      <a:pt x="0" y="1"/>
                    </a:cubicBezTo>
                    <a:cubicBezTo>
                      <a:pt x="1" y="0"/>
                      <a:pt x="2" y="0"/>
                      <a:pt x="2"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8" name="Freeform 2522"/>
              <p:cNvSpPr>
                <a:spLocks/>
              </p:cNvSpPr>
              <p:nvPr/>
            </p:nvSpPr>
            <p:spPr bwMode="auto">
              <a:xfrm>
                <a:off x="4149726" y="4568826"/>
                <a:ext cx="1588" cy="1588"/>
              </a:xfrm>
              <a:custGeom>
                <a:avLst/>
                <a:gdLst>
                  <a:gd name="T0" fmla="*/ 2 w 6"/>
                  <a:gd name="T1" fmla="*/ 2 h 2"/>
                  <a:gd name="T2" fmla="*/ 2 w 6"/>
                  <a:gd name="T3" fmla="*/ 2 h 2"/>
                  <a:gd name="T4" fmla="*/ 0 w 6"/>
                  <a:gd name="T5" fmla="*/ 0 h 2"/>
                  <a:gd name="T6" fmla="*/ 2 w 6"/>
                  <a:gd name="T7" fmla="*/ 2 h 2"/>
                </a:gdLst>
                <a:ahLst/>
                <a:cxnLst>
                  <a:cxn ang="0">
                    <a:pos x="T0" y="T1"/>
                  </a:cxn>
                  <a:cxn ang="0">
                    <a:pos x="T2" y="T3"/>
                  </a:cxn>
                  <a:cxn ang="0">
                    <a:pos x="T4" y="T5"/>
                  </a:cxn>
                  <a:cxn ang="0">
                    <a:pos x="T6" y="T7"/>
                  </a:cxn>
                </a:cxnLst>
                <a:rect l="0" t="0" r="r" b="b"/>
                <a:pathLst>
                  <a:path w="6" h="2">
                    <a:moveTo>
                      <a:pt x="2" y="2"/>
                    </a:moveTo>
                    <a:lnTo>
                      <a:pt x="2" y="2"/>
                    </a:lnTo>
                    <a:cubicBezTo>
                      <a:pt x="6" y="1"/>
                      <a:pt x="3" y="0"/>
                      <a:pt x="0" y="0"/>
                    </a:cubicBezTo>
                    <a:cubicBezTo>
                      <a:pt x="0" y="0"/>
                      <a:pt x="0" y="1"/>
                      <a:pt x="2"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9" name="Freeform 2523"/>
              <p:cNvSpPr>
                <a:spLocks/>
              </p:cNvSpPr>
              <p:nvPr/>
            </p:nvSpPr>
            <p:spPr bwMode="auto">
              <a:xfrm>
                <a:off x="4291013" y="4564063"/>
                <a:ext cx="1588" cy="0"/>
              </a:xfrm>
              <a:custGeom>
                <a:avLst/>
                <a:gdLst>
                  <a:gd name="T0" fmla="*/ 1 w 2"/>
                  <a:gd name="T1" fmla="*/ 0 h 1"/>
                  <a:gd name="T2" fmla="*/ 1 w 2"/>
                  <a:gd name="T3" fmla="*/ 0 h 1"/>
                  <a:gd name="T4" fmla="*/ 0 w 2"/>
                  <a:gd name="T5" fmla="*/ 1 h 1"/>
                  <a:gd name="T6" fmla="*/ 1 w 2"/>
                  <a:gd name="T7" fmla="*/ 0 h 1"/>
                </a:gdLst>
                <a:ahLst/>
                <a:cxnLst>
                  <a:cxn ang="0">
                    <a:pos x="T0" y="T1"/>
                  </a:cxn>
                  <a:cxn ang="0">
                    <a:pos x="T2" y="T3"/>
                  </a:cxn>
                  <a:cxn ang="0">
                    <a:pos x="T4" y="T5"/>
                  </a:cxn>
                  <a:cxn ang="0">
                    <a:pos x="T6" y="T7"/>
                  </a:cxn>
                </a:cxnLst>
                <a:rect l="0" t="0" r="r" b="b"/>
                <a:pathLst>
                  <a:path w="2" h="1">
                    <a:moveTo>
                      <a:pt x="1" y="0"/>
                    </a:moveTo>
                    <a:lnTo>
                      <a:pt x="1" y="0"/>
                    </a:lnTo>
                    <a:cubicBezTo>
                      <a:pt x="1" y="0"/>
                      <a:pt x="0" y="1"/>
                      <a:pt x="0" y="1"/>
                    </a:cubicBezTo>
                    <a:cubicBezTo>
                      <a:pt x="1" y="1"/>
                      <a:pt x="2" y="0"/>
                      <a:pt x="1"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0" name="Freeform 2524"/>
              <p:cNvSpPr>
                <a:spLocks/>
              </p:cNvSpPr>
              <p:nvPr/>
            </p:nvSpPr>
            <p:spPr bwMode="auto">
              <a:xfrm>
                <a:off x="4414838" y="4554538"/>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0" y="0"/>
                      <a:pt x="0" y="0"/>
                    </a:cubicBezTo>
                    <a:cubicBezTo>
                      <a:pt x="0" y="0"/>
                      <a:pt x="0" y="1"/>
                      <a:pt x="1"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1" name="Freeform 2525"/>
              <p:cNvSpPr>
                <a:spLocks/>
              </p:cNvSpPr>
              <p:nvPr/>
            </p:nvSpPr>
            <p:spPr bwMode="auto">
              <a:xfrm>
                <a:off x="4406901" y="4554538"/>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2" y="1"/>
                      <a:pt x="3" y="0"/>
                      <a:pt x="4"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2" name="Freeform 2526"/>
              <p:cNvSpPr>
                <a:spLocks/>
              </p:cNvSpPr>
              <p:nvPr/>
            </p:nvSpPr>
            <p:spPr bwMode="auto">
              <a:xfrm>
                <a:off x="4260851" y="4565651"/>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3" y="1"/>
                      <a:pt x="4" y="0"/>
                      <a:pt x="4"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3" name="Freeform 2527"/>
              <p:cNvSpPr>
                <a:spLocks/>
              </p:cNvSpPr>
              <p:nvPr/>
            </p:nvSpPr>
            <p:spPr bwMode="auto">
              <a:xfrm>
                <a:off x="4403726" y="4554538"/>
                <a:ext cx="1588" cy="0"/>
              </a:xfrm>
              <a:custGeom>
                <a:avLst/>
                <a:gdLst>
                  <a:gd name="T0" fmla="*/ 5 w 5"/>
                  <a:gd name="T1" fmla="*/ 5 w 5"/>
                  <a:gd name="T2" fmla="*/ 0 w 5"/>
                  <a:gd name="T3" fmla="*/ 0 w 5"/>
                  <a:gd name="T4" fmla="*/ 5 w 5"/>
                </a:gdLst>
                <a:ahLst/>
                <a:cxnLst>
                  <a:cxn ang="0">
                    <a:pos x="T0" y="0"/>
                  </a:cxn>
                  <a:cxn ang="0">
                    <a:pos x="T1" y="0"/>
                  </a:cxn>
                  <a:cxn ang="0">
                    <a:pos x="T2" y="0"/>
                  </a:cxn>
                  <a:cxn ang="0">
                    <a:pos x="T3" y="0"/>
                  </a:cxn>
                  <a:cxn ang="0">
                    <a:pos x="T4" y="0"/>
                  </a:cxn>
                </a:cxnLst>
                <a:rect l="0" t="0" r="r" b="b"/>
                <a:pathLst>
                  <a:path w="5">
                    <a:moveTo>
                      <a:pt x="5" y="0"/>
                    </a:moveTo>
                    <a:lnTo>
                      <a:pt x="5" y="0"/>
                    </a:lnTo>
                    <a:lnTo>
                      <a:pt x="0" y="0"/>
                    </a:lnTo>
                    <a:cubicBezTo>
                      <a:pt x="0" y="0"/>
                      <a:pt x="0" y="0"/>
                      <a:pt x="0" y="0"/>
                    </a:cubicBezTo>
                    <a:lnTo>
                      <a:pt x="5"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4" name="Freeform 2528"/>
              <p:cNvSpPr>
                <a:spLocks/>
              </p:cNvSpPr>
              <p:nvPr/>
            </p:nvSpPr>
            <p:spPr bwMode="auto">
              <a:xfrm>
                <a:off x="4414838" y="4554538"/>
                <a:ext cx="3175" cy="1588"/>
              </a:xfrm>
              <a:custGeom>
                <a:avLst/>
                <a:gdLst>
                  <a:gd name="T0" fmla="*/ 7 w 7"/>
                  <a:gd name="T1" fmla="*/ 0 h 1"/>
                  <a:gd name="T2" fmla="*/ 7 w 7"/>
                  <a:gd name="T3" fmla="*/ 0 h 1"/>
                  <a:gd name="T4" fmla="*/ 0 w 7"/>
                  <a:gd name="T5" fmla="*/ 1 h 1"/>
                  <a:gd name="T6" fmla="*/ 7 w 7"/>
                  <a:gd name="T7" fmla="*/ 0 h 1"/>
                </a:gdLst>
                <a:ahLst/>
                <a:cxnLst>
                  <a:cxn ang="0">
                    <a:pos x="T0" y="T1"/>
                  </a:cxn>
                  <a:cxn ang="0">
                    <a:pos x="T2" y="T3"/>
                  </a:cxn>
                  <a:cxn ang="0">
                    <a:pos x="T4" y="T5"/>
                  </a:cxn>
                  <a:cxn ang="0">
                    <a:pos x="T6" y="T7"/>
                  </a:cxn>
                </a:cxnLst>
                <a:rect l="0" t="0" r="r" b="b"/>
                <a:pathLst>
                  <a:path w="7" h="1">
                    <a:moveTo>
                      <a:pt x="7" y="0"/>
                    </a:moveTo>
                    <a:lnTo>
                      <a:pt x="7" y="0"/>
                    </a:lnTo>
                    <a:cubicBezTo>
                      <a:pt x="5" y="0"/>
                      <a:pt x="2" y="1"/>
                      <a:pt x="0" y="1"/>
                    </a:cubicBezTo>
                    <a:cubicBezTo>
                      <a:pt x="3" y="1"/>
                      <a:pt x="5" y="1"/>
                      <a:pt x="7"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5" name="Freeform 2529"/>
              <p:cNvSpPr>
                <a:spLocks/>
              </p:cNvSpPr>
              <p:nvPr/>
            </p:nvSpPr>
            <p:spPr bwMode="auto">
              <a:xfrm>
                <a:off x="4335463" y="4559301"/>
                <a:ext cx="1588" cy="0"/>
              </a:xfrm>
              <a:custGeom>
                <a:avLst/>
                <a:gdLst>
                  <a:gd name="T0" fmla="*/ 5 w 5"/>
                  <a:gd name="T1" fmla="*/ 0 h 1"/>
                  <a:gd name="T2" fmla="*/ 5 w 5"/>
                  <a:gd name="T3" fmla="*/ 0 h 1"/>
                  <a:gd name="T4" fmla="*/ 4 w 5"/>
                  <a:gd name="T5" fmla="*/ 0 h 1"/>
                  <a:gd name="T6" fmla="*/ 5 w 5"/>
                  <a:gd name="T7" fmla="*/ 0 h 1"/>
                </a:gdLst>
                <a:ahLst/>
                <a:cxnLst>
                  <a:cxn ang="0">
                    <a:pos x="T0" y="T1"/>
                  </a:cxn>
                  <a:cxn ang="0">
                    <a:pos x="T2" y="T3"/>
                  </a:cxn>
                  <a:cxn ang="0">
                    <a:pos x="T4" y="T5"/>
                  </a:cxn>
                  <a:cxn ang="0">
                    <a:pos x="T6" y="T7"/>
                  </a:cxn>
                </a:cxnLst>
                <a:rect l="0" t="0" r="r" b="b"/>
                <a:pathLst>
                  <a:path w="5" h="1">
                    <a:moveTo>
                      <a:pt x="5" y="0"/>
                    </a:moveTo>
                    <a:lnTo>
                      <a:pt x="5" y="0"/>
                    </a:lnTo>
                    <a:cubicBezTo>
                      <a:pt x="5" y="0"/>
                      <a:pt x="5" y="0"/>
                      <a:pt x="4" y="0"/>
                    </a:cubicBezTo>
                    <a:cubicBezTo>
                      <a:pt x="0" y="1"/>
                      <a:pt x="3" y="1"/>
                      <a:pt x="5"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6" name="Freeform 2530"/>
              <p:cNvSpPr>
                <a:spLocks/>
              </p:cNvSpPr>
              <p:nvPr/>
            </p:nvSpPr>
            <p:spPr bwMode="auto">
              <a:xfrm>
                <a:off x="4397376" y="4557713"/>
                <a:ext cx="0" cy="0"/>
              </a:xfrm>
              <a:custGeom>
                <a:avLst/>
                <a:gdLst>
                  <a:gd name="T0" fmla="*/ 2 w 2"/>
                  <a:gd name="T1" fmla="*/ 0 h 1"/>
                  <a:gd name="T2" fmla="*/ 2 w 2"/>
                  <a:gd name="T3" fmla="*/ 0 h 1"/>
                  <a:gd name="T4" fmla="*/ 1 w 2"/>
                  <a:gd name="T5" fmla="*/ 0 h 1"/>
                  <a:gd name="T6" fmla="*/ 0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lnTo>
                      <a:pt x="2" y="0"/>
                    </a:lnTo>
                    <a:lnTo>
                      <a:pt x="1" y="0"/>
                    </a:lnTo>
                    <a:lnTo>
                      <a:pt x="0" y="1"/>
                    </a:lnTo>
                    <a:lnTo>
                      <a:pt x="2"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7" name="Freeform 2531"/>
              <p:cNvSpPr>
                <a:spLocks/>
              </p:cNvSpPr>
              <p:nvPr/>
            </p:nvSpPr>
            <p:spPr bwMode="auto">
              <a:xfrm>
                <a:off x="4424363" y="4554538"/>
                <a:ext cx="0" cy="0"/>
              </a:xfrm>
              <a:custGeom>
                <a:avLst/>
                <a:gdLst>
                  <a:gd name="T0" fmla="*/ 3 w 3"/>
                  <a:gd name="T1" fmla="*/ 0 h 1"/>
                  <a:gd name="T2" fmla="*/ 3 w 3"/>
                  <a:gd name="T3" fmla="*/ 0 h 1"/>
                  <a:gd name="T4" fmla="*/ 0 w 3"/>
                  <a:gd name="T5" fmla="*/ 1 h 1"/>
                  <a:gd name="T6" fmla="*/ 3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3" y="0"/>
                    </a:lnTo>
                    <a:cubicBezTo>
                      <a:pt x="2" y="0"/>
                      <a:pt x="1" y="1"/>
                      <a:pt x="0" y="1"/>
                    </a:cubicBezTo>
                    <a:cubicBezTo>
                      <a:pt x="1" y="1"/>
                      <a:pt x="2" y="1"/>
                      <a:pt x="3" y="1"/>
                    </a:cubicBezTo>
                    <a:cubicBezTo>
                      <a:pt x="3" y="1"/>
                      <a:pt x="3" y="0"/>
                      <a:pt x="3"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8" name="Freeform 2532"/>
              <p:cNvSpPr>
                <a:spLocks/>
              </p:cNvSpPr>
              <p:nvPr/>
            </p:nvSpPr>
            <p:spPr bwMode="auto">
              <a:xfrm>
                <a:off x="4362451" y="4557713"/>
                <a:ext cx="1588" cy="1588"/>
              </a:xfrm>
              <a:custGeom>
                <a:avLst/>
                <a:gdLst>
                  <a:gd name="T0" fmla="*/ 1 w 3"/>
                  <a:gd name="T1" fmla="*/ 3 h 3"/>
                  <a:gd name="T2" fmla="*/ 1 w 3"/>
                  <a:gd name="T3" fmla="*/ 3 h 3"/>
                  <a:gd name="T4" fmla="*/ 3 w 3"/>
                  <a:gd name="T5" fmla="*/ 0 h 3"/>
                  <a:gd name="T6" fmla="*/ 1 w 3"/>
                  <a:gd name="T7" fmla="*/ 3 h 3"/>
                </a:gdLst>
                <a:ahLst/>
                <a:cxnLst>
                  <a:cxn ang="0">
                    <a:pos x="T0" y="T1"/>
                  </a:cxn>
                  <a:cxn ang="0">
                    <a:pos x="T2" y="T3"/>
                  </a:cxn>
                  <a:cxn ang="0">
                    <a:pos x="T4" y="T5"/>
                  </a:cxn>
                  <a:cxn ang="0">
                    <a:pos x="T6" y="T7"/>
                  </a:cxn>
                </a:cxnLst>
                <a:rect l="0" t="0" r="r" b="b"/>
                <a:pathLst>
                  <a:path w="3" h="3">
                    <a:moveTo>
                      <a:pt x="1" y="3"/>
                    </a:moveTo>
                    <a:lnTo>
                      <a:pt x="1" y="3"/>
                    </a:lnTo>
                    <a:cubicBezTo>
                      <a:pt x="3" y="2"/>
                      <a:pt x="3" y="1"/>
                      <a:pt x="3" y="0"/>
                    </a:cubicBezTo>
                    <a:cubicBezTo>
                      <a:pt x="2" y="1"/>
                      <a:pt x="0" y="1"/>
                      <a:pt x="1" y="3"/>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9" name="Freeform 2533"/>
              <p:cNvSpPr>
                <a:spLocks/>
              </p:cNvSpPr>
              <p:nvPr/>
            </p:nvSpPr>
            <p:spPr bwMode="auto">
              <a:xfrm>
                <a:off x="3551238" y="4464051"/>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cubicBezTo>
                      <a:pt x="1" y="0"/>
                      <a:pt x="1" y="0"/>
                      <a:pt x="2" y="0"/>
                    </a:cubicBezTo>
                    <a:cubicBezTo>
                      <a:pt x="1"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0" name="Freeform 2534"/>
              <p:cNvSpPr>
                <a:spLocks/>
              </p:cNvSpPr>
              <p:nvPr/>
            </p:nvSpPr>
            <p:spPr bwMode="auto">
              <a:xfrm>
                <a:off x="3554413" y="4418013"/>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cubicBezTo>
                      <a:pt x="0" y="0"/>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1" name="Freeform 2535"/>
              <p:cNvSpPr>
                <a:spLocks/>
              </p:cNvSpPr>
              <p:nvPr/>
            </p:nvSpPr>
            <p:spPr bwMode="auto">
              <a:xfrm>
                <a:off x="3551238" y="4492626"/>
                <a:ext cx="0" cy="1588"/>
              </a:xfrm>
              <a:custGeom>
                <a:avLst/>
                <a:gdLst>
                  <a:gd name="T0" fmla="*/ 1 w 1"/>
                  <a:gd name="T1" fmla="*/ 1 h 7"/>
                  <a:gd name="T2" fmla="*/ 1 w 1"/>
                  <a:gd name="T3" fmla="*/ 1 h 7"/>
                  <a:gd name="T4" fmla="*/ 0 w 1"/>
                  <a:gd name="T5" fmla="*/ 0 h 7"/>
                  <a:gd name="T6" fmla="*/ 1 w 1"/>
                  <a:gd name="T7" fmla="*/ 7 h 7"/>
                  <a:gd name="T8" fmla="*/ 1 w 1"/>
                  <a:gd name="T9" fmla="*/ 1 h 7"/>
                </a:gdLst>
                <a:ahLst/>
                <a:cxnLst>
                  <a:cxn ang="0">
                    <a:pos x="T0" y="T1"/>
                  </a:cxn>
                  <a:cxn ang="0">
                    <a:pos x="T2" y="T3"/>
                  </a:cxn>
                  <a:cxn ang="0">
                    <a:pos x="T4" y="T5"/>
                  </a:cxn>
                  <a:cxn ang="0">
                    <a:pos x="T6" y="T7"/>
                  </a:cxn>
                  <a:cxn ang="0">
                    <a:pos x="T8" y="T9"/>
                  </a:cxn>
                </a:cxnLst>
                <a:rect l="0" t="0" r="r" b="b"/>
                <a:pathLst>
                  <a:path w="1" h="7">
                    <a:moveTo>
                      <a:pt x="1" y="1"/>
                    </a:moveTo>
                    <a:lnTo>
                      <a:pt x="1" y="1"/>
                    </a:lnTo>
                    <a:cubicBezTo>
                      <a:pt x="1" y="1"/>
                      <a:pt x="1" y="1"/>
                      <a:pt x="0" y="0"/>
                    </a:cubicBezTo>
                    <a:cubicBezTo>
                      <a:pt x="1" y="2"/>
                      <a:pt x="1" y="4"/>
                      <a:pt x="1" y="7"/>
                    </a:cubicBezTo>
                    <a:lnTo>
                      <a:pt x="1" y="1"/>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2" name="Freeform 2536"/>
              <p:cNvSpPr>
                <a:spLocks/>
              </p:cNvSpPr>
              <p:nvPr/>
            </p:nvSpPr>
            <p:spPr bwMode="auto">
              <a:xfrm>
                <a:off x="3554413" y="4316413"/>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3" name="Freeform 2537"/>
              <p:cNvSpPr>
                <a:spLocks/>
              </p:cNvSpPr>
              <p:nvPr/>
            </p:nvSpPr>
            <p:spPr bwMode="auto">
              <a:xfrm>
                <a:off x="3554413" y="4375151"/>
                <a:ext cx="0" cy="1588"/>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0" y="2"/>
                      <a:pt x="0" y="1"/>
                      <a:pt x="0" y="0"/>
                    </a:cubicBezTo>
                    <a:cubicBezTo>
                      <a:pt x="0" y="1"/>
                      <a:pt x="0" y="2"/>
                      <a:pt x="1"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4" name="Freeform 2538"/>
              <p:cNvSpPr>
                <a:spLocks/>
              </p:cNvSpPr>
              <p:nvPr/>
            </p:nvSpPr>
            <p:spPr bwMode="auto">
              <a:xfrm>
                <a:off x="3543301" y="4506913"/>
                <a:ext cx="0" cy="1588"/>
              </a:xfrm>
              <a:custGeom>
                <a:avLst/>
                <a:gdLst>
                  <a:gd name="T0" fmla="*/ 0 w 2"/>
                  <a:gd name="T1" fmla="*/ 2 h 2"/>
                  <a:gd name="T2" fmla="*/ 0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0" y="2"/>
                    </a:lnTo>
                    <a:lnTo>
                      <a:pt x="2" y="0"/>
                    </a:lnTo>
                    <a:cubicBezTo>
                      <a:pt x="1" y="0"/>
                      <a:pt x="0" y="1"/>
                      <a:pt x="0"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5" name="Freeform 2539"/>
              <p:cNvSpPr>
                <a:spLocks/>
              </p:cNvSpPr>
              <p:nvPr/>
            </p:nvSpPr>
            <p:spPr bwMode="auto">
              <a:xfrm>
                <a:off x="3548063" y="4535488"/>
                <a:ext cx="0" cy="1588"/>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0"/>
                    </a:cubicBezTo>
                    <a:cubicBezTo>
                      <a:pt x="0" y="0"/>
                      <a:pt x="0"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6" name="Freeform 2540"/>
              <p:cNvSpPr>
                <a:spLocks/>
              </p:cNvSpPr>
              <p:nvPr/>
            </p:nvSpPr>
            <p:spPr bwMode="auto">
              <a:xfrm>
                <a:off x="3549651" y="452437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2"/>
                      <a:pt x="0" y="1"/>
                      <a:pt x="0" y="0"/>
                    </a:cubicBezTo>
                    <a:cubicBezTo>
                      <a:pt x="0" y="1"/>
                      <a:pt x="0" y="2"/>
                      <a:pt x="1"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7" name="Freeform 2541"/>
              <p:cNvSpPr>
                <a:spLocks/>
              </p:cNvSpPr>
              <p:nvPr/>
            </p:nvSpPr>
            <p:spPr bwMode="auto">
              <a:xfrm>
                <a:off x="3549651" y="4524376"/>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1" y="0"/>
                      <a:pt x="1"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8" name="Freeform 2542"/>
              <p:cNvSpPr>
                <a:spLocks/>
              </p:cNvSpPr>
              <p:nvPr/>
            </p:nvSpPr>
            <p:spPr bwMode="auto">
              <a:xfrm>
                <a:off x="3557588" y="3951288"/>
                <a:ext cx="1588" cy="1588"/>
              </a:xfrm>
              <a:custGeom>
                <a:avLst/>
                <a:gdLst>
                  <a:gd name="T0" fmla="*/ 2 w 2"/>
                  <a:gd name="T1" fmla="*/ 7 h 7"/>
                  <a:gd name="T2" fmla="*/ 2 w 2"/>
                  <a:gd name="T3" fmla="*/ 7 h 7"/>
                  <a:gd name="T4" fmla="*/ 0 w 2"/>
                  <a:gd name="T5" fmla="*/ 0 h 7"/>
                  <a:gd name="T6" fmla="*/ 2 w 2"/>
                  <a:gd name="T7" fmla="*/ 7 h 7"/>
                </a:gdLst>
                <a:ahLst/>
                <a:cxnLst>
                  <a:cxn ang="0">
                    <a:pos x="T0" y="T1"/>
                  </a:cxn>
                  <a:cxn ang="0">
                    <a:pos x="T2" y="T3"/>
                  </a:cxn>
                  <a:cxn ang="0">
                    <a:pos x="T4" y="T5"/>
                  </a:cxn>
                  <a:cxn ang="0">
                    <a:pos x="T6" y="T7"/>
                  </a:cxn>
                </a:cxnLst>
                <a:rect l="0" t="0" r="r" b="b"/>
                <a:pathLst>
                  <a:path w="2" h="7">
                    <a:moveTo>
                      <a:pt x="2" y="7"/>
                    </a:moveTo>
                    <a:lnTo>
                      <a:pt x="2" y="7"/>
                    </a:lnTo>
                    <a:cubicBezTo>
                      <a:pt x="2" y="4"/>
                      <a:pt x="1" y="2"/>
                      <a:pt x="0" y="0"/>
                    </a:cubicBezTo>
                    <a:lnTo>
                      <a:pt x="2" y="7"/>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9" name="Freeform 2543"/>
              <p:cNvSpPr>
                <a:spLocks/>
              </p:cNvSpPr>
              <p:nvPr/>
            </p:nvSpPr>
            <p:spPr bwMode="auto">
              <a:xfrm>
                <a:off x="3549651" y="4225926"/>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0" y="0"/>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0" name="Freeform 2544"/>
              <p:cNvSpPr>
                <a:spLocks/>
              </p:cNvSpPr>
              <p:nvPr/>
            </p:nvSpPr>
            <p:spPr bwMode="auto">
              <a:xfrm>
                <a:off x="3552826" y="3951288"/>
                <a:ext cx="0" cy="0"/>
              </a:xfrm>
              <a:custGeom>
                <a:avLst/>
                <a:gdLst>
                  <a:gd name="T0" fmla="*/ 0 w 1"/>
                  <a:gd name="T1" fmla="*/ 2 h 2"/>
                  <a:gd name="T2" fmla="*/ 0 w 1"/>
                  <a:gd name="T3" fmla="*/ 2 h 2"/>
                  <a:gd name="T4" fmla="*/ 1 w 1"/>
                  <a:gd name="T5" fmla="*/ 0 h 2"/>
                  <a:gd name="T6" fmla="*/ 0 w 1"/>
                  <a:gd name="T7" fmla="*/ 2 h 2"/>
                </a:gdLst>
                <a:ahLst/>
                <a:cxnLst>
                  <a:cxn ang="0">
                    <a:pos x="T0" y="T1"/>
                  </a:cxn>
                  <a:cxn ang="0">
                    <a:pos x="T2" y="T3"/>
                  </a:cxn>
                  <a:cxn ang="0">
                    <a:pos x="T4" y="T5"/>
                  </a:cxn>
                  <a:cxn ang="0">
                    <a:pos x="T6" y="T7"/>
                  </a:cxn>
                </a:cxnLst>
                <a:rect l="0" t="0" r="r" b="b"/>
                <a:pathLst>
                  <a:path w="1" h="2">
                    <a:moveTo>
                      <a:pt x="0" y="2"/>
                    </a:moveTo>
                    <a:lnTo>
                      <a:pt x="0" y="2"/>
                    </a:lnTo>
                    <a:lnTo>
                      <a:pt x="1" y="0"/>
                    </a:lnTo>
                    <a:cubicBezTo>
                      <a:pt x="1" y="1"/>
                      <a:pt x="0" y="2"/>
                      <a:pt x="0"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1" name="Freeform 2545"/>
              <p:cNvSpPr>
                <a:spLocks/>
              </p:cNvSpPr>
              <p:nvPr/>
            </p:nvSpPr>
            <p:spPr bwMode="auto">
              <a:xfrm>
                <a:off x="3538538" y="4491038"/>
                <a:ext cx="1588" cy="1588"/>
              </a:xfrm>
              <a:custGeom>
                <a:avLst/>
                <a:gdLst>
                  <a:gd name="T0" fmla="*/ 3 w 3"/>
                  <a:gd name="T1" fmla="*/ 8 h 8"/>
                  <a:gd name="T2" fmla="*/ 3 w 3"/>
                  <a:gd name="T3" fmla="*/ 8 h 8"/>
                  <a:gd name="T4" fmla="*/ 1 w 3"/>
                  <a:gd name="T5" fmla="*/ 0 h 8"/>
                  <a:gd name="T6" fmla="*/ 3 w 3"/>
                  <a:gd name="T7" fmla="*/ 8 h 8"/>
                </a:gdLst>
                <a:ahLst/>
                <a:cxnLst>
                  <a:cxn ang="0">
                    <a:pos x="T0" y="T1"/>
                  </a:cxn>
                  <a:cxn ang="0">
                    <a:pos x="T2" y="T3"/>
                  </a:cxn>
                  <a:cxn ang="0">
                    <a:pos x="T4" y="T5"/>
                  </a:cxn>
                  <a:cxn ang="0">
                    <a:pos x="T6" y="T7"/>
                  </a:cxn>
                </a:cxnLst>
                <a:rect l="0" t="0" r="r" b="b"/>
                <a:pathLst>
                  <a:path w="3" h="8">
                    <a:moveTo>
                      <a:pt x="3" y="8"/>
                    </a:moveTo>
                    <a:lnTo>
                      <a:pt x="3" y="8"/>
                    </a:lnTo>
                    <a:cubicBezTo>
                      <a:pt x="1" y="6"/>
                      <a:pt x="3" y="0"/>
                      <a:pt x="1" y="0"/>
                    </a:cubicBezTo>
                    <a:cubicBezTo>
                      <a:pt x="2" y="3"/>
                      <a:pt x="0" y="7"/>
                      <a:pt x="3" y="8"/>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2" name="Freeform 2546"/>
              <p:cNvSpPr>
                <a:spLocks/>
              </p:cNvSpPr>
              <p:nvPr/>
            </p:nvSpPr>
            <p:spPr bwMode="auto">
              <a:xfrm>
                <a:off x="3524251" y="420687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lnTo>
                      <a:pt x="0" y="0"/>
                    </a:lnTo>
                    <a:cubicBezTo>
                      <a:pt x="0" y="1"/>
                      <a:pt x="0" y="1"/>
                      <a:pt x="1"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3" name="Freeform 2547"/>
              <p:cNvSpPr>
                <a:spLocks/>
              </p:cNvSpPr>
              <p:nvPr/>
            </p:nvSpPr>
            <p:spPr bwMode="auto">
              <a:xfrm>
                <a:off x="3552826" y="3951288"/>
                <a:ext cx="0" cy="1588"/>
              </a:xfrm>
              <a:custGeom>
                <a:avLst/>
                <a:gdLst>
                  <a:gd name="T0" fmla="*/ 0 w 1"/>
                  <a:gd name="T1" fmla="*/ 0 h 2"/>
                  <a:gd name="T2" fmla="*/ 0 w 1"/>
                  <a:gd name="T3" fmla="*/ 0 h 2"/>
                  <a:gd name="T4" fmla="*/ 0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0" y="2"/>
                    </a:lnTo>
                    <a:cubicBezTo>
                      <a:pt x="0" y="2"/>
                      <a:pt x="0" y="2"/>
                      <a:pt x="1" y="2"/>
                    </a:cubicBezTo>
                    <a:cubicBezTo>
                      <a:pt x="1" y="1"/>
                      <a:pt x="0" y="1"/>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4" name="Freeform 2548"/>
              <p:cNvSpPr>
                <a:spLocks/>
              </p:cNvSpPr>
              <p:nvPr/>
            </p:nvSpPr>
            <p:spPr bwMode="auto">
              <a:xfrm>
                <a:off x="3548063" y="4132263"/>
                <a:ext cx="0" cy="0"/>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0"/>
                    </a:lnTo>
                    <a:cubicBezTo>
                      <a:pt x="1" y="1"/>
                      <a:pt x="1" y="1"/>
                      <a:pt x="1" y="1"/>
                    </a:cubicBezTo>
                    <a:lnTo>
                      <a:pt x="0"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5" name="Freeform 2549"/>
              <p:cNvSpPr>
                <a:spLocks/>
              </p:cNvSpPr>
              <p:nvPr/>
            </p:nvSpPr>
            <p:spPr bwMode="auto">
              <a:xfrm>
                <a:off x="3549651" y="4127501"/>
                <a:ext cx="0" cy="0"/>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cubicBezTo>
                      <a:pt x="0" y="1"/>
                      <a:pt x="0" y="2"/>
                      <a:pt x="0" y="3"/>
                    </a:cubicBezTo>
                    <a:cubicBezTo>
                      <a:pt x="0" y="1"/>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6" name="Freeform 2550"/>
              <p:cNvSpPr>
                <a:spLocks/>
              </p:cNvSpPr>
              <p:nvPr/>
            </p:nvSpPr>
            <p:spPr bwMode="auto">
              <a:xfrm>
                <a:off x="3557588" y="3949701"/>
                <a:ext cx="0" cy="1588"/>
              </a:xfrm>
              <a:custGeom>
                <a:avLst/>
                <a:gdLst>
                  <a:gd name="T0" fmla="*/ 1 w 1"/>
                  <a:gd name="T1" fmla="*/ 5 h 5"/>
                  <a:gd name="T2" fmla="*/ 1 w 1"/>
                  <a:gd name="T3" fmla="*/ 5 h 5"/>
                  <a:gd name="T4" fmla="*/ 0 w 1"/>
                  <a:gd name="T5" fmla="*/ 0 h 5"/>
                  <a:gd name="T6" fmla="*/ 1 w 1"/>
                  <a:gd name="T7" fmla="*/ 5 h 5"/>
                </a:gdLst>
                <a:ahLst/>
                <a:cxnLst>
                  <a:cxn ang="0">
                    <a:pos x="T0" y="T1"/>
                  </a:cxn>
                  <a:cxn ang="0">
                    <a:pos x="T2" y="T3"/>
                  </a:cxn>
                  <a:cxn ang="0">
                    <a:pos x="T4" y="T5"/>
                  </a:cxn>
                  <a:cxn ang="0">
                    <a:pos x="T6" y="T7"/>
                  </a:cxn>
                </a:cxnLst>
                <a:rect l="0" t="0" r="r" b="b"/>
                <a:pathLst>
                  <a:path w="1" h="5">
                    <a:moveTo>
                      <a:pt x="1" y="5"/>
                    </a:moveTo>
                    <a:lnTo>
                      <a:pt x="1" y="5"/>
                    </a:lnTo>
                    <a:lnTo>
                      <a:pt x="0" y="0"/>
                    </a:lnTo>
                    <a:cubicBezTo>
                      <a:pt x="0" y="2"/>
                      <a:pt x="0" y="3"/>
                      <a:pt x="1" y="5"/>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7" name="Freeform 2551"/>
              <p:cNvSpPr>
                <a:spLocks/>
              </p:cNvSpPr>
              <p:nvPr/>
            </p:nvSpPr>
            <p:spPr bwMode="auto">
              <a:xfrm>
                <a:off x="3552826" y="4073526"/>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cubicBezTo>
                      <a:pt x="0" y="0"/>
                      <a:pt x="0" y="1"/>
                      <a:pt x="0" y="2"/>
                    </a:cubicBezTo>
                    <a:cubicBezTo>
                      <a:pt x="0" y="1"/>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8" name="Freeform 2552"/>
              <p:cNvSpPr>
                <a:spLocks/>
              </p:cNvSpPr>
              <p:nvPr/>
            </p:nvSpPr>
            <p:spPr bwMode="auto">
              <a:xfrm>
                <a:off x="3554413" y="4379913"/>
                <a:ext cx="0" cy="0"/>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1"/>
                      <a:pt x="0" y="1"/>
                      <a:pt x="0" y="2"/>
                    </a:cubicBezTo>
                    <a:cubicBezTo>
                      <a:pt x="0" y="2"/>
                      <a:pt x="1" y="2"/>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9" name="Rectangle 2553"/>
              <p:cNvSpPr>
                <a:spLocks noChangeArrowheads="1"/>
              </p:cNvSpPr>
              <p:nvPr/>
            </p:nvSpPr>
            <p:spPr bwMode="auto">
              <a:xfrm>
                <a:off x="3536951" y="4343401"/>
                <a:ext cx="1588" cy="1588"/>
              </a:xfrm>
              <a:prstGeom prst="rect">
                <a:avLst/>
              </a:prstGeom>
              <a:solidFill>
                <a:srgbClr val="A8B21C"/>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0" name="Freeform 2554"/>
              <p:cNvSpPr>
                <a:spLocks/>
              </p:cNvSpPr>
              <p:nvPr/>
            </p:nvSpPr>
            <p:spPr bwMode="auto">
              <a:xfrm>
                <a:off x="3536951" y="4343401"/>
                <a:ext cx="0" cy="1588"/>
              </a:xfrm>
              <a:custGeom>
                <a:avLst/>
                <a:gdLst>
                  <a:gd name="T0" fmla="*/ 2 w 3"/>
                  <a:gd name="T1" fmla="*/ 6 h 6"/>
                  <a:gd name="T2" fmla="*/ 2 w 3"/>
                  <a:gd name="T3" fmla="*/ 6 h 6"/>
                  <a:gd name="T4" fmla="*/ 0 w 3"/>
                  <a:gd name="T5" fmla="*/ 0 h 6"/>
                  <a:gd name="T6" fmla="*/ 2 w 3"/>
                  <a:gd name="T7" fmla="*/ 6 h 6"/>
                </a:gdLst>
                <a:ahLst/>
                <a:cxnLst>
                  <a:cxn ang="0">
                    <a:pos x="T0" y="T1"/>
                  </a:cxn>
                  <a:cxn ang="0">
                    <a:pos x="T2" y="T3"/>
                  </a:cxn>
                  <a:cxn ang="0">
                    <a:pos x="T4" y="T5"/>
                  </a:cxn>
                  <a:cxn ang="0">
                    <a:pos x="T6" y="T7"/>
                  </a:cxn>
                </a:cxnLst>
                <a:rect l="0" t="0" r="r" b="b"/>
                <a:pathLst>
                  <a:path w="3" h="6">
                    <a:moveTo>
                      <a:pt x="2" y="6"/>
                    </a:moveTo>
                    <a:lnTo>
                      <a:pt x="2" y="6"/>
                    </a:lnTo>
                    <a:cubicBezTo>
                      <a:pt x="3" y="4"/>
                      <a:pt x="1" y="1"/>
                      <a:pt x="0" y="0"/>
                    </a:cubicBezTo>
                    <a:cubicBezTo>
                      <a:pt x="0" y="2"/>
                      <a:pt x="0" y="3"/>
                      <a:pt x="2" y="6"/>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1" name="Freeform 2555"/>
              <p:cNvSpPr>
                <a:spLocks/>
              </p:cNvSpPr>
              <p:nvPr/>
            </p:nvSpPr>
            <p:spPr bwMode="auto">
              <a:xfrm>
                <a:off x="3536951" y="4338638"/>
                <a:ext cx="0" cy="1588"/>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0"/>
                      <a:pt x="0" y="1"/>
                    </a:cubicBezTo>
                    <a:cubicBezTo>
                      <a:pt x="0" y="0"/>
                      <a:pt x="0"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2" name="Freeform 2556"/>
              <p:cNvSpPr>
                <a:spLocks/>
              </p:cNvSpPr>
              <p:nvPr/>
            </p:nvSpPr>
            <p:spPr bwMode="auto">
              <a:xfrm>
                <a:off x="3536951" y="4379913"/>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3" name="Freeform 2557"/>
              <p:cNvSpPr>
                <a:spLocks/>
              </p:cNvSpPr>
              <p:nvPr/>
            </p:nvSpPr>
            <p:spPr bwMode="auto">
              <a:xfrm>
                <a:off x="3536951" y="437038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0"/>
                      <a:pt x="1" y="0"/>
                    </a:cubicBezTo>
                    <a:cubicBezTo>
                      <a:pt x="0" y="0"/>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4" name="Rectangle 2558"/>
              <p:cNvSpPr>
                <a:spLocks noChangeArrowheads="1"/>
              </p:cNvSpPr>
              <p:nvPr/>
            </p:nvSpPr>
            <p:spPr bwMode="auto">
              <a:xfrm>
                <a:off x="3533776" y="4319588"/>
                <a:ext cx="1588" cy="1588"/>
              </a:xfrm>
              <a:prstGeom prst="rect">
                <a:avLst/>
              </a:prstGeom>
              <a:solidFill>
                <a:srgbClr val="A8B21C"/>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5" name="Freeform 2559"/>
              <p:cNvSpPr>
                <a:spLocks/>
              </p:cNvSpPr>
              <p:nvPr/>
            </p:nvSpPr>
            <p:spPr bwMode="auto">
              <a:xfrm>
                <a:off x="3522663" y="3948113"/>
                <a:ext cx="39688" cy="596900"/>
              </a:xfrm>
              <a:custGeom>
                <a:avLst/>
                <a:gdLst>
                  <a:gd name="T0" fmla="*/ 17 w 125"/>
                  <a:gd name="T1" fmla="*/ 1053 h 1904"/>
                  <a:gd name="T2" fmla="*/ 26 w 125"/>
                  <a:gd name="T3" fmla="*/ 1127 h 1904"/>
                  <a:gd name="T4" fmla="*/ 36 w 125"/>
                  <a:gd name="T5" fmla="*/ 1194 h 1904"/>
                  <a:gd name="T6" fmla="*/ 41 w 125"/>
                  <a:gd name="T7" fmla="*/ 1222 h 1904"/>
                  <a:gd name="T8" fmla="*/ 38 w 125"/>
                  <a:gd name="T9" fmla="*/ 1246 h 1904"/>
                  <a:gd name="T10" fmla="*/ 46 w 125"/>
                  <a:gd name="T11" fmla="*/ 1286 h 1904"/>
                  <a:gd name="T12" fmla="*/ 43 w 125"/>
                  <a:gd name="T13" fmla="*/ 1321 h 1904"/>
                  <a:gd name="T14" fmla="*/ 48 w 125"/>
                  <a:gd name="T15" fmla="*/ 1357 h 1904"/>
                  <a:gd name="T16" fmla="*/ 53 w 125"/>
                  <a:gd name="T17" fmla="*/ 1406 h 1904"/>
                  <a:gd name="T18" fmla="*/ 58 w 125"/>
                  <a:gd name="T19" fmla="*/ 1447 h 1904"/>
                  <a:gd name="T20" fmla="*/ 47 w 125"/>
                  <a:gd name="T21" fmla="*/ 1480 h 1904"/>
                  <a:gd name="T22" fmla="*/ 49 w 125"/>
                  <a:gd name="T23" fmla="*/ 1552 h 1904"/>
                  <a:gd name="T24" fmla="*/ 53 w 125"/>
                  <a:gd name="T25" fmla="*/ 1594 h 1904"/>
                  <a:gd name="T26" fmla="*/ 52 w 125"/>
                  <a:gd name="T27" fmla="*/ 1655 h 1904"/>
                  <a:gd name="T28" fmla="*/ 58 w 125"/>
                  <a:gd name="T29" fmla="*/ 1695 h 1904"/>
                  <a:gd name="T30" fmla="*/ 54 w 125"/>
                  <a:gd name="T31" fmla="*/ 1714 h 1904"/>
                  <a:gd name="T32" fmla="*/ 68 w 125"/>
                  <a:gd name="T33" fmla="*/ 1740 h 1904"/>
                  <a:gd name="T34" fmla="*/ 63 w 125"/>
                  <a:gd name="T35" fmla="*/ 1766 h 1904"/>
                  <a:gd name="T36" fmla="*/ 69 w 125"/>
                  <a:gd name="T37" fmla="*/ 1784 h 1904"/>
                  <a:gd name="T38" fmla="*/ 71 w 125"/>
                  <a:gd name="T39" fmla="*/ 1852 h 1904"/>
                  <a:gd name="T40" fmla="*/ 70 w 125"/>
                  <a:gd name="T41" fmla="*/ 1889 h 1904"/>
                  <a:gd name="T42" fmla="*/ 85 w 125"/>
                  <a:gd name="T43" fmla="*/ 1865 h 1904"/>
                  <a:gd name="T44" fmla="*/ 84 w 125"/>
                  <a:gd name="T45" fmla="*/ 1835 h 1904"/>
                  <a:gd name="T46" fmla="*/ 90 w 125"/>
                  <a:gd name="T47" fmla="*/ 1813 h 1904"/>
                  <a:gd name="T48" fmla="*/ 89 w 125"/>
                  <a:gd name="T49" fmla="*/ 1756 h 1904"/>
                  <a:gd name="T50" fmla="*/ 90 w 125"/>
                  <a:gd name="T51" fmla="*/ 1724 h 1904"/>
                  <a:gd name="T52" fmla="*/ 89 w 125"/>
                  <a:gd name="T53" fmla="*/ 1659 h 1904"/>
                  <a:gd name="T54" fmla="*/ 91 w 125"/>
                  <a:gd name="T55" fmla="*/ 1615 h 1904"/>
                  <a:gd name="T56" fmla="*/ 91 w 125"/>
                  <a:gd name="T57" fmla="*/ 1579 h 1904"/>
                  <a:gd name="T58" fmla="*/ 93 w 125"/>
                  <a:gd name="T59" fmla="*/ 1536 h 1904"/>
                  <a:gd name="T60" fmla="*/ 97 w 125"/>
                  <a:gd name="T61" fmla="*/ 1494 h 1904"/>
                  <a:gd name="T62" fmla="*/ 102 w 125"/>
                  <a:gd name="T63" fmla="*/ 1419 h 1904"/>
                  <a:gd name="T64" fmla="*/ 99 w 125"/>
                  <a:gd name="T65" fmla="*/ 1358 h 1904"/>
                  <a:gd name="T66" fmla="*/ 99 w 125"/>
                  <a:gd name="T67" fmla="*/ 1315 h 1904"/>
                  <a:gd name="T68" fmla="*/ 102 w 125"/>
                  <a:gd name="T69" fmla="*/ 1278 h 1904"/>
                  <a:gd name="T70" fmla="*/ 100 w 125"/>
                  <a:gd name="T71" fmla="*/ 1218 h 1904"/>
                  <a:gd name="T72" fmla="*/ 101 w 125"/>
                  <a:gd name="T73" fmla="*/ 1157 h 1904"/>
                  <a:gd name="T74" fmla="*/ 96 w 125"/>
                  <a:gd name="T75" fmla="*/ 1094 h 1904"/>
                  <a:gd name="T76" fmla="*/ 87 w 125"/>
                  <a:gd name="T77" fmla="*/ 944 h 1904"/>
                  <a:gd name="T78" fmla="*/ 84 w 125"/>
                  <a:gd name="T79" fmla="*/ 884 h 1904"/>
                  <a:gd name="T80" fmla="*/ 84 w 125"/>
                  <a:gd name="T81" fmla="*/ 839 h 1904"/>
                  <a:gd name="T82" fmla="*/ 78 w 125"/>
                  <a:gd name="T83" fmla="*/ 776 h 1904"/>
                  <a:gd name="T84" fmla="*/ 82 w 125"/>
                  <a:gd name="T85" fmla="*/ 635 h 1904"/>
                  <a:gd name="T86" fmla="*/ 82 w 125"/>
                  <a:gd name="T87" fmla="*/ 534 h 1904"/>
                  <a:gd name="T88" fmla="*/ 94 w 125"/>
                  <a:gd name="T89" fmla="*/ 398 h 1904"/>
                  <a:gd name="T90" fmla="*/ 109 w 125"/>
                  <a:gd name="T91" fmla="*/ 2 h 1904"/>
                  <a:gd name="T92" fmla="*/ 97 w 125"/>
                  <a:gd name="T93" fmla="*/ 30 h 1904"/>
                  <a:gd name="T94" fmla="*/ 89 w 125"/>
                  <a:gd name="T95" fmla="*/ 44 h 1904"/>
                  <a:gd name="T96" fmla="*/ 74 w 125"/>
                  <a:gd name="T97" fmla="*/ 92 h 1904"/>
                  <a:gd name="T98" fmla="*/ 35 w 125"/>
                  <a:gd name="T99" fmla="*/ 246 h 1904"/>
                  <a:gd name="T100" fmla="*/ 7 w 125"/>
                  <a:gd name="T101" fmla="*/ 574 h 1904"/>
                  <a:gd name="T102" fmla="*/ 6 w 125"/>
                  <a:gd name="T103" fmla="*/ 618 h 1904"/>
                  <a:gd name="T104" fmla="*/ 2 w 125"/>
                  <a:gd name="T105" fmla="*/ 759 h 1904"/>
                  <a:gd name="T106" fmla="*/ 10 w 125"/>
                  <a:gd name="T107" fmla="*/ 820 h 1904"/>
                  <a:gd name="T108" fmla="*/ 6 w 125"/>
                  <a:gd name="T109" fmla="*/ 883 h 1904"/>
                  <a:gd name="T110" fmla="*/ 5 w 125"/>
                  <a:gd name="T111" fmla="*/ 94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1904">
                    <a:moveTo>
                      <a:pt x="5" y="945"/>
                    </a:moveTo>
                    <a:lnTo>
                      <a:pt x="5" y="945"/>
                    </a:lnTo>
                    <a:cubicBezTo>
                      <a:pt x="7" y="969"/>
                      <a:pt x="13" y="1000"/>
                      <a:pt x="13" y="1024"/>
                    </a:cubicBezTo>
                    <a:cubicBezTo>
                      <a:pt x="18" y="1029"/>
                      <a:pt x="18" y="1036"/>
                      <a:pt x="20" y="1044"/>
                    </a:cubicBezTo>
                    <a:lnTo>
                      <a:pt x="14" y="1045"/>
                    </a:lnTo>
                    <a:lnTo>
                      <a:pt x="17" y="1051"/>
                    </a:lnTo>
                    <a:cubicBezTo>
                      <a:pt x="15" y="1054"/>
                      <a:pt x="15" y="1046"/>
                      <a:pt x="13" y="1051"/>
                    </a:cubicBezTo>
                    <a:lnTo>
                      <a:pt x="17" y="1053"/>
                    </a:lnTo>
                    <a:cubicBezTo>
                      <a:pt x="15" y="1054"/>
                      <a:pt x="17" y="1070"/>
                      <a:pt x="12" y="1059"/>
                    </a:cubicBezTo>
                    <a:lnTo>
                      <a:pt x="14" y="1084"/>
                    </a:lnTo>
                    <a:cubicBezTo>
                      <a:pt x="14" y="1089"/>
                      <a:pt x="18" y="1087"/>
                      <a:pt x="17" y="1093"/>
                    </a:cubicBezTo>
                    <a:cubicBezTo>
                      <a:pt x="16" y="1094"/>
                      <a:pt x="16" y="1091"/>
                      <a:pt x="14" y="1091"/>
                    </a:cubicBezTo>
                    <a:cubicBezTo>
                      <a:pt x="11" y="1110"/>
                      <a:pt x="26" y="1111"/>
                      <a:pt x="24" y="1128"/>
                    </a:cubicBezTo>
                    <a:lnTo>
                      <a:pt x="24" y="1127"/>
                    </a:lnTo>
                    <a:cubicBezTo>
                      <a:pt x="25" y="1130"/>
                      <a:pt x="25" y="1135"/>
                      <a:pt x="26" y="1135"/>
                    </a:cubicBezTo>
                    <a:cubicBezTo>
                      <a:pt x="32" y="1133"/>
                      <a:pt x="23" y="1132"/>
                      <a:pt x="26" y="1127"/>
                    </a:cubicBezTo>
                    <a:cubicBezTo>
                      <a:pt x="31" y="1127"/>
                      <a:pt x="29" y="1133"/>
                      <a:pt x="32" y="1133"/>
                    </a:cubicBezTo>
                    <a:cubicBezTo>
                      <a:pt x="31" y="1137"/>
                      <a:pt x="34" y="1139"/>
                      <a:pt x="34" y="1142"/>
                    </a:cubicBezTo>
                    <a:cubicBezTo>
                      <a:pt x="32" y="1148"/>
                      <a:pt x="34" y="1157"/>
                      <a:pt x="31" y="1161"/>
                    </a:cubicBezTo>
                    <a:cubicBezTo>
                      <a:pt x="32" y="1164"/>
                      <a:pt x="37" y="1167"/>
                      <a:pt x="38" y="1173"/>
                    </a:cubicBezTo>
                    <a:cubicBezTo>
                      <a:pt x="34" y="1178"/>
                      <a:pt x="34" y="1172"/>
                      <a:pt x="33" y="1178"/>
                    </a:cubicBezTo>
                    <a:lnTo>
                      <a:pt x="36" y="1179"/>
                    </a:lnTo>
                    <a:cubicBezTo>
                      <a:pt x="36" y="1184"/>
                      <a:pt x="35" y="1183"/>
                      <a:pt x="34" y="1183"/>
                    </a:cubicBezTo>
                    <a:cubicBezTo>
                      <a:pt x="34" y="1189"/>
                      <a:pt x="38" y="1187"/>
                      <a:pt x="36" y="1194"/>
                    </a:cubicBezTo>
                    <a:lnTo>
                      <a:pt x="34" y="1191"/>
                    </a:lnTo>
                    <a:cubicBezTo>
                      <a:pt x="35" y="1195"/>
                      <a:pt x="34" y="1197"/>
                      <a:pt x="35" y="1204"/>
                    </a:cubicBezTo>
                    <a:cubicBezTo>
                      <a:pt x="33" y="1204"/>
                      <a:pt x="33" y="1201"/>
                      <a:pt x="33" y="1199"/>
                    </a:cubicBezTo>
                    <a:cubicBezTo>
                      <a:pt x="30" y="1203"/>
                      <a:pt x="35" y="1206"/>
                      <a:pt x="35" y="1208"/>
                    </a:cubicBezTo>
                    <a:cubicBezTo>
                      <a:pt x="36" y="1207"/>
                      <a:pt x="37" y="1202"/>
                      <a:pt x="39" y="1204"/>
                    </a:cubicBezTo>
                    <a:cubicBezTo>
                      <a:pt x="39" y="1208"/>
                      <a:pt x="43" y="1211"/>
                      <a:pt x="40" y="1214"/>
                    </a:cubicBezTo>
                    <a:lnTo>
                      <a:pt x="38" y="1210"/>
                    </a:lnTo>
                    <a:cubicBezTo>
                      <a:pt x="40" y="1217"/>
                      <a:pt x="41" y="1214"/>
                      <a:pt x="41" y="1222"/>
                    </a:cubicBezTo>
                    <a:cubicBezTo>
                      <a:pt x="40" y="1222"/>
                      <a:pt x="40" y="1222"/>
                      <a:pt x="39" y="1222"/>
                    </a:cubicBezTo>
                    <a:cubicBezTo>
                      <a:pt x="43" y="1227"/>
                      <a:pt x="40" y="1234"/>
                      <a:pt x="40" y="1241"/>
                    </a:cubicBezTo>
                    <a:lnTo>
                      <a:pt x="39" y="1240"/>
                    </a:lnTo>
                    <a:cubicBezTo>
                      <a:pt x="41" y="1243"/>
                      <a:pt x="43" y="1244"/>
                      <a:pt x="43" y="1246"/>
                    </a:cubicBezTo>
                    <a:cubicBezTo>
                      <a:pt x="44" y="1242"/>
                      <a:pt x="45" y="1243"/>
                      <a:pt x="48" y="1242"/>
                    </a:cubicBezTo>
                    <a:cubicBezTo>
                      <a:pt x="44" y="1248"/>
                      <a:pt x="53" y="1251"/>
                      <a:pt x="51" y="1260"/>
                    </a:cubicBezTo>
                    <a:cubicBezTo>
                      <a:pt x="50" y="1260"/>
                      <a:pt x="48" y="1258"/>
                      <a:pt x="49" y="1255"/>
                    </a:cubicBezTo>
                    <a:cubicBezTo>
                      <a:pt x="44" y="1252"/>
                      <a:pt x="40" y="1252"/>
                      <a:pt x="38" y="1246"/>
                    </a:cubicBezTo>
                    <a:cubicBezTo>
                      <a:pt x="39" y="1250"/>
                      <a:pt x="40" y="1254"/>
                      <a:pt x="38" y="1253"/>
                    </a:cubicBezTo>
                    <a:lnTo>
                      <a:pt x="42" y="1254"/>
                    </a:lnTo>
                    <a:cubicBezTo>
                      <a:pt x="43" y="1256"/>
                      <a:pt x="43" y="1258"/>
                      <a:pt x="43" y="1260"/>
                    </a:cubicBezTo>
                    <a:cubicBezTo>
                      <a:pt x="45" y="1260"/>
                      <a:pt x="47" y="1255"/>
                      <a:pt x="49" y="1260"/>
                    </a:cubicBezTo>
                    <a:cubicBezTo>
                      <a:pt x="50" y="1265"/>
                      <a:pt x="45" y="1263"/>
                      <a:pt x="47" y="1264"/>
                    </a:cubicBezTo>
                    <a:cubicBezTo>
                      <a:pt x="49" y="1271"/>
                      <a:pt x="51" y="1267"/>
                      <a:pt x="50" y="1274"/>
                    </a:cubicBezTo>
                    <a:cubicBezTo>
                      <a:pt x="50" y="1273"/>
                      <a:pt x="49" y="1272"/>
                      <a:pt x="49" y="1271"/>
                    </a:cubicBezTo>
                    <a:cubicBezTo>
                      <a:pt x="48" y="1277"/>
                      <a:pt x="51" y="1284"/>
                      <a:pt x="46" y="1286"/>
                    </a:cubicBezTo>
                    <a:cubicBezTo>
                      <a:pt x="45" y="1285"/>
                      <a:pt x="43" y="1285"/>
                      <a:pt x="44" y="1283"/>
                    </a:cubicBezTo>
                    <a:lnTo>
                      <a:pt x="44" y="1283"/>
                    </a:lnTo>
                    <a:cubicBezTo>
                      <a:pt x="40" y="1278"/>
                      <a:pt x="46" y="1288"/>
                      <a:pt x="41" y="1287"/>
                    </a:cubicBezTo>
                    <a:cubicBezTo>
                      <a:pt x="44" y="1286"/>
                      <a:pt x="43" y="1294"/>
                      <a:pt x="43" y="1297"/>
                    </a:cubicBezTo>
                    <a:lnTo>
                      <a:pt x="46" y="1296"/>
                    </a:lnTo>
                    <a:cubicBezTo>
                      <a:pt x="56" y="1306"/>
                      <a:pt x="40" y="1295"/>
                      <a:pt x="42" y="1306"/>
                    </a:cubicBezTo>
                    <a:cubicBezTo>
                      <a:pt x="44" y="1313"/>
                      <a:pt x="42" y="1304"/>
                      <a:pt x="45" y="1308"/>
                    </a:cubicBezTo>
                    <a:cubicBezTo>
                      <a:pt x="44" y="1313"/>
                      <a:pt x="42" y="1314"/>
                      <a:pt x="43" y="1321"/>
                    </a:cubicBezTo>
                    <a:cubicBezTo>
                      <a:pt x="42" y="1323"/>
                      <a:pt x="41" y="1327"/>
                      <a:pt x="37" y="1328"/>
                    </a:cubicBezTo>
                    <a:cubicBezTo>
                      <a:pt x="39" y="1332"/>
                      <a:pt x="36" y="1341"/>
                      <a:pt x="40" y="1343"/>
                    </a:cubicBezTo>
                    <a:cubicBezTo>
                      <a:pt x="42" y="1336"/>
                      <a:pt x="36" y="1336"/>
                      <a:pt x="40" y="1327"/>
                    </a:cubicBezTo>
                    <a:lnTo>
                      <a:pt x="43" y="1329"/>
                    </a:lnTo>
                    <a:cubicBezTo>
                      <a:pt x="44" y="1335"/>
                      <a:pt x="46" y="1343"/>
                      <a:pt x="45" y="1347"/>
                    </a:cubicBezTo>
                    <a:cubicBezTo>
                      <a:pt x="45" y="1346"/>
                      <a:pt x="46" y="1345"/>
                      <a:pt x="47" y="1346"/>
                    </a:cubicBezTo>
                    <a:cubicBezTo>
                      <a:pt x="48" y="1354"/>
                      <a:pt x="52" y="1356"/>
                      <a:pt x="51" y="1364"/>
                    </a:cubicBezTo>
                    <a:cubicBezTo>
                      <a:pt x="48" y="1366"/>
                      <a:pt x="48" y="1361"/>
                      <a:pt x="48" y="1357"/>
                    </a:cubicBezTo>
                    <a:cubicBezTo>
                      <a:pt x="46" y="1363"/>
                      <a:pt x="48" y="1363"/>
                      <a:pt x="47" y="1371"/>
                    </a:cubicBezTo>
                    <a:cubicBezTo>
                      <a:pt x="45" y="1371"/>
                      <a:pt x="47" y="1366"/>
                      <a:pt x="45" y="1365"/>
                    </a:cubicBezTo>
                    <a:lnTo>
                      <a:pt x="46" y="1374"/>
                    </a:lnTo>
                    <a:cubicBezTo>
                      <a:pt x="46" y="1374"/>
                      <a:pt x="45" y="1374"/>
                      <a:pt x="45" y="1374"/>
                    </a:cubicBezTo>
                    <a:cubicBezTo>
                      <a:pt x="50" y="1375"/>
                      <a:pt x="45" y="1380"/>
                      <a:pt x="47" y="1386"/>
                    </a:cubicBezTo>
                    <a:cubicBezTo>
                      <a:pt x="47" y="1399"/>
                      <a:pt x="53" y="1400"/>
                      <a:pt x="57" y="1407"/>
                    </a:cubicBezTo>
                    <a:cubicBezTo>
                      <a:pt x="56" y="1409"/>
                      <a:pt x="55" y="1410"/>
                      <a:pt x="53" y="1409"/>
                    </a:cubicBezTo>
                    <a:cubicBezTo>
                      <a:pt x="55" y="1406"/>
                      <a:pt x="54" y="1407"/>
                      <a:pt x="53" y="1406"/>
                    </a:cubicBezTo>
                    <a:cubicBezTo>
                      <a:pt x="53" y="1410"/>
                      <a:pt x="48" y="1415"/>
                      <a:pt x="46" y="1413"/>
                    </a:cubicBezTo>
                    <a:cubicBezTo>
                      <a:pt x="48" y="1420"/>
                      <a:pt x="49" y="1410"/>
                      <a:pt x="50" y="1414"/>
                    </a:cubicBezTo>
                    <a:lnTo>
                      <a:pt x="50" y="1424"/>
                    </a:lnTo>
                    <a:cubicBezTo>
                      <a:pt x="53" y="1423"/>
                      <a:pt x="53" y="1419"/>
                      <a:pt x="55" y="1424"/>
                    </a:cubicBezTo>
                    <a:cubicBezTo>
                      <a:pt x="56" y="1428"/>
                      <a:pt x="55" y="1430"/>
                      <a:pt x="55" y="1436"/>
                    </a:cubicBezTo>
                    <a:cubicBezTo>
                      <a:pt x="54" y="1435"/>
                      <a:pt x="51" y="1437"/>
                      <a:pt x="52" y="1433"/>
                    </a:cubicBezTo>
                    <a:cubicBezTo>
                      <a:pt x="51" y="1436"/>
                      <a:pt x="51" y="1440"/>
                      <a:pt x="53" y="1441"/>
                    </a:cubicBezTo>
                    <a:cubicBezTo>
                      <a:pt x="55" y="1436"/>
                      <a:pt x="55" y="1451"/>
                      <a:pt x="58" y="1447"/>
                    </a:cubicBezTo>
                    <a:lnTo>
                      <a:pt x="56" y="1452"/>
                    </a:lnTo>
                    <a:cubicBezTo>
                      <a:pt x="56" y="1451"/>
                      <a:pt x="55" y="1451"/>
                      <a:pt x="55" y="1449"/>
                    </a:cubicBezTo>
                    <a:cubicBezTo>
                      <a:pt x="52" y="1451"/>
                      <a:pt x="56" y="1454"/>
                      <a:pt x="57" y="1456"/>
                    </a:cubicBezTo>
                    <a:cubicBezTo>
                      <a:pt x="56" y="1458"/>
                      <a:pt x="56" y="1463"/>
                      <a:pt x="54" y="1464"/>
                    </a:cubicBezTo>
                    <a:cubicBezTo>
                      <a:pt x="55" y="1465"/>
                      <a:pt x="54" y="1470"/>
                      <a:pt x="52" y="1470"/>
                    </a:cubicBezTo>
                    <a:cubicBezTo>
                      <a:pt x="53" y="1473"/>
                      <a:pt x="55" y="1471"/>
                      <a:pt x="56" y="1472"/>
                    </a:cubicBezTo>
                    <a:lnTo>
                      <a:pt x="55" y="1481"/>
                    </a:lnTo>
                    <a:cubicBezTo>
                      <a:pt x="53" y="1481"/>
                      <a:pt x="47" y="1481"/>
                      <a:pt x="47" y="1480"/>
                    </a:cubicBezTo>
                    <a:cubicBezTo>
                      <a:pt x="48" y="1483"/>
                      <a:pt x="52" y="1482"/>
                      <a:pt x="52" y="1487"/>
                    </a:cubicBezTo>
                    <a:cubicBezTo>
                      <a:pt x="48" y="1483"/>
                      <a:pt x="49" y="1494"/>
                      <a:pt x="44" y="1489"/>
                    </a:cubicBezTo>
                    <a:cubicBezTo>
                      <a:pt x="41" y="1492"/>
                      <a:pt x="41" y="1501"/>
                      <a:pt x="41" y="1506"/>
                    </a:cubicBezTo>
                    <a:cubicBezTo>
                      <a:pt x="44" y="1510"/>
                      <a:pt x="44" y="1501"/>
                      <a:pt x="47" y="1501"/>
                    </a:cubicBezTo>
                    <a:cubicBezTo>
                      <a:pt x="47" y="1516"/>
                      <a:pt x="56" y="1517"/>
                      <a:pt x="54" y="1527"/>
                    </a:cubicBezTo>
                    <a:lnTo>
                      <a:pt x="55" y="1525"/>
                    </a:lnTo>
                    <a:cubicBezTo>
                      <a:pt x="56" y="1531"/>
                      <a:pt x="56" y="1530"/>
                      <a:pt x="58" y="1534"/>
                    </a:cubicBezTo>
                    <a:cubicBezTo>
                      <a:pt x="55" y="1532"/>
                      <a:pt x="48" y="1541"/>
                      <a:pt x="49" y="1552"/>
                    </a:cubicBezTo>
                    <a:cubicBezTo>
                      <a:pt x="51" y="1553"/>
                      <a:pt x="52" y="1546"/>
                      <a:pt x="55" y="1548"/>
                    </a:cubicBezTo>
                    <a:lnTo>
                      <a:pt x="56" y="1555"/>
                    </a:lnTo>
                    <a:cubicBezTo>
                      <a:pt x="56" y="1555"/>
                      <a:pt x="55" y="1554"/>
                      <a:pt x="55" y="1554"/>
                    </a:cubicBezTo>
                    <a:cubicBezTo>
                      <a:pt x="56" y="1560"/>
                      <a:pt x="50" y="1565"/>
                      <a:pt x="54" y="1567"/>
                    </a:cubicBezTo>
                    <a:lnTo>
                      <a:pt x="49" y="1573"/>
                    </a:lnTo>
                    <a:lnTo>
                      <a:pt x="51" y="1571"/>
                    </a:lnTo>
                    <a:cubicBezTo>
                      <a:pt x="53" y="1572"/>
                      <a:pt x="54" y="1579"/>
                      <a:pt x="54" y="1580"/>
                    </a:cubicBezTo>
                    <a:cubicBezTo>
                      <a:pt x="57" y="1587"/>
                      <a:pt x="55" y="1590"/>
                      <a:pt x="53" y="1594"/>
                    </a:cubicBezTo>
                    <a:cubicBezTo>
                      <a:pt x="54" y="1592"/>
                      <a:pt x="58" y="1589"/>
                      <a:pt x="58" y="1595"/>
                    </a:cubicBezTo>
                    <a:cubicBezTo>
                      <a:pt x="52" y="1595"/>
                      <a:pt x="56" y="1607"/>
                      <a:pt x="53" y="1607"/>
                    </a:cubicBezTo>
                    <a:cubicBezTo>
                      <a:pt x="53" y="1609"/>
                      <a:pt x="52" y="1613"/>
                      <a:pt x="54" y="1613"/>
                    </a:cubicBezTo>
                    <a:lnTo>
                      <a:pt x="50" y="1613"/>
                    </a:lnTo>
                    <a:cubicBezTo>
                      <a:pt x="56" y="1613"/>
                      <a:pt x="56" y="1621"/>
                      <a:pt x="57" y="1628"/>
                    </a:cubicBezTo>
                    <a:cubicBezTo>
                      <a:pt x="50" y="1627"/>
                      <a:pt x="58" y="1635"/>
                      <a:pt x="51" y="1638"/>
                    </a:cubicBezTo>
                    <a:cubicBezTo>
                      <a:pt x="56" y="1639"/>
                      <a:pt x="54" y="1649"/>
                      <a:pt x="58" y="1650"/>
                    </a:cubicBezTo>
                    <a:cubicBezTo>
                      <a:pt x="59" y="1654"/>
                      <a:pt x="54" y="1654"/>
                      <a:pt x="52" y="1655"/>
                    </a:cubicBezTo>
                    <a:lnTo>
                      <a:pt x="54" y="1658"/>
                    </a:lnTo>
                    <a:cubicBezTo>
                      <a:pt x="52" y="1660"/>
                      <a:pt x="52" y="1669"/>
                      <a:pt x="51" y="1675"/>
                    </a:cubicBezTo>
                    <a:lnTo>
                      <a:pt x="56" y="1680"/>
                    </a:lnTo>
                    <a:lnTo>
                      <a:pt x="54" y="1682"/>
                    </a:lnTo>
                    <a:cubicBezTo>
                      <a:pt x="55" y="1682"/>
                      <a:pt x="56" y="1686"/>
                      <a:pt x="57" y="1684"/>
                    </a:cubicBezTo>
                    <a:lnTo>
                      <a:pt x="57" y="1686"/>
                    </a:lnTo>
                    <a:cubicBezTo>
                      <a:pt x="62" y="1686"/>
                      <a:pt x="59" y="1690"/>
                      <a:pt x="61" y="1695"/>
                    </a:cubicBezTo>
                    <a:cubicBezTo>
                      <a:pt x="60" y="1697"/>
                      <a:pt x="59" y="1697"/>
                      <a:pt x="58" y="1695"/>
                    </a:cubicBezTo>
                    <a:cubicBezTo>
                      <a:pt x="59" y="1698"/>
                      <a:pt x="56" y="1697"/>
                      <a:pt x="55" y="1699"/>
                    </a:cubicBezTo>
                    <a:cubicBezTo>
                      <a:pt x="56" y="1697"/>
                      <a:pt x="64" y="1708"/>
                      <a:pt x="65" y="1700"/>
                    </a:cubicBezTo>
                    <a:cubicBezTo>
                      <a:pt x="67" y="1700"/>
                      <a:pt x="69" y="1704"/>
                      <a:pt x="68" y="1707"/>
                    </a:cubicBezTo>
                    <a:lnTo>
                      <a:pt x="64" y="1709"/>
                    </a:lnTo>
                    <a:lnTo>
                      <a:pt x="69" y="1711"/>
                    </a:lnTo>
                    <a:cubicBezTo>
                      <a:pt x="70" y="1716"/>
                      <a:pt x="67" y="1718"/>
                      <a:pt x="67" y="1721"/>
                    </a:cubicBezTo>
                    <a:cubicBezTo>
                      <a:pt x="66" y="1718"/>
                      <a:pt x="58" y="1714"/>
                      <a:pt x="59" y="1723"/>
                    </a:cubicBezTo>
                    <a:cubicBezTo>
                      <a:pt x="58" y="1718"/>
                      <a:pt x="55" y="1716"/>
                      <a:pt x="54" y="1714"/>
                    </a:cubicBezTo>
                    <a:cubicBezTo>
                      <a:pt x="54" y="1715"/>
                      <a:pt x="54" y="1716"/>
                      <a:pt x="52" y="1714"/>
                    </a:cubicBezTo>
                    <a:cubicBezTo>
                      <a:pt x="54" y="1720"/>
                      <a:pt x="55" y="1716"/>
                      <a:pt x="56" y="1723"/>
                    </a:cubicBezTo>
                    <a:cubicBezTo>
                      <a:pt x="52" y="1722"/>
                      <a:pt x="51" y="1725"/>
                      <a:pt x="50" y="1731"/>
                    </a:cubicBezTo>
                    <a:lnTo>
                      <a:pt x="52" y="1726"/>
                    </a:lnTo>
                    <a:cubicBezTo>
                      <a:pt x="53" y="1726"/>
                      <a:pt x="53" y="1726"/>
                      <a:pt x="53" y="1727"/>
                    </a:cubicBezTo>
                    <a:cubicBezTo>
                      <a:pt x="54" y="1725"/>
                      <a:pt x="54" y="1724"/>
                      <a:pt x="56" y="1724"/>
                    </a:cubicBezTo>
                    <a:cubicBezTo>
                      <a:pt x="56" y="1725"/>
                      <a:pt x="61" y="1732"/>
                      <a:pt x="59" y="1733"/>
                    </a:cubicBezTo>
                    <a:cubicBezTo>
                      <a:pt x="64" y="1726"/>
                      <a:pt x="64" y="1745"/>
                      <a:pt x="68" y="1740"/>
                    </a:cubicBezTo>
                    <a:cubicBezTo>
                      <a:pt x="69" y="1741"/>
                      <a:pt x="69" y="1746"/>
                      <a:pt x="67" y="1746"/>
                    </a:cubicBezTo>
                    <a:cubicBezTo>
                      <a:pt x="64" y="1741"/>
                      <a:pt x="63" y="1751"/>
                      <a:pt x="61" y="1750"/>
                    </a:cubicBezTo>
                    <a:cubicBezTo>
                      <a:pt x="62" y="1752"/>
                      <a:pt x="63" y="1745"/>
                      <a:pt x="65" y="1748"/>
                    </a:cubicBezTo>
                    <a:cubicBezTo>
                      <a:pt x="65" y="1752"/>
                      <a:pt x="63" y="1754"/>
                      <a:pt x="62" y="1756"/>
                    </a:cubicBezTo>
                    <a:lnTo>
                      <a:pt x="61" y="1755"/>
                    </a:lnTo>
                    <a:lnTo>
                      <a:pt x="60" y="1760"/>
                    </a:lnTo>
                    <a:cubicBezTo>
                      <a:pt x="62" y="1761"/>
                      <a:pt x="63" y="1755"/>
                      <a:pt x="64" y="1760"/>
                    </a:cubicBezTo>
                    <a:cubicBezTo>
                      <a:pt x="63" y="1761"/>
                      <a:pt x="65" y="1766"/>
                      <a:pt x="63" y="1766"/>
                    </a:cubicBezTo>
                    <a:cubicBezTo>
                      <a:pt x="60" y="1764"/>
                      <a:pt x="57" y="1766"/>
                      <a:pt x="56" y="1762"/>
                    </a:cubicBezTo>
                    <a:cubicBezTo>
                      <a:pt x="57" y="1765"/>
                      <a:pt x="58" y="1776"/>
                      <a:pt x="61" y="1771"/>
                    </a:cubicBezTo>
                    <a:lnTo>
                      <a:pt x="61" y="1775"/>
                    </a:lnTo>
                    <a:cubicBezTo>
                      <a:pt x="63" y="1773"/>
                      <a:pt x="65" y="1765"/>
                      <a:pt x="66" y="1773"/>
                    </a:cubicBezTo>
                    <a:lnTo>
                      <a:pt x="65" y="1773"/>
                    </a:lnTo>
                    <a:lnTo>
                      <a:pt x="69" y="1779"/>
                    </a:lnTo>
                    <a:lnTo>
                      <a:pt x="67" y="1782"/>
                    </a:lnTo>
                    <a:cubicBezTo>
                      <a:pt x="68" y="1781"/>
                      <a:pt x="69" y="1782"/>
                      <a:pt x="69" y="1784"/>
                    </a:cubicBezTo>
                    <a:cubicBezTo>
                      <a:pt x="68" y="1785"/>
                      <a:pt x="68" y="1787"/>
                      <a:pt x="66" y="1787"/>
                    </a:cubicBezTo>
                    <a:cubicBezTo>
                      <a:pt x="67" y="1793"/>
                      <a:pt x="69" y="1793"/>
                      <a:pt x="70" y="1793"/>
                    </a:cubicBezTo>
                    <a:cubicBezTo>
                      <a:pt x="70" y="1797"/>
                      <a:pt x="70" y="1798"/>
                      <a:pt x="67" y="1797"/>
                    </a:cubicBezTo>
                    <a:cubicBezTo>
                      <a:pt x="67" y="1801"/>
                      <a:pt x="68" y="1810"/>
                      <a:pt x="67" y="1813"/>
                    </a:cubicBezTo>
                    <a:cubicBezTo>
                      <a:pt x="69" y="1819"/>
                      <a:pt x="67" y="1812"/>
                      <a:pt x="70" y="1815"/>
                    </a:cubicBezTo>
                    <a:cubicBezTo>
                      <a:pt x="64" y="1821"/>
                      <a:pt x="69" y="1836"/>
                      <a:pt x="71" y="1846"/>
                    </a:cubicBezTo>
                    <a:cubicBezTo>
                      <a:pt x="77" y="1843"/>
                      <a:pt x="72" y="1849"/>
                      <a:pt x="77" y="1851"/>
                    </a:cubicBezTo>
                    <a:cubicBezTo>
                      <a:pt x="75" y="1848"/>
                      <a:pt x="74" y="1861"/>
                      <a:pt x="71" y="1852"/>
                    </a:cubicBezTo>
                    <a:lnTo>
                      <a:pt x="72" y="1857"/>
                    </a:lnTo>
                    <a:cubicBezTo>
                      <a:pt x="70" y="1861"/>
                      <a:pt x="69" y="1848"/>
                      <a:pt x="65" y="1855"/>
                    </a:cubicBezTo>
                    <a:cubicBezTo>
                      <a:pt x="66" y="1861"/>
                      <a:pt x="73" y="1864"/>
                      <a:pt x="71" y="1872"/>
                    </a:cubicBezTo>
                    <a:cubicBezTo>
                      <a:pt x="67" y="1870"/>
                      <a:pt x="73" y="1877"/>
                      <a:pt x="68" y="1876"/>
                    </a:cubicBezTo>
                    <a:cubicBezTo>
                      <a:pt x="67" y="1874"/>
                      <a:pt x="67" y="1872"/>
                      <a:pt x="67" y="1870"/>
                    </a:cubicBezTo>
                    <a:lnTo>
                      <a:pt x="66" y="1872"/>
                    </a:lnTo>
                    <a:cubicBezTo>
                      <a:pt x="66" y="1885"/>
                      <a:pt x="71" y="1875"/>
                      <a:pt x="75" y="1882"/>
                    </a:cubicBezTo>
                    <a:cubicBezTo>
                      <a:pt x="76" y="1890"/>
                      <a:pt x="72" y="1889"/>
                      <a:pt x="70" y="1889"/>
                    </a:cubicBezTo>
                    <a:cubicBezTo>
                      <a:pt x="69" y="1891"/>
                      <a:pt x="70" y="1895"/>
                      <a:pt x="72" y="1897"/>
                    </a:cubicBezTo>
                    <a:cubicBezTo>
                      <a:pt x="69" y="1892"/>
                      <a:pt x="73" y="1887"/>
                      <a:pt x="76" y="1889"/>
                    </a:cubicBezTo>
                    <a:cubicBezTo>
                      <a:pt x="72" y="1893"/>
                      <a:pt x="77" y="1902"/>
                      <a:pt x="79" y="1904"/>
                    </a:cubicBezTo>
                    <a:cubicBezTo>
                      <a:pt x="83" y="1891"/>
                      <a:pt x="79" y="1896"/>
                      <a:pt x="83" y="1884"/>
                    </a:cubicBezTo>
                    <a:cubicBezTo>
                      <a:pt x="81" y="1883"/>
                      <a:pt x="77" y="1883"/>
                      <a:pt x="78" y="1876"/>
                    </a:cubicBezTo>
                    <a:cubicBezTo>
                      <a:pt x="81" y="1880"/>
                      <a:pt x="81" y="1876"/>
                      <a:pt x="81" y="1875"/>
                    </a:cubicBezTo>
                    <a:cubicBezTo>
                      <a:pt x="79" y="1876"/>
                      <a:pt x="80" y="1870"/>
                      <a:pt x="79" y="1868"/>
                    </a:cubicBezTo>
                    <a:cubicBezTo>
                      <a:pt x="80" y="1866"/>
                      <a:pt x="85" y="1872"/>
                      <a:pt x="85" y="1865"/>
                    </a:cubicBezTo>
                    <a:lnTo>
                      <a:pt x="79" y="1864"/>
                    </a:lnTo>
                    <a:cubicBezTo>
                      <a:pt x="80" y="1861"/>
                      <a:pt x="83" y="1865"/>
                      <a:pt x="82" y="1859"/>
                    </a:cubicBezTo>
                    <a:cubicBezTo>
                      <a:pt x="85" y="1862"/>
                      <a:pt x="86" y="1858"/>
                      <a:pt x="88" y="1866"/>
                    </a:cubicBezTo>
                    <a:cubicBezTo>
                      <a:pt x="92" y="1856"/>
                      <a:pt x="84" y="1852"/>
                      <a:pt x="81" y="1845"/>
                    </a:cubicBezTo>
                    <a:cubicBezTo>
                      <a:pt x="82" y="1846"/>
                      <a:pt x="82" y="1846"/>
                      <a:pt x="83" y="1847"/>
                    </a:cubicBezTo>
                    <a:cubicBezTo>
                      <a:pt x="81" y="1845"/>
                      <a:pt x="81" y="1842"/>
                      <a:pt x="80" y="1840"/>
                    </a:cubicBezTo>
                    <a:cubicBezTo>
                      <a:pt x="81" y="1836"/>
                      <a:pt x="83" y="1844"/>
                      <a:pt x="85" y="1842"/>
                    </a:cubicBezTo>
                    <a:lnTo>
                      <a:pt x="84" y="1835"/>
                    </a:lnTo>
                    <a:cubicBezTo>
                      <a:pt x="84" y="1835"/>
                      <a:pt x="84" y="1835"/>
                      <a:pt x="84" y="1835"/>
                    </a:cubicBezTo>
                    <a:cubicBezTo>
                      <a:pt x="83" y="1833"/>
                      <a:pt x="83" y="1831"/>
                      <a:pt x="84" y="1830"/>
                    </a:cubicBezTo>
                    <a:cubicBezTo>
                      <a:pt x="86" y="1832"/>
                      <a:pt x="88" y="1833"/>
                      <a:pt x="90" y="1834"/>
                    </a:cubicBezTo>
                    <a:lnTo>
                      <a:pt x="85" y="1827"/>
                    </a:lnTo>
                    <a:cubicBezTo>
                      <a:pt x="87" y="1828"/>
                      <a:pt x="88" y="1820"/>
                      <a:pt x="90" y="1826"/>
                    </a:cubicBezTo>
                    <a:lnTo>
                      <a:pt x="88" y="1814"/>
                    </a:lnTo>
                    <a:lnTo>
                      <a:pt x="92" y="1813"/>
                    </a:lnTo>
                    <a:cubicBezTo>
                      <a:pt x="91" y="1810"/>
                      <a:pt x="90" y="1810"/>
                      <a:pt x="90" y="1813"/>
                    </a:cubicBezTo>
                    <a:cubicBezTo>
                      <a:pt x="90" y="1809"/>
                      <a:pt x="82" y="1796"/>
                      <a:pt x="89" y="1798"/>
                    </a:cubicBezTo>
                    <a:cubicBezTo>
                      <a:pt x="86" y="1789"/>
                      <a:pt x="87" y="1785"/>
                      <a:pt x="84" y="1774"/>
                    </a:cubicBezTo>
                    <a:cubicBezTo>
                      <a:pt x="88" y="1783"/>
                      <a:pt x="88" y="1764"/>
                      <a:pt x="90" y="1773"/>
                    </a:cubicBezTo>
                    <a:cubicBezTo>
                      <a:pt x="91" y="1768"/>
                      <a:pt x="87" y="1767"/>
                      <a:pt x="86" y="1763"/>
                    </a:cubicBezTo>
                    <a:cubicBezTo>
                      <a:pt x="87" y="1759"/>
                      <a:pt x="91" y="1760"/>
                      <a:pt x="93" y="1765"/>
                    </a:cubicBezTo>
                    <a:lnTo>
                      <a:pt x="91" y="1760"/>
                    </a:lnTo>
                    <a:lnTo>
                      <a:pt x="92" y="1760"/>
                    </a:lnTo>
                    <a:lnTo>
                      <a:pt x="89" y="1756"/>
                    </a:lnTo>
                    <a:cubicBezTo>
                      <a:pt x="91" y="1751"/>
                      <a:pt x="93" y="1754"/>
                      <a:pt x="93" y="1750"/>
                    </a:cubicBezTo>
                    <a:lnTo>
                      <a:pt x="90" y="1749"/>
                    </a:lnTo>
                    <a:lnTo>
                      <a:pt x="91" y="1745"/>
                    </a:lnTo>
                    <a:cubicBezTo>
                      <a:pt x="90" y="1747"/>
                      <a:pt x="89" y="1744"/>
                      <a:pt x="89" y="1741"/>
                    </a:cubicBezTo>
                    <a:lnTo>
                      <a:pt x="89" y="1741"/>
                    </a:lnTo>
                    <a:lnTo>
                      <a:pt x="88" y="1737"/>
                    </a:lnTo>
                    <a:cubicBezTo>
                      <a:pt x="91" y="1741"/>
                      <a:pt x="89" y="1733"/>
                      <a:pt x="91" y="1734"/>
                    </a:cubicBezTo>
                    <a:cubicBezTo>
                      <a:pt x="91" y="1731"/>
                      <a:pt x="91" y="1731"/>
                      <a:pt x="90" y="1724"/>
                    </a:cubicBezTo>
                    <a:lnTo>
                      <a:pt x="88" y="1726"/>
                    </a:lnTo>
                    <a:cubicBezTo>
                      <a:pt x="85" y="1717"/>
                      <a:pt x="92" y="1725"/>
                      <a:pt x="91" y="1718"/>
                    </a:cubicBezTo>
                    <a:lnTo>
                      <a:pt x="89" y="1719"/>
                    </a:lnTo>
                    <a:cubicBezTo>
                      <a:pt x="93" y="1709"/>
                      <a:pt x="85" y="1703"/>
                      <a:pt x="87" y="1695"/>
                    </a:cubicBezTo>
                    <a:cubicBezTo>
                      <a:pt x="88" y="1699"/>
                      <a:pt x="91" y="1698"/>
                      <a:pt x="91" y="1698"/>
                    </a:cubicBezTo>
                    <a:cubicBezTo>
                      <a:pt x="89" y="1692"/>
                      <a:pt x="89" y="1682"/>
                      <a:pt x="86" y="1675"/>
                    </a:cubicBezTo>
                    <a:cubicBezTo>
                      <a:pt x="90" y="1673"/>
                      <a:pt x="91" y="1672"/>
                      <a:pt x="92" y="1666"/>
                    </a:cubicBezTo>
                    <a:cubicBezTo>
                      <a:pt x="92" y="1661"/>
                      <a:pt x="91" y="1660"/>
                      <a:pt x="89" y="1659"/>
                    </a:cubicBezTo>
                    <a:cubicBezTo>
                      <a:pt x="90" y="1654"/>
                      <a:pt x="87" y="1645"/>
                      <a:pt x="90" y="1645"/>
                    </a:cubicBezTo>
                    <a:cubicBezTo>
                      <a:pt x="88" y="1644"/>
                      <a:pt x="91" y="1641"/>
                      <a:pt x="89" y="1638"/>
                    </a:cubicBezTo>
                    <a:lnTo>
                      <a:pt x="90" y="1638"/>
                    </a:lnTo>
                    <a:lnTo>
                      <a:pt x="87" y="1638"/>
                    </a:lnTo>
                    <a:cubicBezTo>
                      <a:pt x="93" y="1630"/>
                      <a:pt x="83" y="1624"/>
                      <a:pt x="88" y="1616"/>
                    </a:cubicBezTo>
                    <a:lnTo>
                      <a:pt x="89" y="1617"/>
                    </a:lnTo>
                    <a:lnTo>
                      <a:pt x="88" y="1614"/>
                    </a:lnTo>
                    <a:cubicBezTo>
                      <a:pt x="89" y="1613"/>
                      <a:pt x="90" y="1615"/>
                      <a:pt x="91" y="1615"/>
                    </a:cubicBezTo>
                    <a:lnTo>
                      <a:pt x="91" y="1599"/>
                    </a:lnTo>
                    <a:lnTo>
                      <a:pt x="89" y="1602"/>
                    </a:lnTo>
                    <a:cubicBezTo>
                      <a:pt x="89" y="1598"/>
                      <a:pt x="86" y="1596"/>
                      <a:pt x="88" y="1592"/>
                    </a:cubicBezTo>
                    <a:cubicBezTo>
                      <a:pt x="92" y="1599"/>
                      <a:pt x="88" y="1587"/>
                      <a:pt x="91" y="1586"/>
                    </a:cubicBezTo>
                    <a:lnTo>
                      <a:pt x="92" y="1589"/>
                    </a:lnTo>
                    <a:cubicBezTo>
                      <a:pt x="92" y="1584"/>
                      <a:pt x="92" y="1584"/>
                      <a:pt x="89" y="1585"/>
                    </a:cubicBezTo>
                    <a:cubicBezTo>
                      <a:pt x="88" y="1579"/>
                      <a:pt x="94" y="1581"/>
                      <a:pt x="91" y="1575"/>
                    </a:cubicBezTo>
                    <a:lnTo>
                      <a:pt x="91" y="1579"/>
                    </a:lnTo>
                    <a:cubicBezTo>
                      <a:pt x="89" y="1580"/>
                      <a:pt x="87" y="1577"/>
                      <a:pt x="87" y="1575"/>
                    </a:cubicBezTo>
                    <a:cubicBezTo>
                      <a:pt x="87" y="1574"/>
                      <a:pt x="89" y="1572"/>
                      <a:pt x="89" y="1574"/>
                    </a:cubicBezTo>
                    <a:cubicBezTo>
                      <a:pt x="88" y="1569"/>
                      <a:pt x="89" y="1562"/>
                      <a:pt x="88" y="1560"/>
                    </a:cubicBezTo>
                    <a:cubicBezTo>
                      <a:pt x="89" y="1557"/>
                      <a:pt x="91" y="1558"/>
                      <a:pt x="92" y="1559"/>
                    </a:cubicBezTo>
                    <a:cubicBezTo>
                      <a:pt x="89" y="1549"/>
                      <a:pt x="92" y="1555"/>
                      <a:pt x="90" y="1544"/>
                    </a:cubicBezTo>
                    <a:lnTo>
                      <a:pt x="91" y="1545"/>
                    </a:lnTo>
                    <a:lnTo>
                      <a:pt x="89" y="1541"/>
                    </a:lnTo>
                    <a:lnTo>
                      <a:pt x="93" y="1536"/>
                    </a:lnTo>
                    <a:lnTo>
                      <a:pt x="91" y="1538"/>
                    </a:lnTo>
                    <a:cubicBezTo>
                      <a:pt x="91" y="1535"/>
                      <a:pt x="90" y="1532"/>
                      <a:pt x="91" y="1529"/>
                    </a:cubicBezTo>
                    <a:lnTo>
                      <a:pt x="93" y="1530"/>
                    </a:lnTo>
                    <a:cubicBezTo>
                      <a:pt x="92" y="1521"/>
                      <a:pt x="97" y="1519"/>
                      <a:pt x="94" y="1510"/>
                    </a:cubicBezTo>
                    <a:cubicBezTo>
                      <a:pt x="95" y="1510"/>
                      <a:pt x="95" y="1511"/>
                      <a:pt x="96" y="1512"/>
                    </a:cubicBezTo>
                    <a:cubicBezTo>
                      <a:pt x="93" y="1504"/>
                      <a:pt x="100" y="1506"/>
                      <a:pt x="96" y="1498"/>
                    </a:cubicBezTo>
                    <a:cubicBezTo>
                      <a:pt x="97" y="1498"/>
                      <a:pt x="98" y="1497"/>
                      <a:pt x="99" y="1498"/>
                    </a:cubicBezTo>
                    <a:lnTo>
                      <a:pt x="97" y="1494"/>
                    </a:lnTo>
                    <a:lnTo>
                      <a:pt x="100" y="1494"/>
                    </a:lnTo>
                    <a:cubicBezTo>
                      <a:pt x="99" y="1493"/>
                      <a:pt x="98" y="1492"/>
                      <a:pt x="96" y="1491"/>
                    </a:cubicBezTo>
                    <a:lnTo>
                      <a:pt x="99" y="1489"/>
                    </a:lnTo>
                    <a:lnTo>
                      <a:pt x="98" y="1487"/>
                    </a:lnTo>
                    <a:cubicBezTo>
                      <a:pt x="104" y="1483"/>
                      <a:pt x="100" y="1476"/>
                      <a:pt x="105" y="1470"/>
                    </a:cubicBezTo>
                    <a:lnTo>
                      <a:pt x="101" y="1471"/>
                    </a:lnTo>
                    <a:cubicBezTo>
                      <a:pt x="97" y="1463"/>
                      <a:pt x="98" y="1455"/>
                      <a:pt x="100" y="1446"/>
                    </a:cubicBezTo>
                    <a:cubicBezTo>
                      <a:pt x="102" y="1437"/>
                      <a:pt x="104" y="1428"/>
                      <a:pt x="102" y="1419"/>
                    </a:cubicBezTo>
                    <a:lnTo>
                      <a:pt x="105" y="1420"/>
                    </a:lnTo>
                    <a:lnTo>
                      <a:pt x="101" y="1412"/>
                    </a:lnTo>
                    <a:cubicBezTo>
                      <a:pt x="104" y="1408"/>
                      <a:pt x="104" y="1415"/>
                      <a:pt x="105" y="1413"/>
                    </a:cubicBezTo>
                    <a:cubicBezTo>
                      <a:pt x="104" y="1406"/>
                      <a:pt x="101" y="1410"/>
                      <a:pt x="100" y="1401"/>
                    </a:cubicBezTo>
                    <a:cubicBezTo>
                      <a:pt x="102" y="1396"/>
                      <a:pt x="102" y="1403"/>
                      <a:pt x="103" y="1405"/>
                    </a:cubicBezTo>
                    <a:cubicBezTo>
                      <a:pt x="102" y="1396"/>
                      <a:pt x="100" y="1384"/>
                      <a:pt x="101" y="1378"/>
                    </a:cubicBezTo>
                    <a:cubicBezTo>
                      <a:pt x="101" y="1378"/>
                      <a:pt x="100" y="1377"/>
                      <a:pt x="100" y="1378"/>
                    </a:cubicBezTo>
                    <a:cubicBezTo>
                      <a:pt x="98" y="1372"/>
                      <a:pt x="99" y="1365"/>
                      <a:pt x="99" y="1358"/>
                    </a:cubicBezTo>
                    <a:cubicBezTo>
                      <a:pt x="100" y="1359"/>
                      <a:pt x="101" y="1360"/>
                      <a:pt x="101" y="1362"/>
                    </a:cubicBezTo>
                    <a:cubicBezTo>
                      <a:pt x="101" y="1359"/>
                      <a:pt x="102" y="1356"/>
                      <a:pt x="100" y="1354"/>
                    </a:cubicBezTo>
                    <a:lnTo>
                      <a:pt x="103" y="1357"/>
                    </a:lnTo>
                    <a:cubicBezTo>
                      <a:pt x="104" y="1352"/>
                      <a:pt x="101" y="1343"/>
                      <a:pt x="104" y="1342"/>
                    </a:cubicBezTo>
                    <a:cubicBezTo>
                      <a:pt x="103" y="1342"/>
                      <a:pt x="100" y="1342"/>
                      <a:pt x="100" y="1338"/>
                    </a:cubicBezTo>
                    <a:cubicBezTo>
                      <a:pt x="105" y="1336"/>
                      <a:pt x="98" y="1327"/>
                      <a:pt x="100" y="1320"/>
                    </a:cubicBezTo>
                    <a:cubicBezTo>
                      <a:pt x="101" y="1321"/>
                      <a:pt x="102" y="1326"/>
                      <a:pt x="102" y="1324"/>
                    </a:cubicBezTo>
                    <a:cubicBezTo>
                      <a:pt x="103" y="1321"/>
                      <a:pt x="100" y="1318"/>
                      <a:pt x="99" y="1315"/>
                    </a:cubicBezTo>
                    <a:lnTo>
                      <a:pt x="101" y="1316"/>
                    </a:lnTo>
                    <a:lnTo>
                      <a:pt x="97" y="1301"/>
                    </a:lnTo>
                    <a:cubicBezTo>
                      <a:pt x="102" y="1298"/>
                      <a:pt x="96" y="1287"/>
                      <a:pt x="100" y="1287"/>
                    </a:cubicBezTo>
                    <a:cubicBezTo>
                      <a:pt x="99" y="1282"/>
                      <a:pt x="98" y="1292"/>
                      <a:pt x="97" y="1285"/>
                    </a:cubicBezTo>
                    <a:cubicBezTo>
                      <a:pt x="99" y="1283"/>
                      <a:pt x="95" y="1279"/>
                      <a:pt x="99" y="1279"/>
                    </a:cubicBezTo>
                    <a:lnTo>
                      <a:pt x="99" y="1280"/>
                    </a:lnTo>
                    <a:lnTo>
                      <a:pt x="98" y="1275"/>
                    </a:lnTo>
                    <a:lnTo>
                      <a:pt x="102" y="1278"/>
                    </a:lnTo>
                    <a:cubicBezTo>
                      <a:pt x="101" y="1274"/>
                      <a:pt x="98" y="1271"/>
                      <a:pt x="95" y="1271"/>
                    </a:cubicBezTo>
                    <a:cubicBezTo>
                      <a:pt x="97" y="1267"/>
                      <a:pt x="95" y="1261"/>
                      <a:pt x="98" y="1259"/>
                    </a:cubicBezTo>
                    <a:lnTo>
                      <a:pt x="99" y="1261"/>
                    </a:lnTo>
                    <a:cubicBezTo>
                      <a:pt x="97" y="1250"/>
                      <a:pt x="106" y="1242"/>
                      <a:pt x="100" y="1234"/>
                    </a:cubicBezTo>
                    <a:cubicBezTo>
                      <a:pt x="101" y="1233"/>
                      <a:pt x="101" y="1233"/>
                      <a:pt x="101" y="1234"/>
                    </a:cubicBezTo>
                    <a:lnTo>
                      <a:pt x="101" y="1227"/>
                    </a:lnTo>
                    <a:lnTo>
                      <a:pt x="104" y="1229"/>
                    </a:lnTo>
                    <a:lnTo>
                      <a:pt x="100" y="1218"/>
                    </a:lnTo>
                    <a:lnTo>
                      <a:pt x="101" y="1218"/>
                    </a:lnTo>
                    <a:cubicBezTo>
                      <a:pt x="101" y="1210"/>
                      <a:pt x="100" y="1199"/>
                      <a:pt x="99" y="1189"/>
                    </a:cubicBezTo>
                    <a:lnTo>
                      <a:pt x="100" y="1191"/>
                    </a:lnTo>
                    <a:cubicBezTo>
                      <a:pt x="97" y="1180"/>
                      <a:pt x="100" y="1180"/>
                      <a:pt x="98" y="1173"/>
                    </a:cubicBezTo>
                    <a:cubicBezTo>
                      <a:pt x="99" y="1173"/>
                      <a:pt x="99" y="1173"/>
                      <a:pt x="99" y="1174"/>
                    </a:cubicBezTo>
                    <a:lnTo>
                      <a:pt x="99" y="1167"/>
                    </a:lnTo>
                    <a:lnTo>
                      <a:pt x="100" y="1168"/>
                    </a:lnTo>
                    <a:cubicBezTo>
                      <a:pt x="97" y="1163"/>
                      <a:pt x="104" y="1153"/>
                      <a:pt x="101" y="1157"/>
                    </a:cubicBezTo>
                    <a:cubicBezTo>
                      <a:pt x="99" y="1154"/>
                      <a:pt x="97" y="1149"/>
                      <a:pt x="95" y="1148"/>
                    </a:cubicBezTo>
                    <a:cubicBezTo>
                      <a:pt x="95" y="1141"/>
                      <a:pt x="97" y="1146"/>
                      <a:pt x="98" y="1142"/>
                    </a:cubicBezTo>
                    <a:cubicBezTo>
                      <a:pt x="98" y="1136"/>
                      <a:pt x="95" y="1135"/>
                      <a:pt x="96" y="1128"/>
                    </a:cubicBezTo>
                    <a:lnTo>
                      <a:pt x="98" y="1128"/>
                    </a:lnTo>
                    <a:cubicBezTo>
                      <a:pt x="97" y="1124"/>
                      <a:pt x="96" y="1122"/>
                      <a:pt x="96" y="1118"/>
                    </a:cubicBezTo>
                    <a:lnTo>
                      <a:pt x="96" y="1119"/>
                    </a:lnTo>
                    <a:cubicBezTo>
                      <a:pt x="93" y="1111"/>
                      <a:pt x="100" y="1109"/>
                      <a:pt x="93" y="1103"/>
                    </a:cubicBezTo>
                    <a:cubicBezTo>
                      <a:pt x="94" y="1100"/>
                      <a:pt x="93" y="1094"/>
                      <a:pt x="96" y="1094"/>
                    </a:cubicBezTo>
                    <a:cubicBezTo>
                      <a:pt x="94" y="1084"/>
                      <a:pt x="92" y="1077"/>
                      <a:pt x="90" y="1067"/>
                    </a:cubicBezTo>
                    <a:cubicBezTo>
                      <a:pt x="95" y="1065"/>
                      <a:pt x="90" y="1065"/>
                      <a:pt x="92" y="1059"/>
                    </a:cubicBezTo>
                    <a:lnTo>
                      <a:pt x="90" y="1060"/>
                    </a:lnTo>
                    <a:cubicBezTo>
                      <a:pt x="89" y="1046"/>
                      <a:pt x="94" y="1030"/>
                      <a:pt x="92" y="1015"/>
                    </a:cubicBezTo>
                    <a:lnTo>
                      <a:pt x="95" y="1014"/>
                    </a:lnTo>
                    <a:lnTo>
                      <a:pt x="92" y="1011"/>
                    </a:lnTo>
                    <a:cubicBezTo>
                      <a:pt x="92" y="995"/>
                      <a:pt x="92" y="974"/>
                      <a:pt x="92" y="961"/>
                    </a:cubicBezTo>
                    <a:cubicBezTo>
                      <a:pt x="90" y="957"/>
                      <a:pt x="86" y="951"/>
                      <a:pt x="87" y="944"/>
                    </a:cubicBezTo>
                    <a:lnTo>
                      <a:pt x="87" y="945"/>
                    </a:lnTo>
                    <a:cubicBezTo>
                      <a:pt x="85" y="933"/>
                      <a:pt x="83" y="921"/>
                      <a:pt x="84" y="908"/>
                    </a:cubicBezTo>
                    <a:cubicBezTo>
                      <a:pt x="85" y="909"/>
                      <a:pt x="86" y="907"/>
                      <a:pt x="87" y="909"/>
                    </a:cubicBezTo>
                    <a:cubicBezTo>
                      <a:pt x="84" y="906"/>
                      <a:pt x="86" y="901"/>
                      <a:pt x="86" y="899"/>
                    </a:cubicBezTo>
                    <a:lnTo>
                      <a:pt x="84" y="902"/>
                    </a:lnTo>
                    <a:cubicBezTo>
                      <a:pt x="82" y="898"/>
                      <a:pt x="84" y="893"/>
                      <a:pt x="86" y="891"/>
                    </a:cubicBezTo>
                    <a:lnTo>
                      <a:pt x="83" y="885"/>
                    </a:lnTo>
                    <a:cubicBezTo>
                      <a:pt x="83" y="885"/>
                      <a:pt x="83" y="884"/>
                      <a:pt x="84" y="884"/>
                    </a:cubicBezTo>
                    <a:lnTo>
                      <a:pt x="82" y="883"/>
                    </a:lnTo>
                    <a:lnTo>
                      <a:pt x="86" y="880"/>
                    </a:lnTo>
                    <a:cubicBezTo>
                      <a:pt x="85" y="879"/>
                      <a:pt x="84" y="871"/>
                      <a:pt x="80" y="869"/>
                    </a:cubicBezTo>
                    <a:cubicBezTo>
                      <a:pt x="81" y="868"/>
                      <a:pt x="82" y="863"/>
                      <a:pt x="83" y="867"/>
                    </a:cubicBezTo>
                    <a:lnTo>
                      <a:pt x="83" y="846"/>
                    </a:lnTo>
                    <a:lnTo>
                      <a:pt x="82" y="850"/>
                    </a:lnTo>
                    <a:cubicBezTo>
                      <a:pt x="79" y="850"/>
                      <a:pt x="77" y="844"/>
                      <a:pt x="78" y="841"/>
                    </a:cubicBezTo>
                    <a:cubicBezTo>
                      <a:pt x="81" y="845"/>
                      <a:pt x="82" y="841"/>
                      <a:pt x="84" y="839"/>
                    </a:cubicBezTo>
                    <a:cubicBezTo>
                      <a:pt x="82" y="836"/>
                      <a:pt x="82" y="841"/>
                      <a:pt x="80" y="840"/>
                    </a:cubicBezTo>
                    <a:cubicBezTo>
                      <a:pt x="78" y="836"/>
                      <a:pt x="77" y="829"/>
                      <a:pt x="78" y="827"/>
                    </a:cubicBezTo>
                    <a:lnTo>
                      <a:pt x="79" y="829"/>
                    </a:lnTo>
                    <a:cubicBezTo>
                      <a:pt x="78" y="824"/>
                      <a:pt x="83" y="822"/>
                      <a:pt x="82" y="817"/>
                    </a:cubicBezTo>
                    <a:cubicBezTo>
                      <a:pt x="80" y="813"/>
                      <a:pt x="82" y="810"/>
                      <a:pt x="77" y="811"/>
                    </a:cubicBezTo>
                    <a:cubicBezTo>
                      <a:pt x="76" y="805"/>
                      <a:pt x="80" y="808"/>
                      <a:pt x="81" y="806"/>
                    </a:cubicBezTo>
                    <a:cubicBezTo>
                      <a:pt x="78" y="803"/>
                      <a:pt x="79" y="795"/>
                      <a:pt x="82" y="793"/>
                    </a:cubicBezTo>
                    <a:cubicBezTo>
                      <a:pt x="75" y="790"/>
                      <a:pt x="84" y="777"/>
                      <a:pt x="78" y="776"/>
                    </a:cubicBezTo>
                    <a:lnTo>
                      <a:pt x="81" y="770"/>
                    </a:lnTo>
                    <a:cubicBezTo>
                      <a:pt x="79" y="770"/>
                      <a:pt x="76" y="769"/>
                      <a:pt x="75" y="765"/>
                    </a:cubicBezTo>
                    <a:cubicBezTo>
                      <a:pt x="77" y="761"/>
                      <a:pt x="79" y="762"/>
                      <a:pt x="81" y="761"/>
                    </a:cubicBezTo>
                    <a:lnTo>
                      <a:pt x="75" y="759"/>
                    </a:lnTo>
                    <a:cubicBezTo>
                      <a:pt x="81" y="736"/>
                      <a:pt x="76" y="707"/>
                      <a:pt x="82" y="683"/>
                    </a:cubicBezTo>
                    <a:cubicBezTo>
                      <a:pt x="80" y="672"/>
                      <a:pt x="78" y="658"/>
                      <a:pt x="79" y="646"/>
                    </a:cubicBezTo>
                    <a:lnTo>
                      <a:pt x="80" y="647"/>
                    </a:lnTo>
                    <a:lnTo>
                      <a:pt x="82" y="635"/>
                    </a:lnTo>
                    <a:lnTo>
                      <a:pt x="79" y="644"/>
                    </a:lnTo>
                    <a:cubicBezTo>
                      <a:pt x="79" y="641"/>
                      <a:pt x="78" y="639"/>
                      <a:pt x="78" y="636"/>
                    </a:cubicBezTo>
                    <a:cubicBezTo>
                      <a:pt x="81" y="622"/>
                      <a:pt x="85" y="604"/>
                      <a:pt x="82" y="586"/>
                    </a:cubicBezTo>
                    <a:cubicBezTo>
                      <a:pt x="76" y="575"/>
                      <a:pt x="89" y="579"/>
                      <a:pt x="84" y="568"/>
                    </a:cubicBezTo>
                    <a:cubicBezTo>
                      <a:pt x="85" y="569"/>
                      <a:pt x="86" y="570"/>
                      <a:pt x="87" y="571"/>
                    </a:cubicBezTo>
                    <a:cubicBezTo>
                      <a:pt x="85" y="559"/>
                      <a:pt x="84" y="553"/>
                      <a:pt x="81" y="541"/>
                    </a:cubicBezTo>
                    <a:cubicBezTo>
                      <a:pt x="87" y="543"/>
                      <a:pt x="81" y="534"/>
                      <a:pt x="85" y="535"/>
                    </a:cubicBezTo>
                    <a:lnTo>
                      <a:pt x="82" y="534"/>
                    </a:lnTo>
                    <a:cubicBezTo>
                      <a:pt x="84" y="531"/>
                      <a:pt x="85" y="525"/>
                      <a:pt x="87" y="526"/>
                    </a:cubicBezTo>
                    <a:lnTo>
                      <a:pt x="84" y="521"/>
                    </a:lnTo>
                    <a:lnTo>
                      <a:pt x="86" y="521"/>
                    </a:lnTo>
                    <a:cubicBezTo>
                      <a:pt x="87" y="514"/>
                      <a:pt x="86" y="499"/>
                      <a:pt x="92" y="496"/>
                    </a:cubicBezTo>
                    <a:cubicBezTo>
                      <a:pt x="88" y="479"/>
                      <a:pt x="92" y="453"/>
                      <a:pt x="94" y="432"/>
                    </a:cubicBezTo>
                    <a:cubicBezTo>
                      <a:pt x="92" y="429"/>
                      <a:pt x="92" y="423"/>
                      <a:pt x="92" y="418"/>
                    </a:cubicBezTo>
                    <a:lnTo>
                      <a:pt x="96" y="413"/>
                    </a:lnTo>
                    <a:cubicBezTo>
                      <a:pt x="95" y="408"/>
                      <a:pt x="92" y="403"/>
                      <a:pt x="94" y="398"/>
                    </a:cubicBezTo>
                    <a:cubicBezTo>
                      <a:pt x="94" y="398"/>
                      <a:pt x="95" y="399"/>
                      <a:pt x="95" y="399"/>
                    </a:cubicBezTo>
                    <a:cubicBezTo>
                      <a:pt x="95" y="394"/>
                      <a:pt x="97" y="389"/>
                      <a:pt x="94" y="384"/>
                    </a:cubicBezTo>
                    <a:cubicBezTo>
                      <a:pt x="95" y="379"/>
                      <a:pt x="97" y="374"/>
                      <a:pt x="100" y="376"/>
                    </a:cubicBezTo>
                    <a:cubicBezTo>
                      <a:pt x="94" y="375"/>
                      <a:pt x="101" y="364"/>
                      <a:pt x="101" y="364"/>
                    </a:cubicBezTo>
                    <a:cubicBezTo>
                      <a:pt x="101" y="364"/>
                      <a:pt x="110" y="295"/>
                      <a:pt x="116" y="217"/>
                    </a:cubicBezTo>
                    <a:cubicBezTo>
                      <a:pt x="122" y="139"/>
                      <a:pt x="125" y="52"/>
                      <a:pt x="114" y="17"/>
                    </a:cubicBezTo>
                    <a:cubicBezTo>
                      <a:pt x="111" y="15"/>
                      <a:pt x="110" y="8"/>
                      <a:pt x="107" y="10"/>
                    </a:cubicBezTo>
                    <a:cubicBezTo>
                      <a:pt x="106" y="5"/>
                      <a:pt x="111" y="3"/>
                      <a:pt x="109" y="2"/>
                    </a:cubicBezTo>
                    <a:cubicBezTo>
                      <a:pt x="106" y="9"/>
                      <a:pt x="102" y="0"/>
                      <a:pt x="98" y="6"/>
                    </a:cubicBezTo>
                    <a:lnTo>
                      <a:pt x="98" y="2"/>
                    </a:lnTo>
                    <a:cubicBezTo>
                      <a:pt x="96" y="1"/>
                      <a:pt x="99" y="7"/>
                      <a:pt x="96" y="6"/>
                    </a:cubicBezTo>
                    <a:lnTo>
                      <a:pt x="101" y="8"/>
                    </a:lnTo>
                    <a:cubicBezTo>
                      <a:pt x="100" y="11"/>
                      <a:pt x="99" y="13"/>
                      <a:pt x="97" y="14"/>
                    </a:cubicBezTo>
                    <a:cubicBezTo>
                      <a:pt x="98" y="17"/>
                      <a:pt x="105" y="20"/>
                      <a:pt x="101" y="27"/>
                    </a:cubicBezTo>
                    <a:lnTo>
                      <a:pt x="101" y="25"/>
                    </a:lnTo>
                    <a:cubicBezTo>
                      <a:pt x="101" y="31"/>
                      <a:pt x="98" y="28"/>
                      <a:pt x="97" y="30"/>
                    </a:cubicBezTo>
                    <a:lnTo>
                      <a:pt x="97" y="28"/>
                    </a:lnTo>
                    <a:lnTo>
                      <a:pt x="94" y="33"/>
                    </a:lnTo>
                    <a:cubicBezTo>
                      <a:pt x="96" y="29"/>
                      <a:pt x="93" y="23"/>
                      <a:pt x="93" y="26"/>
                    </a:cubicBezTo>
                    <a:cubicBezTo>
                      <a:pt x="91" y="33"/>
                      <a:pt x="94" y="24"/>
                      <a:pt x="94" y="30"/>
                    </a:cubicBezTo>
                    <a:cubicBezTo>
                      <a:pt x="94" y="33"/>
                      <a:pt x="91" y="32"/>
                      <a:pt x="90" y="32"/>
                    </a:cubicBezTo>
                    <a:lnTo>
                      <a:pt x="90" y="38"/>
                    </a:lnTo>
                    <a:cubicBezTo>
                      <a:pt x="87" y="37"/>
                      <a:pt x="90" y="34"/>
                      <a:pt x="87" y="36"/>
                    </a:cubicBezTo>
                    <a:lnTo>
                      <a:pt x="89" y="44"/>
                    </a:lnTo>
                    <a:cubicBezTo>
                      <a:pt x="83" y="45"/>
                      <a:pt x="91" y="53"/>
                      <a:pt x="85" y="56"/>
                    </a:cubicBezTo>
                    <a:cubicBezTo>
                      <a:pt x="85" y="50"/>
                      <a:pt x="83" y="56"/>
                      <a:pt x="82" y="55"/>
                    </a:cubicBezTo>
                    <a:lnTo>
                      <a:pt x="81" y="69"/>
                    </a:lnTo>
                    <a:cubicBezTo>
                      <a:pt x="80" y="70"/>
                      <a:pt x="79" y="65"/>
                      <a:pt x="79" y="67"/>
                    </a:cubicBezTo>
                    <a:cubicBezTo>
                      <a:pt x="78" y="70"/>
                      <a:pt x="80" y="71"/>
                      <a:pt x="80" y="73"/>
                    </a:cubicBezTo>
                    <a:cubicBezTo>
                      <a:pt x="79" y="74"/>
                      <a:pt x="79" y="83"/>
                      <a:pt x="76" y="82"/>
                    </a:cubicBezTo>
                    <a:cubicBezTo>
                      <a:pt x="72" y="91"/>
                      <a:pt x="80" y="87"/>
                      <a:pt x="77" y="95"/>
                    </a:cubicBezTo>
                    <a:cubicBezTo>
                      <a:pt x="75" y="96"/>
                      <a:pt x="77" y="88"/>
                      <a:pt x="74" y="92"/>
                    </a:cubicBezTo>
                    <a:lnTo>
                      <a:pt x="75" y="101"/>
                    </a:lnTo>
                    <a:cubicBezTo>
                      <a:pt x="73" y="100"/>
                      <a:pt x="71" y="99"/>
                      <a:pt x="72" y="95"/>
                    </a:cubicBezTo>
                    <a:cubicBezTo>
                      <a:pt x="66" y="119"/>
                      <a:pt x="53" y="131"/>
                      <a:pt x="54" y="154"/>
                    </a:cubicBezTo>
                    <a:cubicBezTo>
                      <a:pt x="51" y="157"/>
                      <a:pt x="53" y="151"/>
                      <a:pt x="51" y="149"/>
                    </a:cubicBezTo>
                    <a:cubicBezTo>
                      <a:pt x="53" y="165"/>
                      <a:pt x="43" y="171"/>
                      <a:pt x="42" y="185"/>
                    </a:cubicBezTo>
                    <a:lnTo>
                      <a:pt x="44" y="185"/>
                    </a:lnTo>
                    <a:cubicBezTo>
                      <a:pt x="36" y="203"/>
                      <a:pt x="38" y="227"/>
                      <a:pt x="33" y="248"/>
                    </a:cubicBezTo>
                    <a:lnTo>
                      <a:pt x="35" y="246"/>
                    </a:lnTo>
                    <a:cubicBezTo>
                      <a:pt x="37" y="249"/>
                      <a:pt x="37" y="254"/>
                      <a:pt x="38" y="257"/>
                    </a:cubicBezTo>
                    <a:cubicBezTo>
                      <a:pt x="36" y="258"/>
                      <a:pt x="33" y="254"/>
                      <a:pt x="33" y="261"/>
                    </a:cubicBezTo>
                    <a:cubicBezTo>
                      <a:pt x="34" y="259"/>
                      <a:pt x="35" y="257"/>
                      <a:pt x="36" y="258"/>
                    </a:cubicBezTo>
                    <a:cubicBezTo>
                      <a:pt x="29" y="276"/>
                      <a:pt x="27" y="315"/>
                      <a:pt x="22" y="345"/>
                    </a:cubicBezTo>
                    <a:cubicBezTo>
                      <a:pt x="21" y="386"/>
                      <a:pt x="13" y="431"/>
                      <a:pt x="12" y="471"/>
                    </a:cubicBezTo>
                    <a:cubicBezTo>
                      <a:pt x="12" y="465"/>
                      <a:pt x="17" y="468"/>
                      <a:pt x="16" y="472"/>
                    </a:cubicBezTo>
                    <a:cubicBezTo>
                      <a:pt x="5" y="485"/>
                      <a:pt x="16" y="495"/>
                      <a:pt x="9" y="507"/>
                    </a:cubicBezTo>
                    <a:cubicBezTo>
                      <a:pt x="10" y="531"/>
                      <a:pt x="1" y="552"/>
                      <a:pt x="7" y="574"/>
                    </a:cubicBezTo>
                    <a:lnTo>
                      <a:pt x="4" y="574"/>
                    </a:lnTo>
                    <a:cubicBezTo>
                      <a:pt x="2" y="578"/>
                      <a:pt x="4" y="579"/>
                      <a:pt x="4" y="582"/>
                    </a:cubicBezTo>
                    <a:lnTo>
                      <a:pt x="4" y="582"/>
                    </a:lnTo>
                    <a:cubicBezTo>
                      <a:pt x="2" y="590"/>
                      <a:pt x="5" y="600"/>
                      <a:pt x="3" y="605"/>
                    </a:cubicBezTo>
                    <a:lnTo>
                      <a:pt x="6" y="605"/>
                    </a:lnTo>
                    <a:cubicBezTo>
                      <a:pt x="6" y="610"/>
                      <a:pt x="4" y="608"/>
                      <a:pt x="5" y="613"/>
                    </a:cubicBezTo>
                    <a:lnTo>
                      <a:pt x="4" y="612"/>
                    </a:lnTo>
                    <a:lnTo>
                      <a:pt x="6" y="618"/>
                    </a:lnTo>
                    <a:cubicBezTo>
                      <a:pt x="1" y="618"/>
                      <a:pt x="5" y="632"/>
                      <a:pt x="3" y="636"/>
                    </a:cubicBezTo>
                    <a:cubicBezTo>
                      <a:pt x="3" y="642"/>
                      <a:pt x="5" y="654"/>
                      <a:pt x="4" y="664"/>
                    </a:cubicBezTo>
                    <a:cubicBezTo>
                      <a:pt x="1" y="666"/>
                      <a:pt x="1" y="678"/>
                      <a:pt x="0" y="685"/>
                    </a:cubicBezTo>
                    <a:cubicBezTo>
                      <a:pt x="0" y="700"/>
                      <a:pt x="1" y="721"/>
                      <a:pt x="0" y="740"/>
                    </a:cubicBezTo>
                    <a:lnTo>
                      <a:pt x="4" y="739"/>
                    </a:lnTo>
                    <a:lnTo>
                      <a:pt x="4" y="744"/>
                    </a:lnTo>
                    <a:cubicBezTo>
                      <a:pt x="3" y="744"/>
                      <a:pt x="3" y="745"/>
                      <a:pt x="3" y="744"/>
                    </a:cubicBezTo>
                    <a:cubicBezTo>
                      <a:pt x="0" y="748"/>
                      <a:pt x="4" y="755"/>
                      <a:pt x="2" y="759"/>
                    </a:cubicBezTo>
                    <a:cubicBezTo>
                      <a:pt x="5" y="757"/>
                      <a:pt x="2" y="756"/>
                      <a:pt x="2" y="753"/>
                    </a:cubicBezTo>
                    <a:cubicBezTo>
                      <a:pt x="4" y="749"/>
                      <a:pt x="7" y="753"/>
                      <a:pt x="6" y="758"/>
                    </a:cubicBezTo>
                    <a:lnTo>
                      <a:pt x="5" y="758"/>
                    </a:lnTo>
                    <a:lnTo>
                      <a:pt x="7" y="762"/>
                    </a:lnTo>
                    <a:cubicBezTo>
                      <a:pt x="4" y="762"/>
                      <a:pt x="3" y="766"/>
                      <a:pt x="0" y="766"/>
                    </a:cubicBezTo>
                    <a:cubicBezTo>
                      <a:pt x="1" y="782"/>
                      <a:pt x="6" y="793"/>
                      <a:pt x="6" y="809"/>
                    </a:cubicBezTo>
                    <a:cubicBezTo>
                      <a:pt x="2" y="807"/>
                      <a:pt x="7" y="821"/>
                      <a:pt x="1" y="818"/>
                    </a:cubicBezTo>
                    <a:cubicBezTo>
                      <a:pt x="4" y="827"/>
                      <a:pt x="6" y="816"/>
                      <a:pt x="10" y="820"/>
                    </a:cubicBezTo>
                    <a:cubicBezTo>
                      <a:pt x="10" y="823"/>
                      <a:pt x="11" y="826"/>
                      <a:pt x="9" y="826"/>
                    </a:cubicBezTo>
                    <a:cubicBezTo>
                      <a:pt x="8" y="825"/>
                      <a:pt x="6" y="829"/>
                      <a:pt x="6" y="827"/>
                    </a:cubicBezTo>
                    <a:lnTo>
                      <a:pt x="6" y="833"/>
                    </a:lnTo>
                    <a:cubicBezTo>
                      <a:pt x="6" y="834"/>
                      <a:pt x="5" y="832"/>
                      <a:pt x="5" y="832"/>
                    </a:cubicBezTo>
                    <a:cubicBezTo>
                      <a:pt x="8" y="845"/>
                      <a:pt x="2" y="855"/>
                      <a:pt x="6" y="867"/>
                    </a:cubicBezTo>
                    <a:cubicBezTo>
                      <a:pt x="8" y="868"/>
                      <a:pt x="6" y="862"/>
                      <a:pt x="8" y="863"/>
                    </a:cubicBezTo>
                    <a:cubicBezTo>
                      <a:pt x="13" y="875"/>
                      <a:pt x="5" y="874"/>
                      <a:pt x="8" y="885"/>
                    </a:cubicBezTo>
                    <a:lnTo>
                      <a:pt x="6" y="883"/>
                    </a:lnTo>
                    <a:cubicBezTo>
                      <a:pt x="8" y="886"/>
                      <a:pt x="10" y="888"/>
                      <a:pt x="8" y="894"/>
                    </a:cubicBezTo>
                    <a:cubicBezTo>
                      <a:pt x="5" y="895"/>
                      <a:pt x="5" y="889"/>
                      <a:pt x="4" y="886"/>
                    </a:cubicBezTo>
                    <a:cubicBezTo>
                      <a:pt x="4" y="890"/>
                      <a:pt x="5" y="901"/>
                      <a:pt x="8" y="897"/>
                    </a:cubicBezTo>
                    <a:cubicBezTo>
                      <a:pt x="9" y="902"/>
                      <a:pt x="6" y="904"/>
                      <a:pt x="6" y="907"/>
                    </a:cubicBezTo>
                    <a:cubicBezTo>
                      <a:pt x="7" y="907"/>
                      <a:pt x="8" y="902"/>
                      <a:pt x="9" y="905"/>
                    </a:cubicBezTo>
                    <a:cubicBezTo>
                      <a:pt x="8" y="912"/>
                      <a:pt x="8" y="922"/>
                      <a:pt x="9" y="930"/>
                    </a:cubicBezTo>
                    <a:cubicBezTo>
                      <a:pt x="8" y="930"/>
                      <a:pt x="7" y="931"/>
                      <a:pt x="6" y="930"/>
                    </a:cubicBezTo>
                    <a:cubicBezTo>
                      <a:pt x="11" y="936"/>
                      <a:pt x="4" y="936"/>
                      <a:pt x="5" y="945"/>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6" name="Freeform 2560"/>
              <p:cNvSpPr>
                <a:spLocks/>
              </p:cNvSpPr>
              <p:nvPr/>
            </p:nvSpPr>
            <p:spPr bwMode="auto">
              <a:xfrm>
                <a:off x="3536951" y="4378326"/>
                <a:ext cx="0" cy="1588"/>
              </a:xfrm>
              <a:custGeom>
                <a:avLst/>
                <a:gdLst>
                  <a:gd name="T0" fmla="*/ 2 w 2"/>
                  <a:gd name="T1" fmla="*/ 5 h 5"/>
                  <a:gd name="T2" fmla="*/ 2 w 2"/>
                  <a:gd name="T3" fmla="*/ 5 h 5"/>
                  <a:gd name="T4" fmla="*/ 2 w 2"/>
                  <a:gd name="T5" fmla="*/ 2 h 5"/>
                  <a:gd name="T6" fmla="*/ 0 w 2"/>
                  <a:gd name="T7" fmla="*/ 0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5"/>
                    </a:lnTo>
                    <a:lnTo>
                      <a:pt x="2" y="2"/>
                    </a:lnTo>
                    <a:cubicBezTo>
                      <a:pt x="1" y="2"/>
                      <a:pt x="1" y="2"/>
                      <a:pt x="0" y="0"/>
                    </a:cubicBezTo>
                    <a:lnTo>
                      <a:pt x="2" y="5"/>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7" name="Freeform 2561"/>
              <p:cNvSpPr>
                <a:spLocks/>
              </p:cNvSpPr>
              <p:nvPr/>
            </p:nvSpPr>
            <p:spPr bwMode="auto">
              <a:xfrm>
                <a:off x="3535363" y="4330701"/>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1" y="0"/>
                      <a:pt x="0" y="0"/>
                    </a:cubicBezTo>
                    <a:cubicBezTo>
                      <a:pt x="0" y="1"/>
                      <a:pt x="1" y="1"/>
                      <a:pt x="1"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8" name="Freeform 2562"/>
              <p:cNvSpPr>
                <a:spLocks/>
              </p:cNvSpPr>
              <p:nvPr/>
            </p:nvSpPr>
            <p:spPr bwMode="auto">
              <a:xfrm>
                <a:off x="3532188" y="4319588"/>
                <a:ext cx="1588" cy="1588"/>
              </a:xfrm>
              <a:custGeom>
                <a:avLst/>
                <a:gdLst>
                  <a:gd name="T0" fmla="*/ 0 w 3"/>
                  <a:gd name="T1" fmla="*/ 1 h 4"/>
                  <a:gd name="T2" fmla="*/ 0 w 3"/>
                  <a:gd name="T3" fmla="*/ 1 h 4"/>
                  <a:gd name="T4" fmla="*/ 3 w 3"/>
                  <a:gd name="T5" fmla="*/ 0 h 4"/>
                  <a:gd name="T6" fmla="*/ 0 w 3"/>
                  <a:gd name="T7" fmla="*/ 1 h 4"/>
                </a:gdLst>
                <a:ahLst/>
                <a:cxnLst>
                  <a:cxn ang="0">
                    <a:pos x="T0" y="T1"/>
                  </a:cxn>
                  <a:cxn ang="0">
                    <a:pos x="T2" y="T3"/>
                  </a:cxn>
                  <a:cxn ang="0">
                    <a:pos x="T4" y="T5"/>
                  </a:cxn>
                  <a:cxn ang="0">
                    <a:pos x="T6" y="T7"/>
                  </a:cxn>
                </a:cxnLst>
                <a:rect l="0" t="0" r="r" b="b"/>
                <a:pathLst>
                  <a:path w="3" h="4">
                    <a:moveTo>
                      <a:pt x="0" y="1"/>
                    </a:moveTo>
                    <a:lnTo>
                      <a:pt x="0" y="1"/>
                    </a:lnTo>
                    <a:cubicBezTo>
                      <a:pt x="1" y="4"/>
                      <a:pt x="2" y="2"/>
                      <a:pt x="3" y="0"/>
                    </a:cubicBezTo>
                    <a:cubicBezTo>
                      <a:pt x="2" y="0"/>
                      <a:pt x="1" y="0"/>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9" name="Freeform 2563"/>
              <p:cNvSpPr>
                <a:spLocks/>
              </p:cNvSpPr>
              <p:nvPr/>
            </p:nvSpPr>
            <p:spPr bwMode="auto">
              <a:xfrm>
                <a:off x="3538538" y="4406901"/>
                <a:ext cx="1588"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0" y="0"/>
                      <a:pt x="0" y="0"/>
                    </a:cubicBezTo>
                    <a:cubicBezTo>
                      <a:pt x="0" y="1"/>
                      <a:pt x="1" y="1"/>
                      <a:pt x="1"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0" name="Freeform 2564"/>
              <p:cNvSpPr>
                <a:spLocks/>
              </p:cNvSpPr>
              <p:nvPr/>
            </p:nvSpPr>
            <p:spPr bwMode="auto">
              <a:xfrm>
                <a:off x="3540126" y="448468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1" y="1"/>
                      <a:pt x="1" y="1"/>
                      <a:pt x="1" y="0"/>
                    </a:cubicBezTo>
                    <a:cubicBezTo>
                      <a:pt x="1" y="0"/>
                      <a:pt x="0" y="1"/>
                      <a:pt x="0"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1" name="Freeform 2565"/>
              <p:cNvSpPr>
                <a:spLocks/>
              </p:cNvSpPr>
              <p:nvPr/>
            </p:nvSpPr>
            <p:spPr bwMode="auto">
              <a:xfrm>
                <a:off x="3540126" y="4479926"/>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2"/>
                      <a:pt x="0" y="1"/>
                      <a:pt x="0" y="0"/>
                    </a:cubicBezTo>
                    <a:cubicBezTo>
                      <a:pt x="0" y="1"/>
                      <a:pt x="0" y="2"/>
                      <a:pt x="0" y="2"/>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2" name="Freeform 2566"/>
              <p:cNvSpPr>
                <a:spLocks/>
              </p:cNvSpPr>
              <p:nvPr/>
            </p:nvSpPr>
            <p:spPr bwMode="auto">
              <a:xfrm>
                <a:off x="3538538" y="4387851"/>
                <a:ext cx="0" cy="158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1" y="2"/>
                      <a:pt x="0" y="1"/>
                      <a:pt x="0" y="0"/>
                    </a:cubicBezTo>
                    <a:cubicBezTo>
                      <a:pt x="0" y="1"/>
                      <a:pt x="0" y="2"/>
                      <a:pt x="1" y="3"/>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3" name="Freeform 2567"/>
              <p:cNvSpPr>
                <a:spLocks/>
              </p:cNvSpPr>
              <p:nvPr/>
            </p:nvSpPr>
            <p:spPr bwMode="auto">
              <a:xfrm>
                <a:off x="3540126" y="4476751"/>
                <a:ext cx="0" cy="1588"/>
              </a:xfrm>
              <a:custGeom>
                <a:avLst/>
                <a:gdLst>
                  <a:gd name="T0" fmla="*/ 4 h 4"/>
                  <a:gd name="T1" fmla="*/ 4 h 4"/>
                  <a:gd name="T2" fmla="*/ 0 h 4"/>
                  <a:gd name="T3" fmla="*/ 0 h 4"/>
                  <a:gd name="T4" fmla="*/ 4 h 4"/>
                </a:gdLst>
                <a:ahLst/>
                <a:cxnLst>
                  <a:cxn ang="0">
                    <a:pos x="0" y="T0"/>
                  </a:cxn>
                  <a:cxn ang="0">
                    <a:pos x="0" y="T1"/>
                  </a:cxn>
                  <a:cxn ang="0">
                    <a:pos x="0" y="T2"/>
                  </a:cxn>
                  <a:cxn ang="0">
                    <a:pos x="0" y="T3"/>
                  </a:cxn>
                  <a:cxn ang="0">
                    <a:pos x="0" y="T4"/>
                  </a:cxn>
                </a:cxnLst>
                <a:rect l="0" t="0" r="r" b="b"/>
                <a:pathLst>
                  <a:path h="4">
                    <a:moveTo>
                      <a:pt x="0" y="4"/>
                    </a:moveTo>
                    <a:lnTo>
                      <a:pt x="0" y="4"/>
                    </a:lnTo>
                    <a:lnTo>
                      <a:pt x="0" y="0"/>
                    </a:lnTo>
                    <a:cubicBezTo>
                      <a:pt x="0" y="0"/>
                      <a:pt x="0" y="0"/>
                      <a:pt x="0" y="0"/>
                    </a:cubicBezTo>
                    <a:lnTo>
                      <a:pt x="0" y="4"/>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4" name="Freeform 2568"/>
              <p:cNvSpPr>
                <a:spLocks/>
              </p:cNvSpPr>
              <p:nvPr/>
            </p:nvSpPr>
            <p:spPr bwMode="auto">
              <a:xfrm>
                <a:off x="3540126" y="4484688"/>
                <a:ext cx="0" cy="1588"/>
              </a:xfrm>
              <a:custGeom>
                <a:avLst/>
                <a:gdLst>
                  <a:gd name="T0" fmla="*/ 5 h 5"/>
                  <a:gd name="T1" fmla="*/ 5 h 5"/>
                  <a:gd name="T2" fmla="*/ 0 h 5"/>
                  <a:gd name="T3" fmla="*/ 5 h 5"/>
                </a:gdLst>
                <a:ahLst/>
                <a:cxnLst>
                  <a:cxn ang="0">
                    <a:pos x="0" y="T0"/>
                  </a:cxn>
                  <a:cxn ang="0">
                    <a:pos x="0" y="T1"/>
                  </a:cxn>
                  <a:cxn ang="0">
                    <a:pos x="0" y="T2"/>
                  </a:cxn>
                  <a:cxn ang="0">
                    <a:pos x="0" y="T3"/>
                  </a:cxn>
                </a:cxnLst>
                <a:rect l="0" t="0" r="r" b="b"/>
                <a:pathLst>
                  <a:path h="5">
                    <a:moveTo>
                      <a:pt x="0" y="5"/>
                    </a:moveTo>
                    <a:lnTo>
                      <a:pt x="0" y="5"/>
                    </a:lnTo>
                    <a:cubicBezTo>
                      <a:pt x="0" y="3"/>
                      <a:pt x="0" y="1"/>
                      <a:pt x="0" y="0"/>
                    </a:cubicBezTo>
                    <a:cubicBezTo>
                      <a:pt x="0" y="2"/>
                      <a:pt x="0" y="3"/>
                      <a:pt x="0" y="5"/>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5" name="Freeform 2569"/>
              <p:cNvSpPr>
                <a:spLocks/>
              </p:cNvSpPr>
              <p:nvPr/>
            </p:nvSpPr>
            <p:spPr bwMode="auto">
              <a:xfrm>
                <a:off x="3538538" y="4435476"/>
                <a:ext cx="1588" cy="0"/>
              </a:xfrm>
              <a:custGeom>
                <a:avLst/>
                <a:gdLst>
                  <a:gd name="T0" fmla="*/ 2 w 2"/>
                  <a:gd name="T1" fmla="*/ 3 h 3"/>
                  <a:gd name="T2" fmla="*/ 2 w 2"/>
                  <a:gd name="T3" fmla="*/ 3 h 3"/>
                  <a:gd name="T4" fmla="*/ 2 w 2"/>
                  <a:gd name="T5" fmla="*/ 2 h 3"/>
                  <a:gd name="T6" fmla="*/ 2 w 2"/>
                  <a:gd name="T7" fmla="*/ 3 h 3"/>
                </a:gdLst>
                <a:ahLst/>
                <a:cxnLst>
                  <a:cxn ang="0">
                    <a:pos x="T0" y="T1"/>
                  </a:cxn>
                  <a:cxn ang="0">
                    <a:pos x="T2" y="T3"/>
                  </a:cxn>
                  <a:cxn ang="0">
                    <a:pos x="T4" y="T5"/>
                  </a:cxn>
                  <a:cxn ang="0">
                    <a:pos x="T6" y="T7"/>
                  </a:cxn>
                </a:cxnLst>
                <a:rect l="0" t="0" r="r" b="b"/>
                <a:pathLst>
                  <a:path w="2" h="3">
                    <a:moveTo>
                      <a:pt x="2" y="3"/>
                    </a:moveTo>
                    <a:lnTo>
                      <a:pt x="2" y="3"/>
                    </a:lnTo>
                    <a:lnTo>
                      <a:pt x="2" y="2"/>
                    </a:lnTo>
                    <a:cubicBezTo>
                      <a:pt x="0" y="0"/>
                      <a:pt x="1" y="1"/>
                      <a:pt x="2" y="3"/>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6" name="Freeform 2570"/>
              <p:cNvSpPr>
                <a:spLocks/>
              </p:cNvSpPr>
              <p:nvPr/>
            </p:nvSpPr>
            <p:spPr bwMode="auto">
              <a:xfrm>
                <a:off x="3538538" y="4473576"/>
                <a:ext cx="0" cy="0"/>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lnTo>
                      <a:pt x="0" y="0"/>
                    </a:lnTo>
                    <a:lnTo>
                      <a:pt x="1" y="1"/>
                    </a:ln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7" name="Freeform 2571"/>
              <p:cNvSpPr>
                <a:spLocks/>
              </p:cNvSpPr>
              <p:nvPr/>
            </p:nvSpPr>
            <p:spPr bwMode="auto">
              <a:xfrm>
                <a:off x="3538538" y="4489451"/>
                <a:ext cx="1588" cy="1588"/>
              </a:xfrm>
              <a:custGeom>
                <a:avLst/>
                <a:gdLst>
                  <a:gd name="T0" fmla="*/ 1 w 1"/>
                  <a:gd name="T1" fmla="*/ 1 h 2"/>
                  <a:gd name="T2" fmla="*/ 1 w 1"/>
                  <a:gd name="T3" fmla="*/ 1 h 2"/>
                  <a:gd name="T4" fmla="*/ 0 w 1"/>
                  <a:gd name="T5" fmla="*/ 0 h 2"/>
                  <a:gd name="T6" fmla="*/ 0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1"/>
                    </a:lnTo>
                    <a:cubicBezTo>
                      <a:pt x="1" y="1"/>
                      <a:pt x="1" y="0"/>
                      <a:pt x="0" y="0"/>
                    </a:cubicBezTo>
                    <a:cubicBezTo>
                      <a:pt x="0" y="0"/>
                      <a:pt x="0" y="1"/>
                      <a:pt x="0" y="2"/>
                    </a:cubicBezTo>
                    <a:cubicBezTo>
                      <a:pt x="1" y="1"/>
                      <a:pt x="1" y="1"/>
                      <a:pt x="1" y="1"/>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8" name="Freeform 2572"/>
              <p:cNvSpPr>
                <a:spLocks/>
              </p:cNvSpPr>
              <p:nvPr/>
            </p:nvSpPr>
            <p:spPr bwMode="auto">
              <a:xfrm>
                <a:off x="3538538" y="4451351"/>
                <a:ext cx="0" cy="1588"/>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cubicBezTo>
                      <a:pt x="1" y="1"/>
                      <a:pt x="2" y="2"/>
                      <a:pt x="2" y="2"/>
                    </a:cubicBezTo>
                    <a:cubicBezTo>
                      <a:pt x="2" y="0"/>
                      <a:pt x="2" y="0"/>
                      <a:pt x="0" y="0"/>
                    </a:cubicBezTo>
                    <a:close/>
                  </a:path>
                </a:pathLst>
              </a:custGeom>
              <a:solidFill>
                <a:srgbClr val="A8B21C"/>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grpSp>
        <p:grpSp>
          <p:nvGrpSpPr>
            <p:cNvPr id="8" name="Group 7"/>
            <p:cNvGrpSpPr/>
            <p:nvPr/>
          </p:nvGrpSpPr>
          <p:grpSpPr>
            <a:xfrm flipH="1">
              <a:off x="3857376" y="1709778"/>
              <a:ext cx="1843104" cy="1858632"/>
              <a:chOff x="3522663" y="3930651"/>
              <a:chExt cx="1004888" cy="644525"/>
            </a:xfrm>
          </p:grpSpPr>
          <p:sp>
            <p:nvSpPr>
              <p:cNvPr id="499" name="Freeform 2413"/>
              <p:cNvSpPr>
                <a:spLocks/>
              </p:cNvSpPr>
              <p:nvPr/>
            </p:nvSpPr>
            <p:spPr bwMode="auto">
              <a:xfrm>
                <a:off x="4395788" y="3935413"/>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1"/>
                      <a:pt x="0" y="1"/>
                      <a:pt x="0" y="0"/>
                    </a:cubicBezTo>
                    <a:cubicBezTo>
                      <a:pt x="0" y="1"/>
                      <a:pt x="0" y="1"/>
                      <a:pt x="0"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0" name="Freeform 2414"/>
              <p:cNvSpPr>
                <a:spLocks/>
              </p:cNvSpPr>
              <p:nvPr/>
            </p:nvSpPr>
            <p:spPr bwMode="auto">
              <a:xfrm>
                <a:off x="4319588" y="3937001"/>
                <a:ext cx="0" cy="1588"/>
              </a:xfrm>
              <a:custGeom>
                <a:avLst/>
                <a:gdLst>
                  <a:gd name="T0" fmla="*/ 0 w 2"/>
                  <a:gd name="T1" fmla="*/ 1 h 1"/>
                  <a:gd name="T2" fmla="*/ 0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0" y="1"/>
                    </a:lnTo>
                    <a:lnTo>
                      <a:pt x="2" y="0"/>
                    </a:lnTo>
                    <a:cubicBezTo>
                      <a:pt x="0" y="1"/>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1" name="Freeform 2415"/>
              <p:cNvSpPr>
                <a:spLocks/>
              </p:cNvSpPr>
              <p:nvPr/>
            </p:nvSpPr>
            <p:spPr bwMode="auto">
              <a:xfrm>
                <a:off x="4441826" y="3932238"/>
                <a:ext cx="3175" cy="1588"/>
              </a:xfrm>
              <a:custGeom>
                <a:avLst/>
                <a:gdLst>
                  <a:gd name="T0" fmla="*/ 0 w 10"/>
                  <a:gd name="T1" fmla="*/ 0 h 1"/>
                  <a:gd name="T2" fmla="*/ 0 w 10"/>
                  <a:gd name="T3" fmla="*/ 0 h 1"/>
                  <a:gd name="T4" fmla="*/ 0 w 10"/>
                  <a:gd name="T5" fmla="*/ 1 h 1"/>
                  <a:gd name="T6" fmla="*/ 10 w 10"/>
                  <a:gd name="T7" fmla="*/ 0 h 1"/>
                  <a:gd name="T8" fmla="*/ 0 w 10"/>
                  <a:gd name="T9" fmla="*/ 0 h 1"/>
                </a:gdLst>
                <a:ahLst/>
                <a:cxnLst>
                  <a:cxn ang="0">
                    <a:pos x="T0" y="T1"/>
                  </a:cxn>
                  <a:cxn ang="0">
                    <a:pos x="T2" y="T3"/>
                  </a:cxn>
                  <a:cxn ang="0">
                    <a:pos x="T4" y="T5"/>
                  </a:cxn>
                  <a:cxn ang="0">
                    <a:pos x="T6" y="T7"/>
                  </a:cxn>
                  <a:cxn ang="0">
                    <a:pos x="T8" y="T9"/>
                  </a:cxn>
                </a:cxnLst>
                <a:rect l="0" t="0" r="r" b="b"/>
                <a:pathLst>
                  <a:path w="10" h="1">
                    <a:moveTo>
                      <a:pt x="0" y="0"/>
                    </a:moveTo>
                    <a:lnTo>
                      <a:pt x="0" y="0"/>
                    </a:lnTo>
                    <a:cubicBezTo>
                      <a:pt x="0" y="0"/>
                      <a:pt x="0" y="0"/>
                      <a:pt x="0" y="1"/>
                    </a:cubicBezTo>
                    <a:cubicBezTo>
                      <a:pt x="2" y="0"/>
                      <a:pt x="5" y="0"/>
                      <a:pt x="10" y="0"/>
                    </a:cubicBezTo>
                    <a:lnTo>
                      <a:pt x="0"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2" name="Freeform 2416"/>
              <p:cNvSpPr>
                <a:spLocks/>
              </p:cNvSpPr>
              <p:nvPr/>
            </p:nvSpPr>
            <p:spPr bwMode="auto">
              <a:xfrm>
                <a:off x="4156076" y="3943351"/>
                <a:ext cx="1588"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cubicBezTo>
                      <a:pt x="2"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3" name="Freeform 2417"/>
              <p:cNvSpPr>
                <a:spLocks/>
              </p:cNvSpPr>
              <p:nvPr/>
            </p:nvSpPr>
            <p:spPr bwMode="auto">
              <a:xfrm>
                <a:off x="4251326" y="3941763"/>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1"/>
                      <a:pt x="1" y="1"/>
                      <a:pt x="0" y="1"/>
                    </a:cubicBezTo>
                    <a:cubicBezTo>
                      <a:pt x="2" y="1"/>
                      <a:pt x="3" y="1"/>
                      <a:pt x="4"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4" name="Freeform 2418"/>
              <p:cNvSpPr>
                <a:spLocks/>
              </p:cNvSpPr>
              <p:nvPr/>
            </p:nvSpPr>
            <p:spPr bwMode="auto">
              <a:xfrm>
                <a:off x="4465638" y="3940176"/>
                <a:ext cx="1588" cy="0"/>
              </a:xfrm>
              <a:custGeom>
                <a:avLst/>
                <a:gdLst>
                  <a:gd name="T0" fmla="*/ 4 w 4"/>
                  <a:gd name="T1" fmla="*/ 1 h 1"/>
                  <a:gd name="T2" fmla="*/ 4 w 4"/>
                  <a:gd name="T3" fmla="*/ 1 h 1"/>
                  <a:gd name="T4" fmla="*/ 0 w 4"/>
                  <a:gd name="T5" fmla="*/ 0 h 1"/>
                  <a:gd name="T6" fmla="*/ 4 w 4"/>
                  <a:gd name="T7" fmla="*/ 1 h 1"/>
                </a:gdLst>
                <a:ahLst/>
                <a:cxnLst>
                  <a:cxn ang="0">
                    <a:pos x="T0" y="T1"/>
                  </a:cxn>
                  <a:cxn ang="0">
                    <a:pos x="T2" y="T3"/>
                  </a:cxn>
                  <a:cxn ang="0">
                    <a:pos x="T4" y="T5"/>
                  </a:cxn>
                  <a:cxn ang="0">
                    <a:pos x="T6" y="T7"/>
                  </a:cxn>
                </a:cxnLst>
                <a:rect l="0" t="0" r="r" b="b"/>
                <a:pathLst>
                  <a:path w="4" h="1">
                    <a:moveTo>
                      <a:pt x="4" y="1"/>
                    </a:moveTo>
                    <a:lnTo>
                      <a:pt x="4" y="1"/>
                    </a:lnTo>
                    <a:lnTo>
                      <a:pt x="0" y="0"/>
                    </a:lnTo>
                    <a:cubicBezTo>
                      <a:pt x="0" y="0"/>
                      <a:pt x="2" y="1"/>
                      <a:pt x="4"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5" name="Freeform 2419"/>
              <p:cNvSpPr>
                <a:spLocks/>
              </p:cNvSpPr>
              <p:nvPr/>
            </p:nvSpPr>
            <p:spPr bwMode="auto">
              <a:xfrm>
                <a:off x="4513263" y="3933826"/>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0" y="1"/>
                      <a:pt x="0" y="0"/>
                    </a:cubicBezTo>
                    <a:cubicBezTo>
                      <a:pt x="0" y="1"/>
                      <a:pt x="0" y="1"/>
                      <a:pt x="1"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6" name="Freeform 2420"/>
              <p:cNvSpPr>
                <a:spLocks/>
              </p:cNvSpPr>
              <p:nvPr/>
            </p:nvSpPr>
            <p:spPr bwMode="auto">
              <a:xfrm>
                <a:off x="4492626" y="3932238"/>
                <a:ext cx="1588" cy="1588"/>
              </a:xfrm>
              <a:custGeom>
                <a:avLst/>
                <a:gdLst>
                  <a:gd name="T0" fmla="*/ 4 w 4"/>
                  <a:gd name="T1" fmla="*/ 0 h 2"/>
                  <a:gd name="T2" fmla="*/ 4 w 4"/>
                  <a:gd name="T3" fmla="*/ 0 h 2"/>
                  <a:gd name="T4" fmla="*/ 0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4" y="0"/>
                    </a:lnTo>
                    <a:cubicBezTo>
                      <a:pt x="3" y="1"/>
                      <a:pt x="2" y="1"/>
                      <a:pt x="0" y="2"/>
                    </a:cubicBezTo>
                    <a:cubicBezTo>
                      <a:pt x="2" y="2"/>
                      <a:pt x="4" y="1"/>
                      <a:pt x="4"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7" name="Freeform 2421"/>
              <p:cNvSpPr>
                <a:spLocks/>
              </p:cNvSpPr>
              <p:nvPr/>
            </p:nvSpPr>
            <p:spPr bwMode="auto">
              <a:xfrm>
                <a:off x="4492626" y="3933826"/>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cubicBezTo>
                      <a:pt x="1" y="0"/>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8" name="Freeform 2422"/>
              <p:cNvSpPr>
                <a:spLocks/>
              </p:cNvSpPr>
              <p:nvPr/>
            </p:nvSpPr>
            <p:spPr bwMode="auto">
              <a:xfrm>
                <a:off x="3559176" y="3941763"/>
                <a:ext cx="3175" cy="1588"/>
              </a:xfrm>
              <a:custGeom>
                <a:avLst/>
                <a:gdLst>
                  <a:gd name="T0" fmla="*/ 11 w 11"/>
                  <a:gd name="T1" fmla="*/ 1 h 3"/>
                  <a:gd name="T2" fmla="*/ 11 w 11"/>
                  <a:gd name="T3" fmla="*/ 1 h 3"/>
                  <a:gd name="T4" fmla="*/ 0 w 11"/>
                  <a:gd name="T5" fmla="*/ 3 h 3"/>
                  <a:gd name="T6" fmla="*/ 11 w 11"/>
                  <a:gd name="T7" fmla="*/ 1 h 3"/>
                </a:gdLst>
                <a:ahLst/>
                <a:cxnLst>
                  <a:cxn ang="0">
                    <a:pos x="T0" y="T1"/>
                  </a:cxn>
                  <a:cxn ang="0">
                    <a:pos x="T2" y="T3"/>
                  </a:cxn>
                  <a:cxn ang="0">
                    <a:pos x="T4" y="T5"/>
                  </a:cxn>
                  <a:cxn ang="0">
                    <a:pos x="T6" y="T7"/>
                  </a:cxn>
                </a:cxnLst>
                <a:rect l="0" t="0" r="r" b="b"/>
                <a:pathLst>
                  <a:path w="11" h="3">
                    <a:moveTo>
                      <a:pt x="11" y="1"/>
                    </a:moveTo>
                    <a:lnTo>
                      <a:pt x="11" y="1"/>
                    </a:lnTo>
                    <a:cubicBezTo>
                      <a:pt x="7" y="0"/>
                      <a:pt x="3" y="2"/>
                      <a:pt x="0" y="3"/>
                    </a:cubicBezTo>
                    <a:lnTo>
                      <a:pt x="11" y="1"/>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9" name="Freeform 2423"/>
              <p:cNvSpPr>
                <a:spLocks/>
              </p:cNvSpPr>
              <p:nvPr/>
            </p:nvSpPr>
            <p:spPr bwMode="auto">
              <a:xfrm>
                <a:off x="4008438" y="3944938"/>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0" y="0"/>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0" name="Freeform 2424"/>
              <p:cNvSpPr>
                <a:spLocks/>
              </p:cNvSpPr>
              <p:nvPr/>
            </p:nvSpPr>
            <p:spPr bwMode="auto">
              <a:xfrm>
                <a:off x="3560763" y="3948113"/>
                <a:ext cx="0"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cubicBezTo>
                      <a:pt x="1" y="0"/>
                      <a:pt x="2" y="0"/>
                      <a:pt x="3"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1" name="Freeform 2425"/>
              <p:cNvSpPr>
                <a:spLocks/>
              </p:cNvSpPr>
              <p:nvPr/>
            </p:nvSpPr>
            <p:spPr bwMode="auto">
              <a:xfrm>
                <a:off x="4438651" y="3943351"/>
                <a:ext cx="3175" cy="1588"/>
              </a:xfrm>
              <a:custGeom>
                <a:avLst/>
                <a:gdLst>
                  <a:gd name="T0" fmla="*/ 13 w 13"/>
                  <a:gd name="T1" fmla="*/ 0 h 3"/>
                  <a:gd name="T2" fmla="*/ 13 w 13"/>
                  <a:gd name="T3" fmla="*/ 0 h 3"/>
                  <a:gd name="T4" fmla="*/ 0 w 13"/>
                  <a:gd name="T5" fmla="*/ 2 h 3"/>
                  <a:gd name="T6" fmla="*/ 13 w 13"/>
                  <a:gd name="T7" fmla="*/ 0 h 3"/>
                </a:gdLst>
                <a:ahLst/>
                <a:cxnLst>
                  <a:cxn ang="0">
                    <a:pos x="T0" y="T1"/>
                  </a:cxn>
                  <a:cxn ang="0">
                    <a:pos x="T2" y="T3"/>
                  </a:cxn>
                  <a:cxn ang="0">
                    <a:pos x="T4" y="T5"/>
                  </a:cxn>
                  <a:cxn ang="0">
                    <a:pos x="T6" y="T7"/>
                  </a:cxn>
                </a:cxnLst>
                <a:rect l="0" t="0" r="r" b="b"/>
                <a:pathLst>
                  <a:path w="13" h="3">
                    <a:moveTo>
                      <a:pt x="13" y="0"/>
                    </a:moveTo>
                    <a:lnTo>
                      <a:pt x="13" y="0"/>
                    </a:lnTo>
                    <a:cubicBezTo>
                      <a:pt x="9" y="2"/>
                      <a:pt x="0" y="1"/>
                      <a:pt x="0" y="2"/>
                    </a:cubicBezTo>
                    <a:cubicBezTo>
                      <a:pt x="5" y="2"/>
                      <a:pt x="12" y="3"/>
                      <a:pt x="13"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2" name="Freeform 2426"/>
              <p:cNvSpPr>
                <a:spLocks/>
              </p:cNvSpPr>
              <p:nvPr/>
            </p:nvSpPr>
            <p:spPr bwMode="auto">
              <a:xfrm>
                <a:off x="3976688" y="3968751"/>
                <a:ext cx="0"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cubicBezTo>
                      <a:pt x="1" y="0"/>
                      <a:pt x="2" y="0"/>
                      <a:pt x="2"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3" name="Freeform 2427"/>
              <p:cNvSpPr>
                <a:spLocks/>
              </p:cNvSpPr>
              <p:nvPr/>
            </p:nvSpPr>
            <p:spPr bwMode="auto">
              <a:xfrm>
                <a:off x="3560763" y="3948113"/>
                <a:ext cx="1588" cy="0"/>
              </a:xfrm>
              <a:custGeom>
                <a:avLst/>
                <a:gdLst>
                  <a:gd name="T0" fmla="*/ 0 w 3"/>
                  <a:gd name="T1" fmla="*/ 0 h 1"/>
                  <a:gd name="T2" fmla="*/ 0 w 3"/>
                  <a:gd name="T3" fmla="*/ 0 h 1"/>
                  <a:gd name="T4" fmla="*/ 3 w 3"/>
                  <a:gd name="T5" fmla="*/ 1 h 1"/>
                  <a:gd name="T6" fmla="*/ 2 w 3"/>
                  <a:gd name="T7" fmla="*/ 0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lnTo>
                      <a:pt x="0" y="0"/>
                    </a:lnTo>
                    <a:lnTo>
                      <a:pt x="3" y="1"/>
                    </a:lnTo>
                    <a:cubicBezTo>
                      <a:pt x="3" y="0"/>
                      <a:pt x="3" y="0"/>
                      <a:pt x="2" y="0"/>
                    </a:cubicBezTo>
                    <a:cubicBezTo>
                      <a:pt x="2"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4" name="Freeform 2428"/>
              <p:cNvSpPr>
                <a:spLocks/>
              </p:cNvSpPr>
              <p:nvPr/>
            </p:nvSpPr>
            <p:spPr bwMode="auto">
              <a:xfrm>
                <a:off x="3854451" y="3943351"/>
                <a:ext cx="0"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0" y="0"/>
                      <a:pt x="0" y="0"/>
                    </a:cubicBezTo>
                    <a:cubicBezTo>
                      <a:pt x="1" y="0"/>
                      <a:pt x="1" y="0"/>
                      <a:pt x="1" y="0"/>
                    </a:cubicBezTo>
                    <a:lnTo>
                      <a:pt x="0"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5" name="Freeform 2429"/>
              <p:cNvSpPr>
                <a:spLocks/>
              </p:cNvSpPr>
              <p:nvPr/>
            </p:nvSpPr>
            <p:spPr bwMode="auto">
              <a:xfrm>
                <a:off x="3846513" y="3941763"/>
                <a:ext cx="1588" cy="0"/>
              </a:xfrm>
              <a:custGeom>
                <a:avLst/>
                <a:gdLst>
                  <a:gd name="T0" fmla="*/ 0 w 6"/>
                  <a:gd name="T1" fmla="*/ 1 h 1"/>
                  <a:gd name="T2" fmla="*/ 0 w 6"/>
                  <a:gd name="T3" fmla="*/ 1 h 1"/>
                  <a:gd name="T4" fmla="*/ 6 w 6"/>
                  <a:gd name="T5" fmla="*/ 1 h 1"/>
                  <a:gd name="T6" fmla="*/ 0 w 6"/>
                  <a:gd name="T7" fmla="*/ 1 h 1"/>
                </a:gdLst>
                <a:ahLst/>
                <a:cxnLst>
                  <a:cxn ang="0">
                    <a:pos x="T0" y="T1"/>
                  </a:cxn>
                  <a:cxn ang="0">
                    <a:pos x="T2" y="T3"/>
                  </a:cxn>
                  <a:cxn ang="0">
                    <a:pos x="T4" y="T5"/>
                  </a:cxn>
                  <a:cxn ang="0">
                    <a:pos x="T6" y="T7"/>
                  </a:cxn>
                </a:cxnLst>
                <a:rect l="0" t="0" r="r" b="b"/>
                <a:pathLst>
                  <a:path w="6" h="1">
                    <a:moveTo>
                      <a:pt x="0" y="1"/>
                    </a:moveTo>
                    <a:lnTo>
                      <a:pt x="0" y="1"/>
                    </a:lnTo>
                    <a:cubicBezTo>
                      <a:pt x="2" y="1"/>
                      <a:pt x="4" y="1"/>
                      <a:pt x="6" y="1"/>
                    </a:cubicBezTo>
                    <a:cubicBezTo>
                      <a:pt x="3" y="0"/>
                      <a:pt x="1"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6" name="Freeform 2430"/>
              <p:cNvSpPr>
                <a:spLocks/>
              </p:cNvSpPr>
              <p:nvPr/>
            </p:nvSpPr>
            <p:spPr bwMode="auto">
              <a:xfrm>
                <a:off x="3557588" y="3943351"/>
                <a:ext cx="1588" cy="0"/>
              </a:xfrm>
              <a:custGeom>
                <a:avLst/>
                <a:gdLst>
                  <a:gd name="T0" fmla="*/ 7 w 7"/>
                  <a:gd name="T1" fmla="*/ 0 h 2"/>
                  <a:gd name="T2" fmla="*/ 7 w 7"/>
                  <a:gd name="T3" fmla="*/ 0 h 2"/>
                  <a:gd name="T4" fmla="*/ 0 w 7"/>
                  <a:gd name="T5" fmla="*/ 2 h 2"/>
                  <a:gd name="T6" fmla="*/ 7 w 7"/>
                  <a:gd name="T7" fmla="*/ 0 h 2"/>
                </a:gdLst>
                <a:ahLst/>
                <a:cxnLst>
                  <a:cxn ang="0">
                    <a:pos x="T0" y="T1"/>
                  </a:cxn>
                  <a:cxn ang="0">
                    <a:pos x="T2" y="T3"/>
                  </a:cxn>
                  <a:cxn ang="0">
                    <a:pos x="T4" y="T5"/>
                  </a:cxn>
                  <a:cxn ang="0">
                    <a:pos x="T6" y="T7"/>
                  </a:cxn>
                </a:cxnLst>
                <a:rect l="0" t="0" r="r" b="b"/>
                <a:pathLst>
                  <a:path w="7" h="2">
                    <a:moveTo>
                      <a:pt x="7" y="0"/>
                    </a:moveTo>
                    <a:lnTo>
                      <a:pt x="7" y="0"/>
                    </a:lnTo>
                    <a:lnTo>
                      <a:pt x="0" y="2"/>
                    </a:lnTo>
                    <a:cubicBezTo>
                      <a:pt x="2" y="1"/>
                      <a:pt x="4" y="1"/>
                      <a:pt x="7"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7" name="Freeform 2431"/>
              <p:cNvSpPr>
                <a:spLocks/>
              </p:cNvSpPr>
              <p:nvPr/>
            </p:nvSpPr>
            <p:spPr bwMode="auto">
              <a:xfrm>
                <a:off x="3757613" y="3940176"/>
                <a:ext cx="1588" cy="1588"/>
              </a:xfrm>
              <a:custGeom>
                <a:avLst/>
                <a:gdLst>
                  <a:gd name="T0" fmla="*/ 0 w 3"/>
                  <a:gd name="T1" fmla="*/ 1 h 1"/>
                  <a:gd name="T2" fmla="*/ 0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lnTo>
                      <a:pt x="0" y="1"/>
                    </a:lnTo>
                    <a:cubicBezTo>
                      <a:pt x="1" y="1"/>
                      <a:pt x="2" y="1"/>
                      <a:pt x="3" y="1"/>
                    </a:cubicBezTo>
                    <a:cubicBezTo>
                      <a:pt x="2" y="0"/>
                      <a:pt x="1"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8" name="Freeform 2432"/>
              <p:cNvSpPr>
                <a:spLocks/>
              </p:cNvSpPr>
              <p:nvPr/>
            </p:nvSpPr>
            <p:spPr bwMode="auto">
              <a:xfrm>
                <a:off x="4259263" y="3941763"/>
                <a:ext cx="0" cy="0"/>
              </a:xfrm>
              <a:custGeom>
                <a:avLst/>
                <a:gdLst>
                  <a:gd name="T0" fmla="*/ 0 w 2"/>
                  <a:gd name="T1" fmla="*/ 1 h 1"/>
                  <a:gd name="T2" fmla="*/ 0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0" y="1"/>
                    </a:lnTo>
                    <a:cubicBezTo>
                      <a:pt x="0" y="1"/>
                      <a:pt x="1" y="1"/>
                      <a:pt x="2" y="1"/>
                    </a:cubicBezTo>
                    <a:cubicBezTo>
                      <a:pt x="2" y="1"/>
                      <a:pt x="2"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9" name="Rectangle 2433"/>
              <p:cNvSpPr>
                <a:spLocks noChangeArrowheads="1"/>
              </p:cNvSpPr>
              <p:nvPr/>
            </p:nvSpPr>
            <p:spPr bwMode="auto">
              <a:xfrm>
                <a:off x="4198938" y="3960813"/>
                <a:ext cx="1588" cy="1588"/>
              </a:xfrm>
              <a:prstGeom prst="rect">
                <a:avLst/>
              </a:prstGeom>
              <a:solidFill>
                <a:srgbClr val="9A9A9A"/>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0" name="Freeform 2434"/>
              <p:cNvSpPr>
                <a:spLocks/>
              </p:cNvSpPr>
              <p:nvPr/>
            </p:nvSpPr>
            <p:spPr bwMode="auto">
              <a:xfrm>
                <a:off x="4198938" y="3960813"/>
                <a:ext cx="3175" cy="0"/>
              </a:xfrm>
              <a:custGeom>
                <a:avLst/>
                <a:gdLst>
                  <a:gd name="T0" fmla="*/ 10 w 10"/>
                  <a:gd name="T1" fmla="*/ 0 h 3"/>
                  <a:gd name="T2" fmla="*/ 10 w 10"/>
                  <a:gd name="T3" fmla="*/ 0 h 3"/>
                  <a:gd name="T4" fmla="*/ 0 w 10"/>
                  <a:gd name="T5" fmla="*/ 3 h 3"/>
                  <a:gd name="T6" fmla="*/ 10 w 10"/>
                  <a:gd name="T7" fmla="*/ 0 h 3"/>
                </a:gdLst>
                <a:ahLst/>
                <a:cxnLst>
                  <a:cxn ang="0">
                    <a:pos x="T0" y="T1"/>
                  </a:cxn>
                  <a:cxn ang="0">
                    <a:pos x="T2" y="T3"/>
                  </a:cxn>
                  <a:cxn ang="0">
                    <a:pos x="T4" y="T5"/>
                  </a:cxn>
                  <a:cxn ang="0">
                    <a:pos x="T6" y="T7"/>
                  </a:cxn>
                </a:cxnLst>
                <a:rect l="0" t="0" r="r" b="b"/>
                <a:pathLst>
                  <a:path w="10" h="3">
                    <a:moveTo>
                      <a:pt x="10" y="0"/>
                    </a:moveTo>
                    <a:lnTo>
                      <a:pt x="10" y="0"/>
                    </a:lnTo>
                    <a:cubicBezTo>
                      <a:pt x="7" y="0"/>
                      <a:pt x="2" y="2"/>
                      <a:pt x="0" y="3"/>
                    </a:cubicBezTo>
                    <a:cubicBezTo>
                      <a:pt x="3" y="3"/>
                      <a:pt x="6" y="3"/>
                      <a:pt x="1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1" name="Freeform 2435"/>
              <p:cNvSpPr>
                <a:spLocks/>
              </p:cNvSpPr>
              <p:nvPr/>
            </p:nvSpPr>
            <p:spPr bwMode="auto">
              <a:xfrm>
                <a:off x="4192588" y="3960813"/>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cubicBezTo>
                      <a:pt x="1" y="0"/>
                      <a:pt x="1" y="0"/>
                      <a:pt x="2" y="0"/>
                    </a:cubicBezTo>
                    <a:cubicBezTo>
                      <a:pt x="1"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2" name="Freeform 2436"/>
              <p:cNvSpPr>
                <a:spLocks/>
              </p:cNvSpPr>
              <p:nvPr/>
            </p:nvSpPr>
            <p:spPr bwMode="auto">
              <a:xfrm>
                <a:off x="4257676" y="3959226"/>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3" name="Freeform 2437"/>
              <p:cNvSpPr>
                <a:spLocks/>
              </p:cNvSpPr>
              <p:nvPr/>
            </p:nvSpPr>
            <p:spPr bwMode="auto">
              <a:xfrm>
                <a:off x="4243388" y="3959226"/>
                <a:ext cx="1588"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cubicBezTo>
                      <a:pt x="2" y="0"/>
                      <a:pt x="1" y="0"/>
                      <a:pt x="0" y="0"/>
                    </a:cubicBezTo>
                    <a:cubicBezTo>
                      <a:pt x="1" y="0"/>
                      <a:pt x="2" y="0"/>
                      <a:pt x="3"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4" name="Freeform 2438"/>
              <p:cNvSpPr>
                <a:spLocks/>
              </p:cNvSpPr>
              <p:nvPr/>
            </p:nvSpPr>
            <p:spPr bwMode="auto">
              <a:xfrm>
                <a:off x="4159251" y="3963988"/>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lnTo>
                      <a:pt x="1" y="0"/>
                    </a:lnTo>
                    <a:lnTo>
                      <a:pt x="1" y="0"/>
                    </a:lnTo>
                    <a:cubicBezTo>
                      <a:pt x="1" y="0"/>
                      <a:pt x="1" y="0"/>
                      <a:pt x="0" y="0"/>
                    </a:cubicBezTo>
                    <a:cubicBezTo>
                      <a:pt x="1" y="0"/>
                      <a:pt x="1" y="0"/>
                      <a:pt x="1"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5" name="Freeform 2439"/>
              <p:cNvSpPr>
                <a:spLocks/>
              </p:cNvSpPr>
              <p:nvPr/>
            </p:nvSpPr>
            <p:spPr bwMode="auto">
              <a:xfrm>
                <a:off x="3554413" y="3930651"/>
                <a:ext cx="973138" cy="41275"/>
              </a:xfrm>
              <a:custGeom>
                <a:avLst/>
                <a:gdLst>
                  <a:gd name="T0" fmla="*/ 1712 w 3100"/>
                  <a:gd name="T1" fmla="*/ 124 h 129"/>
                  <a:gd name="T2" fmla="*/ 1836 w 3100"/>
                  <a:gd name="T3" fmla="*/ 116 h 129"/>
                  <a:gd name="T4" fmla="*/ 1921 w 3100"/>
                  <a:gd name="T5" fmla="*/ 107 h 129"/>
                  <a:gd name="T6" fmla="*/ 1969 w 3100"/>
                  <a:gd name="T7" fmla="*/ 106 h 129"/>
                  <a:gd name="T8" fmla="*/ 2021 w 3100"/>
                  <a:gd name="T9" fmla="*/ 101 h 129"/>
                  <a:gd name="T10" fmla="*/ 2045 w 3100"/>
                  <a:gd name="T11" fmla="*/ 98 h 129"/>
                  <a:gd name="T12" fmla="*/ 2093 w 3100"/>
                  <a:gd name="T13" fmla="*/ 96 h 129"/>
                  <a:gd name="T14" fmla="*/ 2155 w 3100"/>
                  <a:gd name="T15" fmla="*/ 94 h 129"/>
                  <a:gd name="T16" fmla="*/ 2225 w 3100"/>
                  <a:gd name="T17" fmla="*/ 84 h 129"/>
                  <a:gd name="T18" fmla="*/ 2296 w 3100"/>
                  <a:gd name="T19" fmla="*/ 75 h 129"/>
                  <a:gd name="T20" fmla="*/ 2342 w 3100"/>
                  <a:gd name="T21" fmla="*/ 74 h 129"/>
                  <a:gd name="T22" fmla="*/ 2388 w 3100"/>
                  <a:gd name="T23" fmla="*/ 72 h 129"/>
                  <a:gd name="T24" fmla="*/ 2461 w 3100"/>
                  <a:gd name="T25" fmla="*/ 77 h 129"/>
                  <a:gd name="T26" fmla="*/ 2535 w 3100"/>
                  <a:gd name="T27" fmla="*/ 56 h 129"/>
                  <a:gd name="T28" fmla="*/ 2600 w 3100"/>
                  <a:gd name="T29" fmla="*/ 50 h 129"/>
                  <a:gd name="T30" fmla="*/ 2698 w 3100"/>
                  <a:gd name="T31" fmla="*/ 51 h 129"/>
                  <a:gd name="T32" fmla="*/ 2762 w 3100"/>
                  <a:gd name="T33" fmla="*/ 40 h 129"/>
                  <a:gd name="T34" fmla="*/ 2804 w 3100"/>
                  <a:gd name="T35" fmla="*/ 32 h 129"/>
                  <a:gd name="T36" fmla="*/ 2813 w 3100"/>
                  <a:gd name="T37" fmla="*/ 45 h 129"/>
                  <a:gd name="T38" fmla="*/ 2861 w 3100"/>
                  <a:gd name="T39" fmla="*/ 35 h 129"/>
                  <a:gd name="T40" fmla="*/ 2892 w 3100"/>
                  <a:gd name="T41" fmla="*/ 35 h 129"/>
                  <a:gd name="T42" fmla="*/ 2921 w 3100"/>
                  <a:gd name="T43" fmla="*/ 25 h 129"/>
                  <a:gd name="T44" fmla="*/ 3025 w 3100"/>
                  <a:gd name="T45" fmla="*/ 19 h 129"/>
                  <a:gd name="T46" fmla="*/ 3077 w 3100"/>
                  <a:gd name="T47" fmla="*/ 20 h 129"/>
                  <a:gd name="T48" fmla="*/ 3043 w 3100"/>
                  <a:gd name="T49" fmla="*/ 13 h 129"/>
                  <a:gd name="T50" fmla="*/ 2998 w 3100"/>
                  <a:gd name="T51" fmla="*/ 12 h 129"/>
                  <a:gd name="T52" fmla="*/ 2974 w 3100"/>
                  <a:gd name="T53" fmla="*/ 3 h 129"/>
                  <a:gd name="T54" fmla="*/ 2873 w 3100"/>
                  <a:gd name="T55" fmla="*/ 10 h 129"/>
                  <a:gd name="T56" fmla="*/ 2844 w 3100"/>
                  <a:gd name="T57" fmla="*/ 6 h 129"/>
                  <a:gd name="T58" fmla="*/ 2800 w 3100"/>
                  <a:gd name="T59" fmla="*/ 8 h 129"/>
                  <a:gd name="T60" fmla="*/ 2681 w 3100"/>
                  <a:gd name="T61" fmla="*/ 14 h 129"/>
                  <a:gd name="T62" fmla="*/ 2631 w 3100"/>
                  <a:gd name="T63" fmla="*/ 15 h 129"/>
                  <a:gd name="T64" fmla="*/ 2566 w 3100"/>
                  <a:gd name="T65" fmla="*/ 19 h 129"/>
                  <a:gd name="T66" fmla="*/ 2516 w 3100"/>
                  <a:gd name="T67" fmla="*/ 22 h 129"/>
                  <a:gd name="T68" fmla="*/ 2461 w 3100"/>
                  <a:gd name="T69" fmla="*/ 23 h 129"/>
                  <a:gd name="T70" fmla="*/ 2419 w 3100"/>
                  <a:gd name="T71" fmla="*/ 25 h 129"/>
                  <a:gd name="T72" fmla="*/ 2284 w 3100"/>
                  <a:gd name="T73" fmla="*/ 33 h 129"/>
                  <a:gd name="T74" fmla="*/ 2213 w 3100"/>
                  <a:gd name="T75" fmla="*/ 32 h 129"/>
                  <a:gd name="T76" fmla="*/ 2123 w 3100"/>
                  <a:gd name="T77" fmla="*/ 41 h 129"/>
                  <a:gd name="T78" fmla="*/ 2074 w 3100"/>
                  <a:gd name="T79" fmla="*/ 44 h 129"/>
                  <a:gd name="T80" fmla="*/ 1989 w 3100"/>
                  <a:gd name="T81" fmla="*/ 41 h 129"/>
                  <a:gd name="T82" fmla="*/ 1908 w 3100"/>
                  <a:gd name="T83" fmla="*/ 40 h 129"/>
                  <a:gd name="T84" fmla="*/ 1828 w 3100"/>
                  <a:gd name="T85" fmla="*/ 43 h 129"/>
                  <a:gd name="T86" fmla="*/ 1659 w 3100"/>
                  <a:gd name="T87" fmla="*/ 41 h 129"/>
                  <a:gd name="T88" fmla="*/ 1470 w 3100"/>
                  <a:gd name="T89" fmla="*/ 45 h 129"/>
                  <a:gd name="T90" fmla="*/ 1421 w 3100"/>
                  <a:gd name="T91" fmla="*/ 49 h 129"/>
                  <a:gd name="T92" fmla="*/ 1353 w 3100"/>
                  <a:gd name="T93" fmla="*/ 49 h 129"/>
                  <a:gd name="T94" fmla="*/ 1260 w 3100"/>
                  <a:gd name="T95" fmla="*/ 43 h 129"/>
                  <a:gd name="T96" fmla="*/ 1035 w 3100"/>
                  <a:gd name="T97" fmla="*/ 38 h 129"/>
                  <a:gd name="T98" fmla="*/ 872 w 3100"/>
                  <a:gd name="T99" fmla="*/ 37 h 129"/>
                  <a:gd name="T100" fmla="*/ 680 w 3100"/>
                  <a:gd name="T101" fmla="*/ 33 h 129"/>
                  <a:gd name="T102" fmla="*/ 26 w 3100"/>
                  <a:gd name="T103" fmla="*/ 36 h 129"/>
                  <a:gd name="T104" fmla="*/ 23 w 3100"/>
                  <a:gd name="T105" fmla="*/ 53 h 129"/>
                  <a:gd name="T106" fmla="*/ 50 w 3100"/>
                  <a:gd name="T107" fmla="*/ 54 h 129"/>
                  <a:gd name="T108" fmla="*/ 115 w 3100"/>
                  <a:gd name="T109" fmla="*/ 65 h 129"/>
                  <a:gd name="T110" fmla="*/ 159 w 3100"/>
                  <a:gd name="T111" fmla="*/ 72 h 129"/>
                  <a:gd name="T112" fmla="*/ 425 w 3100"/>
                  <a:gd name="T113" fmla="*/ 97 h 129"/>
                  <a:gd name="T114" fmla="*/ 941 w 3100"/>
                  <a:gd name="T115" fmla="*/ 114 h 129"/>
                  <a:gd name="T116" fmla="*/ 1003 w 3100"/>
                  <a:gd name="T117" fmla="*/ 117 h 129"/>
                  <a:gd name="T118" fmla="*/ 1214 w 3100"/>
                  <a:gd name="T119" fmla="*/ 118 h 129"/>
                  <a:gd name="T120" fmla="*/ 1248 w 3100"/>
                  <a:gd name="T121" fmla="*/ 123 h 129"/>
                  <a:gd name="T122" fmla="*/ 1355 w 3100"/>
                  <a:gd name="T123" fmla="*/ 122 h 129"/>
                  <a:gd name="T124" fmla="*/ 1461 w 3100"/>
                  <a:gd name="T125"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0" h="129">
                    <a:moveTo>
                      <a:pt x="1539" y="128"/>
                    </a:moveTo>
                    <a:lnTo>
                      <a:pt x="1539" y="128"/>
                    </a:lnTo>
                    <a:cubicBezTo>
                      <a:pt x="1578" y="127"/>
                      <a:pt x="1629" y="123"/>
                      <a:pt x="1667" y="123"/>
                    </a:cubicBezTo>
                    <a:cubicBezTo>
                      <a:pt x="1676" y="119"/>
                      <a:pt x="1688" y="119"/>
                      <a:pt x="1700" y="118"/>
                    </a:cubicBezTo>
                    <a:lnTo>
                      <a:pt x="1702" y="123"/>
                    </a:lnTo>
                    <a:lnTo>
                      <a:pt x="1712" y="121"/>
                    </a:lnTo>
                    <a:cubicBezTo>
                      <a:pt x="1716" y="123"/>
                      <a:pt x="1704" y="123"/>
                      <a:pt x="1712" y="124"/>
                    </a:cubicBezTo>
                    <a:lnTo>
                      <a:pt x="1716" y="121"/>
                    </a:lnTo>
                    <a:cubicBezTo>
                      <a:pt x="1716" y="123"/>
                      <a:pt x="1742" y="122"/>
                      <a:pt x="1725" y="126"/>
                    </a:cubicBezTo>
                    <a:lnTo>
                      <a:pt x="1765" y="126"/>
                    </a:lnTo>
                    <a:cubicBezTo>
                      <a:pt x="1774" y="125"/>
                      <a:pt x="1770" y="121"/>
                      <a:pt x="1780" y="122"/>
                    </a:cubicBezTo>
                    <a:cubicBezTo>
                      <a:pt x="1782" y="124"/>
                      <a:pt x="1776" y="123"/>
                      <a:pt x="1777" y="125"/>
                    </a:cubicBezTo>
                    <a:cubicBezTo>
                      <a:pt x="1807" y="128"/>
                      <a:pt x="1811" y="114"/>
                      <a:pt x="1839" y="116"/>
                    </a:cubicBezTo>
                    <a:lnTo>
                      <a:pt x="1836" y="116"/>
                    </a:lnTo>
                    <a:cubicBezTo>
                      <a:pt x="1841" y="115"/>
                      <a:pt x="1850" y="115"/>
                      <a:pt x="1850" y="114"/>
                    </a:cubicBezTo>
                    <a:cubicBezTo>
                      <a:pt x="1846" y="109"/>
                      <a:pt x="1845" y="117"/>
                      <a:pt x="1837" y="114"/>
                    </a:cubicBezTo>
                    <a:cubicBezTo>
                      <a:pt x="1837" y="109"/>
                      <a:pt x="1847" y="111"/>
                      <a:pt x="1846" y="108"/>
                    </a:cubicBezTo>
                    <a:cubicBezTo>
                      <a:pt x="1853" y="109"/>
                      <a:pt x="1856" y="107"/>
                      <a:pt x="1862" y="106"/>
                    </a:cubicBezTo>
                    <a:cubicBezTo>
                      <a:pt x="1872" y="109"/>
                      <a:pt x="1885" y="106"/>
                      <a:pt x="1893" y="110"/>
                    </a:cubicBezTo>
                    <a:cubicBezTo>
                      <a:pt x="1897" y="108"/>
                      <a:pt x="1902" y="103"/>
                      <a:pt x="1912" y="103"/>
                    </a:cubicBezTo>
                    <a:cubicBezTo>
                      <a:pt x="1920" y="106"/>
                      <a:pt x="1911" y="106"/>
                      <a:pt x="1921" y="107"/>
                    </a:cubicBezTo>
                    <a:lnTo>
                      <a:pt x="1922" y="105"/>
                    </a:lnTo>
                    <a:cubicBezTo>
                      <a:pt x="1930" y="105"/>
                      <a:pt x="1929" y="106"/>
                      <a:pt x="1929" y="107"/>
                    </a:cubicBezTo>
                    <a:cubicBezTo>
                      <a:pt x="1937" y="107"/>
                      <a:pt x="1936" y="103"/>
                      <a:pt x="1947" y="104"/>
                    </a:cubicBezTo>
                    <a:lnTo>
                      <a:pt x="1941" y="107"/>
                    </a:lnTo>
                    <a:cubicBezTo>
                      <a:pt x="1949" y="106"/>
                      <a:pt x="1952" y="106"/>
                      <a:pt x="1963" y="106"/>
                    </a:cubicBezTo>
                    <a:cubicBezTo>
                      <a:pt x="1963" y="108"/>
                      <a:pt x="1958" y="108"/>
                      <a:pt x="1955" y="107"/>
                    </a:cubicBezTo>
                    <a:cubicBezTo>
                      <a:pt x="1961" y="111"/>
                      <a:pt x="1965" y="105"/>
                      <a:pt x="1969" y="106"/>
                    </a:cubicBezTo>
                    <a:cubicBezTo>
                      <a:pt x="1968" y="104"/>
                      <a:pt x="1960" y="104"/>
                      <a:pt x="1964" y="101"/>
                    </a:cubicBezTo>
                    <a:cubicBezTo>
                      <a:pt x="1969" y="102"/>
                      <a:pt x="1975" y="97"/>
                      <a:pt x="1979" y="100"/>
                    </a:cubicBezTo>
                    <a:lnTo>
                      <a:pt x="1973" y="103"/>
                    </a:lnTo>
                    <a:cubicBezTo>
                      <a:pt x="1985" y="100"/>
                      <a:pt x="1979" y="99"/>
                      <a:pt x="1993" y="100"/>
                    </a:cubicBezTo>
                    <a:cubicBezTo>
                      <a:pt x="1992" y="100"/>
                      <a:pt x="1992" y="101"/>
                      <a:pt x="1992" y="101"/>
                    </a:cubicBezTo>
                    <a:cubicBezTo>
                      <a:pt x="2000" y="98"/>
                      <a:pt x="2011" y="100"/>
                      <a:pt x="2024" y="100"/>
                    </a:cubicBezTo>
                    <a:lnTo>
                      <a:pt x="2021" y="101"/>
                    </a:lnTo>
                    <a:cubicBezTo>
                      <a:pt x="2026" y="100"/>
                      <a:pt x="2029" y="97"/>
                      <a:pt x="2031" y="97"/>
                    </a:cubicBezTo>
                    <a:cubicBezTo>
                      <a:pt x="2024" y="96"/>
                      <a:pt x="2026" y="95"/>
                      <a:pt x="2025" y="93"/>
                    </a:cubicBezTo>
                    <a:cubicBezTo>
                      <a:pt x="2035" y="97"/>
                      <a:pt x="2039" y="87"/>
                      <a:pt x="2055" y="89"/>
                    </a:cubicBezTo>
                    <a:cubicBezTo>
                      <a:pt x="2055" y="90"/>
                      <a:pt x="2051" y="92"/>
                      <a:pt x="2047" y="91"/>
                    </a:cubicBezTo>
                    <a:cubicBezTo>
                      <a:pt x="2042" y="96"/>
                      <a:pt x="2041" y="100"/>
                      <a:pt x="2032" y="102"/>
                    </a:cubicBezTo>
                    <a:cubicBezTo>
                      <a:pt x="2038" y="101"/>
                      <a:pt x="2045" y="100"/>
                      <a:pt x="2043" y="102"/>
                    </a:cubicBezTo>
                    <a:lnTo>
                      <a:pt x="2045" y="98"/>
                    </a:lnTo>
                    <a:cubicBezTo>
                      <a:pt x="2048" y="97"/>
                      <a:pt x="2051" y="97"/>
                      <a:pt x="2054" y="97"/>
                    </a:cubicBezTo>
                    <a:cubicBezTo>
                      <a:pt x="2055" y="95"/>
                      <a:pt x="2046" y="93"/>
                      <a:pt x="2054" y="91"/>
                    </a:cubicBezTo>
                    <a:cubicBezTo>
                      <a:pt x="2063" y="89"/>
                      <a:pt x="2059" y="95"/>
                      <a:pt x="2061" y="93"/>
                    </a:cubicBezTo>
                    <a:cubicBezTo>
                      <a:pt x="2073" y="91"/>
                      <a:pt x="2066" y="88"/>
                      <a:pt x="2078" y="89"/>
                    </a:cubicBezTo>
                    <a:cubicBezTo>
                      <a:pt x="2077" y="90"/>
                      <a:pt x="2074" y="90"/>
                      <a:pt x="2073" y="90"/>
                    </a:cubicBezTo>
                    <a:cubicBezTo>
                      <a:pt x="2082" y="91"/>
                      <a:pt x="2095" y="88"/>
                      <a:pt x="2097" y="93"/>
                    </a:cubicBezTo>
                    <a:cubicBezTo>
                      <a:pt x="2096" y="94"/>
                      <a:pt x="2096" y="96"/>
                      <a:pt x="2093" y="96"/>
                    </a:cubicBezTo>
                    <a:lnTo>
                      <a:pt x="2093" y="95"/>
                    </a:lnTo>
                    <a:cubicBezTo>
                      <a:pt x="2083" y="99"/>
                      <a:pt x="2101" y="93"/>
                      <a:pt x="2098" y="98"/>
                    </a:cubicBezTo>
                    <a:cubicBezTo>
                      <a:pt x="2097" y="95"/>
                      <a:pt x="2109" y="95"/>
                      <a:pt x="2115" y="96"/>
                    </a:cubicBezTo>
                    <a:lnTo>
                      <a:pt x="2113" y="93"/>
                    </a:lnTo>
                    <a:cubicBezTo>
                      <a:pt x="2131" y="82"/>
                      <a:pt x="2112" y="99"/>
                      <a:pt x="2130" y="97"/>
                    </a:cubicBezTo>
                    <a:cubicBezTo>
                      <a:pt x="2142" y="94"/>
                      <a:pt x="2126" y="96"/>
                      <a:pt x="2133" y="93"/>
                    </a:cubicBezTo>
                    <a:cubicBezTo>
                      <a:pt x="2140" y="94"/>
                      <a:pt x="2144" y="96"/>
                      <a:pt x="2155" y="94"/>
                    </a:cubicBezTo>
                    <a:cubicBezTo>
                      <a:pt x="2158" y="95"/>
                      <a:pt x="2164" y="97"/>
                      <a:pt x="2165" y="100"/>
                    </a:cubicBezTo>
                    <a:cubicBezTo>
                      <a:pt x="2172" y="98"/>
                      <a:pt x="2186" y="100"/>
                      <a:pt x="2190" y="97"/>
                    </a:cubicBezTo>
                    <a:cubicBezTo>
                      <a:pt x="2178" y="94"/>
                      <a:pt x="2178" y="101"/>
                      <a:pt x="2164" y="97"/>
                    </a:cubicBezTo>
                    <a:lnTo>
                      <a:pt x="2168" y="94"/>
                    </a:lnTo>
                    <a:cubicBezTo>
                      <a:pt x="2178" y="93"/>
                      <a:pt x="2190" y="91"/>
                      <a:pt x="2196" y="92"/>
                    </a:cubicBezTo>
                    <a:cubicBezTo>
                      <a:pt x="2195" y="91"/>
                      <a:pt x="2194" y="90"/>
                      <a:pt x="2195" y="89"/>
                    </a:cubicBezTo>
                    <a:cubicBezTo>
                      <a:pt x="2208" y="87"/>
                      <a:pt x="2212" y="84"/>
                      <a:pt x="2225" y="84"/>
                    </a:cubicBezTo>
                    <a:cubicBezTo>
                      <a:pt x="2227" y="87"/>
                      <a:pt x="2219" y="87"/>
                      <a:pt x="2214" y="87"/>
                    </a:cubicBezTo>
                    <a:cubicBezTo>
                      <a:pt x="2223" y="89"/>
                      <a:pt x="2223" y="87"/>
                      <a:pt x="2236" y="87"/>
                    </a:cubicBezTo>
                    <a:cubicBezTo>
                      <a:pt x="2237" y="90"/>
                      <a:pt x="2227" y="88"/>
                      <a:pt x="2226" y="90"/>
                    </a:cubicBezTo>
                    <a:lnTo>
                      <a:pt x="2240" y="89"/>
                    </a:lnTo>
                    <a:cubicBezTo>
                      <a:pt x="2240" y="89"/>
                      <a:pt x="2240" y="89"/>
                      <a:pt x="2240" y="89"/>
                    </a:cubicBezTo>
                    <a:cubicBezTo>
                      <a:pt x="2242" y="84"/>
                      <a:pt x="2251" y="89"/>
                      <a:pt x="2260" y="87"/>
                    </a:cubicBezTo>
                    <a:cubicBezTo>
                      <a:pt x="2281" y="86"/>
                      <a:pt x="2284" y="79"/>
                      <a:pt x="2296" y="75"/>
                    </a:cubicBezTo>
                    <a:cubicBezTo>
                      <a:pt x="2299" y="76"/>
                      <a:pt x="2300" y="77"/>
                      <a:pt x="2299" y="78"/>
                    </a:cubicBezTo>
                    <a:cubicBezTo>
                      <a:pt x="2293" y="76"/>
                      <a:pt x="2294" y="78"/>
                      <a:pt x="2293" y="79"/>
                    </a:cubicBezTo>
                    <a:cubicBezTo>
                      <a:pt x="2300" y="78"/>
                      <a:pt x="2308" y="83"/>
                      <a:pt x="2305" y="85"/>
                    </a:cubicBezTo>
                    <a:cubicBezTo>
                      <a:pt x="2316" y="83"/>
                      <a:pt x="2300" y="83"/>
                      <a:pt x="2307" y="81"/>
                    </a:cubicBezTo>
                    <a:lnTo>
                      <a:pt x="2323" y="80"/>
                    </a:lnTo>
                    <a:cubicBezTo>
                      <a:pt x="2321" y="78"/>
                      <a:pt x="2315" y="78"/>
                      <a:pt x="2323" y="75"/>
                    </a:cubicBezTo>
                    <a:cubicBezTo>
                      <a:pt x="2330" y="74"/>
                      <a:pt x="2333" y="75"/>
                      <a:pt x="2342" y="74"/>
                    </a:cubicBezTo>
                    <a:cubicBezTo>
                      <a:pt x="2341" y="75"/>
                      <a:pt x="2345" y="78"/>
                      <a:pt x="2338" y="78"/>
                    </a:cubicBezTo>
                    <a:cubicBezTo>
                      <a:pt x="2343" y="78"/>
                      <a:pt x="2349" y="78"/>
                      <a:pt x="2352" y="76"/>
                    </a:cubicBezTo>
                    <a:cubicBezTo>
                      <a:pt x="2342" y="74"/>
                      <a:pt x="2367" y="73"/>
                      <a:pt x="2360" y="69"/>
                    </a:cubicBezTo>
                    <a:lnTo>
                      <a:pt x="2370" y="71"/>
                    </a:lnTo>
                    <a:cubicBezTo>
                      <a:pt x="2368" y="71"/>
                      <a:pt x="2367" y="73"/>
                      <a:pt x="2364" y="72"/>
                    </a:cubicBezTo>
                    <a:cubicBezTo>
                      <a:pt x="2367" y="76"/>
                      <a:pt x="2372" y="71"/>
                      <a:pt x="2375" y="70"/>
                    </a:cubicBezTo>
                    <a:cubicBezTo>
                      <a:pt x="2379" y="71"/>
                      <a:pt x="2388" y="70"/>
                      <a:pt x="2388" y="72"/>
                    </a:cubicBezTo>
                    <a:cubicBezTo>
                      <a:pt x="2391" y="71"/>
                      <a:pt x="2399" y="71"/>
                      <a:pt x="2400" y="73"/>
                    </a:cubicBezTo>
                    <a:cubicBezTo>
                      <a:pt x="2405" y="72"/>
                      <a:pt x="2401" y="70"/>
                      <a:pt x="2402" y="69"/>
                    </a:cubicBezTo>
                    <a:lnTo>
                      <a:pt x="2417" y="68"/>
                    </a:lnTo>
                    <a:cubicBezTo>
                      <a:pt x="2418" y="70"/>
                      <a:pt x="2420" y="76"/>
                      <a:pt x="2418" y="76"/>
                    </a:cubicBezTo>
                    <a:cubicBezTo>
                      <a:pt x="2423" y="74"/>
                      <a:pt x="2419" y="71"/>
                      <a:pt x="2428" y="70"/>
                    </a:cubicBezTo>
                    <a:cubicBezTo>
                      <a:pt x="2423" y="74"/>
                      <a:pt x="2440" y="72"/>
                      <a:pt x="2433" y="77"/>
                    </a:cubicBezTo>
                    <a:cubicBezTo>
                      <a:pt x="2438" y="80"/>
                      <a:pt x="2453" y="79"/>
                      <a:pt x="2461" y="77"/>
                    </a:cubicBezTo>
                    <a:cubicBezTo>
                      <a:pt x="2465" y="74"/>
                      <a:pt x="2452" y="76"/>
                      <a:pt x="2452" y="73"/>
                    </a:cubicBezTo>
                    <a:cubicBezTo>
                      <a:pt x="2475" y="70"/>
                      <a:pt x="2475" y="62"/>
                      <a:pt x="2492" y="62"/>
                    </a:cubicBezTo>
                    <a:lnTo>
                      <a:pt x="2487" y="61"/>
                    </a:lnTo>
                    <a:cubicBezTo>
                      <a:pt x="2498" y="59"/>
                      <a:pt x="2496" y="59"/>
                      <a:pt x="2502" y="56"/>
                    </a:cubicBezTo>
                    <a:cubicBezTo>
                      <a:pt x="2500" y="60"/>
                      <a:pt x="2515" y="66"/>
                      <a:pt x="2531" y="64"/>
                    </a:cubicBezTo>
                    <a:cubicBezTo>
                      <a:pt x="2533" y="62"/>
                      <a:pt x="2522" y="61"/>
                      <a:pt x="2524" y="58"/>
                    </a:cubicBezTo>
                    <a:lnTo>
                      <a:pt x="2535" y="56"/>
                    </a:lnTo>
                    <a:cubicBezTo>
                      <a:pt x="2536" y="56"/>
                      <a:pt x="2535" y="57"/>
                      <a:pt x="2534" y="58"/>
                    </a:cubicBezTo>
                    <a:cubicBezTo>
                      <a:pt x="2543" y="56"/>
                      <a:pt x="2553" y="61"/>
                      <a:pt x="2555" y="57"/>
                    </a:cubicBezTo>
                    <a:lnTo>
                      <a:pt x="2566" y="62"/>
                    </a:lnTo>
                    <a:lnTo>
                      <a:pt x="2561" y="59"/>
                    </a:lnTo>
                    <a:cubicBezTo>
                      <a:pt x="2563" y="57"/>
                      <a:pt x="2574" y="56"/>
                      <a:pt x="2576" y="55"/>
                    </a:cubicBezTo>
                    <a:cubicBezTo>
                      <a:pt x="2587" y="52"/>
                      <a:pt x="2592" y="54"/>
                      <a:pt x="2598" y="56"/>
                    </a:cubicBezTo>
                    <a:cubicBezTo>
                      <a:pt x="2596" y="54"/>
                      <a:pt x="2591" y="51"/>
                      <a:pt x="2600" y="50"/>
                    </a:cubicBezTo>
                    <a:cubicBezTo>
                      <a:pt x="2600" y="56"/>
                      <a:pt x="2619" y="51"/>
                      <a:pt x="2619" y="54"/>
                    </a:cubicBezTo>
                    <a:cubicBezTo>
                      <a:pt x="2622" y="53"/>
                      <a:pt x="2629" y="55"/>
                      <a:pt x="2629" y="52"/>
                    </a:cubicBezTo>
                    <a:lnTo>
                      <a:pt x="2629" y="56"/>
                    </a:lnTo>
                    <a:cubicBezTo>
                      <a:pt x="2629" y="51"/>
                      <a:pt x="2643" y="50"/>
                      <a:pt x="2653" y="48"/>
                    </a:cubicBezTo>
                    <a:cubicBezTo>
                      <a:pt x="2651" y="56"/>
                      <a:pt x="2664" y="47"/>
                      <a:pt x="2669" y="53"/>
                    </a:cubicBezTo>
                    <a:cubicBezTo>
                      <a:pt x="2670" y="48"/>
                      <a:pt x="2687" y="50"/>
                      <a:pt x="2688" y="46"/>
                    </a:cubicBezTo>
                    <a:cubicBezTo>
                      <a:pt x="2696" y="45"/>
                      <a:pt x="2696" y="49"/>
                      <a:pt x="2698" y="51"/>
                    </a:cubicBezTo>
                    <a:lnTo>
                      <a:pt x="2701" y="49"/>
                    </a:lnTo>
                    <a:cubicBezTo>
                      <a:pt x="2705" y="51"/>
                      <a:pt x="2720" y="50"/>
                      <a:pt x="2729" y="51"/>
                    </a:cubicBezTo>
                    <a:lnTo>
                      <a:pt x="2737" y="46"/>
                    </a:lnTo>
                    <a:lnTo>
                      <a:pt x="2740" y="48"/>
                    </a:lnTo>
                    <a:cubicBezTo>
                      <a:pt x="2741" y="47"/>
                      <a:pt x="2748" y="45"/>
                      <a:pt x="2743" y="44"/>
                    </a:cubicBezTo>
                    <a:lnTo>
                      <a:pt x="2748" y="44"/>
                    </a:lnTo>
                    <a:cubicBezTo>
                      <a:pt x="2748" y="39"/>
                      <a:pt x="2754" y="42"/>
                      <a:pt x="2762" y="40"/>
                    </a:cubicBezTo>
                    <a:cubicBezTo>
                      <a:pt x="2765" y="40"/>
                      <a:pt x="2764" y="41"/>
                      <a:pt x="2762" y="42"/>
                    </a:cubicBezTo>
                    <a:cubicBezTo>
                      <a:pt x="2767" y="42"/>
                      <a:pt x="2765" y="44"/>
                      <a:pt x="2767" y="46"/>
                    </a:cubicBezTo>
                    <a:cubicBezTo>
                      <a:pt x="2764" y="45"/>
                      <a:pt x="2783" y="36"/>
                      <a:pt x="2771" y="35"/>
                    </a:cubicBezTo>
                    <a:cubicBezTo>
                      <a:pt x="2770" y="33"/>
                      <a:pt x="2776" y="31"/>
                      <a:pt x="2781" y="31"/>
                    </a:cubicBezTo>
                    <a:lnTo>
                      <a:pt x="2784" y="36"/>
                    </a:lnTo>
                    <a:lnTo>
                      <a:pt x="2789" y="31"/>
                    </a:lnTo>
                    <a:cubicBezTo>
                      <a:pt x="2795" y="29"/>
                      <a:pt x="2798" y="32"/>
                      <a:pt x="2804" y="32"/>
                    </a:cubicBezTo>
                    <a:cubicBezTo>
                      <a:pt x="2798" y="33"/>
                      <a:pt x="2792" y="41"/>
                      <a:pt x="2806" y="40"/>
                    </a:cubicBezTo>
                    <a:cubicBezTo>
                      <a:pt x="2799" y="41"/>
                      <a:pt x="2795" y="44"/>
                      <a:pt x="2792" y="45"/>
                    </a:cubicBezTo>
                    <a:cubicBezTo>
                      <a:pt x="2795" y="45"/>
                      <a:pt x="2796" y="45"/>
                      <a:pt x="2792" y="48"/>
                    </a:cubicBezTo>
                    <a:cubicBezTo>
                      <a:pt x="2803" y="45"/>
                      <a:pt x="2795" y="45"/>
                      <a:pt x="2806" y="43"/>
                    </a:cubicBezTo>
                    <a:cubicBezTo>
                      <a:pt x="2806" y="47"/>
                      <a:pt x="2809" y="48"/>
                      <a:pt x="2819" y="49"/>
                    </a:cubicBezTo>
                    <a:lnTo>
                      <a:pt x="2811" y="46"/>
                    </a:lnTo>
                    <a:cubicBezTo>
                      <a:pt x="2812" y="46"/>
                      <a:pt x="2812" y="46"/>
                      <a:pt x="2813" y="45"/>
                    </a:cubicBezTo>
                    <a:cubicBezTo>
                      <a:pt x="2810" y="45"/>
                      <a:pt x="2809" y="45"/>
                      <a:pt x="2808" y="43"/>
                    </a:cubicBezTo>
                    <a:cubicBezTo>
                      <a:pt x="2811" y="43"/>
                      <a:pt x="2821" y="37"/>
                      <a:pt x="2823" y="39"/>
                    </a:cubicBezTo>
                    <a:cubicBezTo>
                      <a:pt x="2811" y="34"/>
                      <a:pt x="2842" y="33"/>
                      <a:pt x="2835" y="30"/>
                    </a:cubicBezTo>
                    <a:cubicBezTo>
                      <a:pt x="2836" y="29"/>
                      <a:pt x="2844" y="28"/>
                      <a:pt x="2845" y="30"/>
                    </a:cubicBezTo>
                    <a:cubicBezTo>
                      <a:pt x="2836" y="34"/>
                      <a:pt x="2852" y="34"/>
                      <a:pt x="2851" y="37"/>
                    </a:cubicBezTo>
                    <a:cubicBezTo>
                      <a:pt x="2854" y="35"/>
                      <a:pt x="2843" y="34"/>
                      <a:pt x="2848" y="33"/>
                    </a:cubicBezTo>
                    <a:cubicBezTo>
                      <a:pt x="2853" y="32"/>
                      <a:pt x="2858" y="34"/>
                      <a:pt x="2861" y="35"/>
                    </a:cubicBezTo>
                    <a:lnTo>
                      <a:pt x="2859" y="36"/>
                    </a:lnTo>
                    <a:lnTo>
                      <a:pt x="2867" y="37"/>
                    </a:lnTo>
                    <a:cubicBezTo>
                      <a:pt x="2869" y="35"/>
                      <a:pt x="2859" y="34"/>
                      <a:pt x="2867" y="33"/>
                    </a:cubicBezTo>
                    <a:cubicBezTo>
                      <a:pt x="2869" y="33"/>
                      <a:pt x="2877" y="32"/>
                      <a:pt x="2876" y="33"/>
                    </a:cubicBezTo>
                    <a:cubicBezTo>
                      <a:pt x="2873" y="36"/>
                      <a:pt x="2876" y="39"/>
                      <a:pt x="2869" y="41"/>
                    </a:cubicBezTo>
                    <a:cubicBezTo>
                      <a:pt x="2875" y="40"/>
                      <a:pt x="2893" y="38"/>
                      <a:pt x="2885" y="35"/>
                    </a:cubicBezTo>
                    <a:lnTo>
                      <a:pt x="2892" y="35"/>
                    </a:lnTo>
                    <a:cubicBezTo>
                      <a:pt x="2887" y="33"/>
                      <a:pt x="2875" y="31"/>
                      <a:pt x="2889" y="30"/>
                    </a:cubicBezTo>
                    <a:lnTo>
                      <a:pt x="2889" y="31"/>
                    </a:lnTo>
                    <a:lnTo>
                      <a:pt x="2898" y="27"/>
                    </a:lnTo>
                    <a:lnTo>
                      <a:pt x="2902" y="29"/>
                    </a:lnTo>
                    <a:cubicBezTo>
                      <a:pt x="2902" y="28"/>
                      <a:pt x="2903" y="27"/>
                      <a:pt x="2907" y="26"/>
                    </a:cubicBezTo>
                    <a:cubicBezTo>
                      <a:pt x="2908" y="27"/>
                      <a:pt x="2911" y="28"/>
                      <a:pt x="2911" y="29"/>
                    </a:cubicBezTo>
                    <a:cubicBezTo>
                      <a:pt x="2921" y="28"/>
                      <a:pt x="2920" y="26"/>
                      <a:pt x="2921" y="25"/>
                    </a:cubicBezTo>
                    <a:cubicBezTo>
                      <a:pt x="2927" y="24"/>
                      <a:pt x="2929" y="25"/>
                      <a:pt x="2926" y="27"/>
                    </a:cubicBezTo>
                    <a:cubicBezTo>
                      <a:pt x="2934" y="27"/>
                      <a:pt x="2947" y="26"/>
                      <a:pt x="2953" y="27"/>
                    </a:cubicBezTo>
                    <a:cubicBezTo>
                      <a:pt x="2963" y="25"/>
                      <a:pt x="2951" y="27"/>
                      <a:pt x="2956" y="24"/>
                    </a:cubicBezTo>
                    <a:cubicBezTo>
                      <a:pt x="2966" y="30"/>
                      <a:pt x="2991" y="24"/>
                      <a:pt x="3007" y="21"/>
                    </a:cubicBezTo>
                    <a:cubicBezTo>
                      <a:pt x="3002" y="16"/>
                      <a:pt x="3012" y="20"/>
                      <a:pt x="3014" y="15"/>
                    </a:cubicBezTo>
                    <a:cubicBezTo>
                      <a:pt x="3011" y="17"/>
                      <a:pt x="3031" y="18"/>
                      <a:pt x="3016" y="21"/>
                    </a:cubicBezTo>
                    <a:lnTo>
                      <a:pt x="3025" y="19"/>
                    </a:lnTo>
                    <a:cubicBezTo>
                      <a:pt x="3031" y="22"/>
                      <a:pt x="3010" y="23"/>
                      <a:pt x="3020" y="27"/>
                    </a:cubicBezTo>
                    <a:cubicBezTo>
                      <a:pt x="3030" y="26"/>
                      <a:pt x="3036" y="19"/>
                      <a:pt x="3048" y="20"/>
                    </a:cubicBezTo>
                    <a:cubicBezTo>
                      <a:pt x="3044" y="24"/>
                      <a:pt x="3057" y="18"/>
                      <a:pt x="3054" y="23"/>
                    </a:cubicBezTo>
                    <a:cubicBezTo>
                      <a:pt x="3052" y="24"/>
                      <a:pt x="3049" y="24"/>
                      <a:pt x="3045" y="25"/>
                    </a:cubicBezTo>
                    <a:lnTo>
                      <a:pt x="3048" y="25"/>
                    </a:lnTo>
                    <a:cubicBezTo>
                      <a:pt x="3070" y="25"/>
                      <a:pt x="3054" y="20"/>
                      <a:pt x="3065" y="16"/>
                    </a:cubicBezTo>
                    <a:cubicBezTo>
                      <a:pt x="3078" y="14"/>
                      <a:pt x="3076" y="18"/>
                      <a:pt x="3077" y="20"/>
                    </a:cubicBezTo>
                    <a:cubicBezTo>
                      <a:pt x="3079" y="21"/>
                      <a:pt x="3085" y="20"/>
                      <a:pt x="3089" y="18"/>
                    </a:cubicBezTo>
                    <a:cubicBezTo>
                      <a:pt x="3081" y="22"/>
                      <a:pt x="3074" y="17"/>
                      <a:pt x="3077" y="14"/>
                    </a:cubicBezTo>
                    <a:cubicBezTo>
                      <a:pt x="3083" y="18"/>
                      <a:pt x="3097" y="13"/>
                      <a:pt x="3100" y="11"/>
                    </a:cubicBezTo>
                    <a:cubicBezTo>
                      <a:pt x="3081" y="7"/>
                      <a:pt x="3087" y="11"/>
                      <a:pt x="3069" y="8"/>
                    </a:cubicBezTo>
                    <a:cubicBezTo>
                      <a:pt x="3066" y="9"/>
                      <a:pt x="3067" y="14"/>
                      <a:pt x="3056" y="13"/>
                    </a:cubicBezTo>
                    <a:cubicBezTo>
                      <a:pt x="3063" y="10"/>
                      <a:pt x="3056" y="10"/>
                      <a:pt x="3054" y="10"/>
                    </a:cubicBezTo>
                    <a:cubicBezTo>
                      <a:pt x="3056" y="12"/>
                      <a:pt x="3046" y="11"/>
                      <a:pt x="3043" y="13"/>
                    </a:cubicBezTo>
                    <a:cubicBezTo>
                      <a:pt x="3040" y="11"/>
                      <a:pt x="3049" y="7"/>
                      <a:pt x="3038" y="6"/>
                    </a:cubicBezTo>
                    <a:lnTo>
                      <a:pt x="3036" y="12"/>
                    </a:lnTo>
                    <a:cubicBezTo>
                      <a:pt x="3032" y="12"/>
                      <a:pt x="3038" y="8"/>
                      <a:pt x="3029" y="10"/>
                    </a:cubicBezTo>
                    <a:cubicBezTo>
                      <a:pt x="3034" y="7"/>
                      <a:pt x="3027" y="6"/>
                      <a:pt x="3039" y="4"/>
                    </a:cubicBezTo>
                    <a:cubicBezTo>
                      <a:pt x="3024" y="0"/>
                      <a:pt x="3017" y="8"/>
                      <a:pt x="3006" y="11"/>
                    </a:cubicBezTo>
                    <a:cubicBezTo>
                      <a:pt x="3007" y="11"/>
                      <a:pt x="3007" y="10"/>
                      <a:pt x="3008" y="10"/>
                    </a:cubicBezTo>
                    <a:cubicBezTo>
                      <a:pt x="3006" y="11"/>
                      <a:pt x="3001" y="12"/>
                      <a:pt x="2998" y="12"/>
                    </a:cubicBezTo>
                    <a:cubicBezTo>
                      <a:pt x="2990" y="11"/>
                      <a:pt x="3004" y="9"/>
                      <a:pt x="3002" y="8"/>
                    </a:cubicBezTo>
                    <a:lnTo>
                      <a:pt x="2989" y="9"/>
                    </a:lnTo>
                    <a:cubicBezTo>
                      <a:pt x="2989" y="9"/>
                      <a:pt x="2989" y="9"/>
                      <a:pt x="2989" y="8"/>
                    </a:cubicBezTo>
                    <a:cubicBezTo>
                      <a:pt x="2986" y="9"/>
                      <a:pt x="2983" y="10"/>
                      <a:pt x="2982" y="9"/>
                    </a:cubicBezTo>
                    <a:cubicBezTo>
                      <a:pt x="2985" y="7"/>
                      <a:pt x="2987" y="5"/>
                      <a:pt x="2989" y="3"/>
                    </a:cubicBezTo>
                    <a:lnTo>
                      <a:pt x="2976" y="8"/>
                    </a:lnTo>
                    <a:cubicBezTo>
                      <a:pt x="2978" y="6"/>
                      <a:pt x="2966" y="6"/>
                      <a:pt x="2974" y="3"/>
                    </a:cubicBezTo>
                    <a:lnTo>
                      <a:pt x="2956" y="6"/>
                    </a:lnTo>
                    <a:lnTo>
                      <a:pt x="2954" y="2"/>
                    </a:lnTo>
                    <a:cubicBezTo>
                      <a:pt x="2949" y="3"/>
                      <a:pt x="2949" y="4"/>
                      <a:pt x="2955" y="4"/>
                    </a:cubicBezTo>
                    <a:cubicBezTo>
                      <a:pt x="2948" y="4"/>
                      <a:pt x="2926" y="13"/>
                      <a:pt x="2929" y="5"/>
                    </a:cubicBezTo>
                    <a:cubicBezTo>
                      <a:pt x="2915" y="10"/>
                      <a:pt x="2909" y="9"/>
                      <a:pt x="2891" y="12"/>
                    </a:cubicBezTo>
                    <a:cubicBezTo>
                      <a:pt x="2905" y="7"/>
                      <a:pt x="2875" y="9"/>
                      <a:pt x="2890" y="6"/>
                    </a:cubicBezTo>
                    <a:cubicBezTo>
                      <a:pt x="2881" y="5"/>
                      <a:pt x="2879" y="9"/>
                      <a:pt x="2873" y="10"/>
                    </a:cubicBezTo>
                    <a:cubicBezTo>
                      <a:pt x="2866" y="9"/>
                      <a:pt x="2869" y="5"/>
                      <a:pt x="2876" y="3"/>
                    </a:cubicBezTo>
                    <a:lnTo>
                      <a:pt x="2868" y="6"/>
                    </a:lnTo>
                    <a:lnTo>
                      <a:pt x="2868" y="5"/>
                    </a:lnTo>
                    <a:lnTo>
                      <a:pt x="2861" y="8"/>
                    </a:lnTo>
                    <a:cubicBezTo>
                      <a:pt x="2853" y="6"/>
                      <a:pt x="2859" y="4"/>
                      <a:pt x="2851" y="4"/>
                    </a:cubicBezTo>
                    <a:lnTo>
                      <a:pt x="2850" y="8"/>
                    </a:lnTo>
                    <a:lnTo>
                      <a:pt x="2844" y="6"/>
                    </a:lnTo>
                    <a:cubicBezTo>
                      <a:pt x="2847" y="7"/>
                      <a:pt x="2842" y="8"/>
                      <a:pt x="2837" y="9"/>
                    </a:cubicBezTo>
                    <a:lnTo>
                      <a:pt x="2837" y="8"/>
                    </a:lnTo>
                    <a:lnTo>
                      <a:pt x="2830" y="10"/>
                    </a:lnTo>
                    <a:cubicBezTo>
                      <a:pt x="2836" y="7"/>
                      <a:pt x="2824" y="9"/>
                      <a:pt x="2827" y="7"/>
                    </a:cubicBezTo>
                    <a:cubicBezTo>
                      <a:pt x="2821" y="7"/>
                      <a:pt x="2821" y="7"/>
                      <a:pt x="2810" y="8"/>
                    </a:cubicBezTo>
                    <a:lnTo>
                      <a:pt x="2812" y="11"/>
                    </a:lnTo>
                    <a:cubicBezTo>
                      <a:pt x="2799" y="14"/>
                      <a:pt x="2811" y="7"/>
                      <a:pt x="2800" y="8"/>
                    </a:cubicBezTo>
                    <a:lnTo>
                      <a:pt x="2801" y="10"/>
                    </a:lnTo>
                    <a:cubicBezTo>
                      <a:pt x="2785" y="7"/>
                      <a:pt x="2774" y="15"/>
                      <a:pt x="2762" y="13"/>
                    </a:cubicBezTo>
                    <a:cubicBezTo>
                      <a:pt x="2769" y="12"/>
                      <a:pt x="2767" y="9"/>
                      <a:pt x="2767" y="10"/>
                    </a:cubicBezTo>
                    <a:cubicBezTo>
                      <a:pt x="2757" y="11"/>
                      <a:pt x="2741" y="12"/>
                      <a:pt x="2730" y="16"/>
                    </a:cubicBezTo>
                    <a:cubicBezTo>
                      <a:pt x="2726" y="12"/>
                      <a:pt x="2725" y="11"/>
                      <a:pt x="2714" y="10"/>
                    </a:cubicBezTo>
                    <a:cubicBezTo>
                      <a:pt x="2707" y="11"/>
                      <a:pt x="2705" y="12"/>
                      <a:pt x="2703" y="14"/>
                    </a:cubicBezTo>
                    <a:cubicBezTo>
                      <a:pt x="2695" y="13"/>
                      <a:pt x="2681" y="16"/>
                      <a:pt x="2681" y="14"/>
                    </a:cubicBezTo>
                    <a:cubicBezTo>
                      <a:pt x="2679" y="16"/>
                      <a:pt x="2674" y="14"/>
                      <a:pt x="2670" y="16"/>
                    </a:cubicBezTo>
                    <a:lnTo>
                      <a:pt x="2669" y="15"/>
                    </a:lnTo>
                    <a:lnTo>
                      <a:pt x="2670" y="17"/>
                    </a:lnTo>
                    <a:cubicBezTo>
                      <a:pt x="2656" y="12"/>
                      <a:pt x="2647" y="23"/>
                      <a:pt x="2633" y="18"/>
                    </a:cubicBezTo>
                    <a:lnTo>
                      <a:pt x="2636" y="17"/>
                    </a:lnTo>
                    <a:lnTo>
                      <a:pt x="2630" y="19"/>
                    </a:lnTo>
                    <a:cubicBezTo>
                      <a:pt x="2629" y="18"/>
                      <a:pt x="2631" y="17"/>
                      <a:pt x="2631" y="15"/>
                    </a:cubicBezTo>
                    <a:lnTo>
                      <a:pt x="2605" y="17"/>
                    </a:lnTo>
                    <a:lnTo>
                      <a:pt x="2610" y="18"/>
                    </a:lnTo>
                    <a:cubicBezTo>
                      <a:pt x="2605" y="19"/>
                      <a:pt x="2601" y="22"/>
                      <a:pt x="2595" y="21"/>
                    </a:cubicBezTo>
                    <a:cubicBezTo>
                      <a:pt x="2605" y="16"/>
                      <a:pt x="2586" y="21"/>
                      <a:pt x="2584" y="18"/>
                    </a:cubicBezTo>
                    <a:lnTo>
                      <a:pt x="2589" y="17"/>
                    </a:lnTo>
                    <a:cubicBezTo>
                      <a:pt x="2582" y="18"/>
                      <a:pt x="2582" y="18"/>
                      <a:pt x="2582" y="20"/>
                    </a:cubicBezTo>
                    <a:cubicBezTo>
                      <a:pt x="2572" y="22"/>
                      <a:pt x="2575" y="16"/>
                      <a:pt x="2566" y="19"/>
                    </a:cubicBezTo>
                    <a:lnTo>
                      <a:pt x="2573" y="19"/>
                    </a:lnTo>
                    <a:cubicBezTo>
                      <a:pt x="2575" y="20"/>
                      <a:pt x="2570" y="23"/>
                      <a:pt x="2566" y="23"/>
                    </a:cubicBezTo>
                    <a:cubicBezTo>
                      <a:pt x="2565" y="23"/>
                      <a:pt x="2561" y="22"/>
                      <a:pt x="2565" y="21"/>
                    </a:cubicBezTo>
                    <a:cubicBezTo>
                      <a:pt x="2557" y="23"/>
                      <a:pt x="2545" y="22"/>
                      <a:pt x="2542" y="24"/>
                    </a:cubicBezTo>
                    <a:cubicBezTo>
                      <a:pt x="2537" y="23"/>
                      <a:pt x="2538" y="21"/>
                      <a:pt x="2541" y="20"/>
                    </a:cubicBezTo>
                    <a:cubicBezTo>
                      <a:pt x="2524" y="24"/>
                      <a:pt x="2533" y="20"/>
                      <a:pt x="2516" y="24"/>
                    </a:cubicBezTo>
                    <a:lnTo>
                      <a:pt x="2516" y="22"/>
                    </a:lnTo>
                    <a:lnTo>
                      <a:pt x="2511" y="24"/>
                    </a:lnTo>
                    <a:lnTo>
                      <a:pt x="2502" y="22"/>
                    </a:lnTo>
                    <a:lnTo>
                      <a:pt x="2505" y="23"/>
                    </a:lnTo>
                    <a:cubicBezTo>
                      <a:pt x="2500" y="24"/>
                      <a:pt x="2496" y="25"/>
                      <a:pt x="2490" y="25"/>
                    </a:cubicBezTo>
                    <a:lnTo>
                      <a:pt x="2492" y="23"/>
                    </a:lnTo>
                    <a:cubicBezTo>
                      <a:pt x="2476" y="25"/>
                      <a:pt x="2474" y="20"/>
                      <a:pt x="2459" y="24"/>
                    </a:cubicBezTo>
                    <a:cubicBezTo>
                      <a:pt x="2458" y="24"/>
                      <a:pt x="2460" y="23"/>
                      <a:pt x="2461" y="23"/>
                    </a:cubicBezTo>
                    <a:cubicBezTo>
                      <a:pt x="2448" y="27"/>
                      <a:pt x="2451" y="19"/>
                      <a:pt x="2437" y="25"/>
                    </a:cubicBezTo>
                    <a:cubicBezTo>
                      <a:pt x="2438" y="24"/>
                      <a:pt x="2436" y="23"/>
                      <a:pt x="2437" y="22"/>
                    </a:cubicBezTo>
                    <a:lnTo>
                      <a:pt x="2430" y="24"/>
                    </a:lnTo>
                    <a:lnTo>
                      <a:pt x="2431" y="21"/>
                    </a:lnTo>
                    <a:lnTo>
                      <a:pt x="2426" y="26"/>
                    </a:lnTo>
                    <a:lnTo>
                      <a:pt x="2422" y="23"/>
                    </a:lnTo>
                    <a:lnTo>
                      <a:pt x="2419" y="25"/>
                    </a:lnTo>
                    <a:cubicBezTo>
                      <a:pt x="2412" y="19"/>
                      <a:pt x="2403" y="24"/>
                      <a:pt x="2393" y="20"/>
                    </a:cubicBezTo>
                    <a:lnTo>
                      <a:pt x="2395" y="24"/>
                    </a:lnTo>
                    <a:cubicBezTo>
                      <a:pt x="2372" y="34"/>
                      <a:pt x="2341" y="23"/>
                      <a:pt x="2313" y="29"/>
                    </a:cubicBezTo>
                    <a:lnTo>
                      <a:pt x="2313" y="26"/>
                    </a:lnTo>
                    <a:lnTo>
                      <a:pt x="2302" y="30"/>
                    </a:lnTo>
                    <a:cubicBezTo>
                      <a:pt x="2296" y="28"/>
                      <a:pt x="2306" y="27"/>
                      <a:pt x="2304" y="26"/>
                    </a:cubicBezTo>
                    <a:cubicBezTo>
                      <a:pt x="2291" y="28"/>
                      <a:pt x="2299" y="31"/>
                      <a:pt x="2284" y="33"/>
                    </a:cubicBezTo>
                    <a:cubicBezTo>
                      <a:pt x="2277" y="31"/>
                      <a:pt x="2287" y="30"/>
                      <a:pt x="2290" y="29"/>
                    </a:cubicBezTo>
                    <a:cubicBezTo>
                      <a:pt x="2277" y="31"/>
                      <a:pt x="2257" y="34"/>
                      <a:pt x="2247" y="33"/>
                    </a:cubicBezTo>
                    <a:cubicBezTo>
                      <a:pt x="2247" y="34"/>
                      <a:pt x="2246" y="34"/>
                      <a:pt x="2247" y="34"/>
                    </a:cubicBezTo>
                    <a:cubicBezTo>
                      <a:pt x="2238" y="36"/>
                      <a:pt x="2226" y="36"/>
                      <a:pt x="2216" y="36"/>
                    </a:cubicBezTo>
                    <a:cubicBezTo>
                      <a:pt x="2216" y="35"/>
                      <a:pt x="2218" y="35"/>
                      <a:pt x="2221" y="34"/>
                    </a:cubicBezTo>
                    <a:cubicBezTo>
                      <a:pt x="2217" y="34"/>
                      <a:pt x="2212" y="33"/>
                      <a:pt x="2209" y="35"/>
                    </a:cubicBezTo>
                    <a:lnTo>
                      <a:pt x="2213" y="32"/>
                    </a:lnTo>
                    <a:cubicBezTo>
                      <a:pt x="2205" y="32"/>
                      <a:pt x="2190" y="36"/>
                      <a:pt x="2188" y="33"/>
                    </a:cubicBezTo>
                    <a:cubicBezTo>
                      <a:pt x="2189" y="34"/>
                      <a:pt x="2189" y="36"/>
                      <a:pt x="2183" y="36"/>
                    </a:cubicBezTo>
                    <a:cubicBezTo>
                      <a:pt x="2179" y="32"/>
                      <a:pt x="2165" y="39"/>
                      <a:pt x="2154" y="37"/>
                    </a:cubicBezTo>
                    <a:cubicBezTo>
                      <a:pt x="2155" y="36"/>
                      <a:pt x="2163" y="36"/>
                      <a:pt x="2161" y="36"/>
                    </a:cubicBezTo>
                    <a:cubicBezTo>
                      <a:pt x="2155" y="35"/>
                      <a:pt x="2151" y="37"/>
                      <a:pt x="2146" y="39"/>
                    </a:cubicBezTo>
                    <a:lnTo>
                      <a:pt x="2147" y="37"/>
                    </a:lnTo>
                    <a:lnTo>
                      <a:pt x="2123" y="41"/>
                    </a:lnTo>
                    <a:cubicBezTo>
                      <a:pt x="2119" y="36"/>
                      <a:pt x="2099" y="43"/>
                      <a:pt x="2101" y="39"/>
                    </a:cubicBezTo>
                    <a:cubicBezTo>
                      <a:pt x="2092" y="40"/>
                      <a:pt x="2108" y="41"/>
                      <a:pt x="2097" y="42"/>
                    </a:cubicBezTo>
                    <a:cubicBezTo>
                      <a:pt x="2094" y="40"/>
                      <a:pt x="2087" y="44"/>
                      <a:pt x="2088" y="41"/>
                    </a:cubicBezTo>
                    <a:lnTo>
                      <a:pt x="2089" y="40"/>
                    </a:lnTo>
                    <a:lnTo>
                      <a:pt x="2081" y="41"/>
                    </a:lnTo>
                    <a:lnTo>
                      <a:pt x="2086" y="38"/>
                    </a:lnTo>
                    <a:cubicBezTo>
                      <a:pt x="2079" y="39"/>
                      <a:pt x="2074" y="42"/>
                      <a:pt x="2074" y="44"/>
                    </a:cubicBezTo>
                    <a:cubicBezTo>
                      <a:pt x="2068" y="43"/>
                      <a:pt x="2059" y="45"/>
                      <a:pt x="2056" y="42"/>
                    </a:cubicBezTo>
                    <a:lnTo>
                      <a:pt x="2058" y="41"/>
                    </a:lnTo>
                    <a:cubicBezTo>
                      <a:pt x="2040" y="43"/>
                      <a:pt x="2028" y="34"/>
                      <a:pt x="2014" y="40"/>
                    </a:cubicBezTo>
                    <a:cubicBezTo>
                      <a:pt x="2013" y="40"/>
                      <a:pt x="2013" y="39"/>
                      <a:pt x="2015" y="39"/>
                    </a:cubicBezTo>
                    <a:lnTo>
                      <a:pt x="2004" y="39"/>
                    </a:lnTo>
                    <a:lnTo>
                      <a:pt x="2007" y="37"/>
                    </a:lnTo>
                    <a:lnTo>
                      <a:pt x="1989" y="41"/>
                    </a:lnTo>
                    <a:lnTo>
                      <a:pt x="1989" y="39"/>
                    </a:lnTo>
                    <a:cubicBezTo>
                      <a:pt x="1977" y="39"/>
                      <a:pt x="1958" y="41"/>
                      <a:pt x="1942" y="42"/>
                    </a:cubicBezTo>
                    <a:lnTo>
                      <a:pt x="1945" y="41"/>
                    </a:lnTo>
                    <a:cubicBezTo>
                      <a:pt x="1928" y="44"/>
                      <a:pt x="1928" y="40"/>
                      <a:pt x="1916" y="42"/>
                    </a:cubicBezTo>
                    <a:cubicBezTo>
                      <a:pt x="1916" y="42"/>
                      <a:pt x="1917" y="42"/>
                      <a:pt x="1917" y="41"/>
                    </a:cubicBezTo>
                    <a:lnTo>
                      <a:pt x="1906" y="42"/>
                    </a:lnTo>
                    <a:lnTo>
                      <a:pt x="1908" y="40"/>
                    </a:lnTo>
                    <a:cubicBezTo>
                      <a:pt x="1900" y="44"/>
                      <a:pt x="1884" y="37"/>
                      <a:pt x="1890" y="39"/>
                    </a:cubicBezTo>
                    <a:cubicBezTo>
                      <a:pt x="1885" y="41"/>
                      <a:pt x="1877" y="43"/>
                      <a:pt x="1876" y="45"/>
                    </a:cubicBezTo>
                    <a:cubicBezTo>
                      <a:pt x="1863" y="46"/>
                      <a:pt x="1873" y="43"/>
                      <a:pt x="1865" y="42"/>
                    </a:cubicBezTo>
                    <a:cubicBezTo>
                      <a:pt x="1856" y="42"/>
                      <a:pt x="1855" y="45"/>
                      <a:pt x="1843" y="44"/>
                    </a:cubicBezTo>
                    <a:lnTo>
                      <a:pt x="1843" y="42"/>
                    </a:lnTo>
                    <a:cubicBezTo>
                      <a:pt x="1837" y="43"/>
                      <a:pt x="1834" y="44"/>
                      <a:pt x="1826" y="44"/>
                    </a:cubicBezTo>
                    <a:lnTo>
                      <a:pt x="1828" y="43"/>
                    </a:lnTo>
                    <a:cubicBezTo>
                      <a:pt x="1816" y="47"/>
                      <a:pt x="1813" y="39"/>
                      <a:pt x="1803" y="46"/>
                    </a:cubicBezTo>
                    <a:cubicBezTo>
                      <a:pt x="1797" y="45"/>
                      <a:pt x="1787" y="46"/>
                      <a:pt x="1788" y="43"/>
                    </a:cubicBezTo>
                    <a:cubicBezTo>
                      <a:pt x="1772" y="45"/>
                      <a:pt x="1760" y="47"/>
                      <a:pt x="1744" y="48"/>
                    </a:cubicBezTo>
                    <a:cubicBezTo>
                      <a:pt x="1741" y="43"/>
                      <a:pt x="1741" y="49"/>
                      <a:pt x="1731" y="46"/>
                    </a:cubicBezTo>
                    <a:lnTo>
                      <a:pt x="1732" y="48"/>
                    </a:lnTo>
                    <a:cubicBezTo>
                      <a:pt x="1709" y="49"/>
                      <a:pt x="1684" y="43"/>
                      <a:pt x="1659" y="44"/>
                    </a:cubicBezTo>
                    <a:lnTo>
                      <a:pt x="1659" y="41"/>
                    </a:lnTo>
                    <a:lnTo>
                      <a:pt x="1654" y="44"/>
                    </a:lnTo>
                    <a:cubicBezTo>
                      <a:pt x="1627" y="43"/>
                      <a:pt x="1593" y="43"/>
                      <a:pt x="1572" y="43"/>
                    </a:cubicBezTo>
                    <a:cubicBezTo>
                      <a:pt x="1565" y="44"/>
                      <a:pt x="1555" y="47"/>
                      <a:pt x="1544" y="46"/>
                    </a:cubicBezTo>
                    <a:lnTo>
                      <a:pt x="1545" y="46"/>
                    </a:lnTo>
                    <a:cubicBezTo>
                      <a:pt x="1526" y="48"/>
                      <a:pt x="1506" y="49"/>
                      <a:pt x="1485" y="47"/>
                    </a:cubicBezTo>
                    <a:cubicBezTo>
                      <a:pt x="1486" y="46"/>
                      <a:pt x="1484" y="45"/>
                      <a:pt x="1487" y="45"/>
                    </a:cubicBezTo>
                    <a:cubicBezTo>
                      <a:pt x="1482" y="48"/>
                      <a:pt x="1474" y="45"/>
                      <a:pt x="1470" y="45"/>
                    </a:cubicBezTo>
                    <a:lnTo>
                      <a:pt x="1475" y="47"/>
                    </a:lnTo>
                    <a:cubicBezTo>
                      <a:pt x="1469" y="49"/>
                      <a:pt x="1461" y="47"/>
                      <a:pt x="1458" y="45"/>
                    </a:cubicBezTo>
                    <a:lnTo>
                      <a:pt x="1448" y="48"/>
                    </a:lnTo>
                    <a:cubicBezTo>
                      <a:pt x="1448" y="47"/>
                      <a:pt x="1447" y="47"/>
                      <a:pt x="1447" y="46"/>
                    </a:cubicBezTo>
                    <a:lnTo>
                      <a:pt x="1445" y="48"/>
                    </a:lnTo>
                    <a:lnTo>
                      <a:pt x="1440" y="44"/>
                    </a:lnTo>
                    <a:cubicBezTo>
                      <a:pt x="1438" y="45"/>
                      <a:pt x="1425" y="46"/>
                      <a:pt x="1421" y="49"/>
                    </a:cubicBezTo>
                    <a:cubicBezTo>
                      <a:pt x="1421" y="48"/>
                      <a:pt x="1412" y="47"/>
                      <a:pt x="1419" y="46"/>
                    </a:cubicBezTo>
                    <a:lnTo>
                      <a:pt x="1384" y="45"/>
                    </a:lnTo>
                    <a:lnTo>
                      <a:pt x="1390" y="46"/>
                    </a:lnTo>
                    <a:cubicBezTo>
                      <a:pt x="1390" y="49"/>
                      <a:pt x="1380" y="51"/>
                      <a:pt x="1375" y="50"/>
                    </a:cubicBezTo>
                    <a:cubicBezTo>
                      <a:pt x="1382" y="47"/>
                      <a:pt x="1375" y="46"/>
                      <a:pt x="1372" y="44"/>
                    </a:cubicBezTo>
                    <a:cubicBezTo>
                      <a:pt x="1368" y="45"/>
                      <a:pt x="1376" y="46"/>
                      <a:pt x="1374" y="48"/>
                    </a:cubicBezTo>
                    <a:cubicBezTo>
                      <a:pt x="1368" y="49"/>
                      <a:pt x="1356" y="50"/>
                      <a:pt x="1353" y="49"/>
                    </a:cubicBezTo>
                    <a:lnTo>
                      <a:pt x="1356" y="48"/>
                    </a:lnTo>
                    <a:cubicBezTo>
                      <a:pt x="1348" y="49"/>
                      <a:pt x="1345" y="44"/>
                      <a:pt x="1337" y="44"/>
                    </a:cubicBezTo>
                    <a:cubicBezTo>
                      <a:pt x="1330" y="46"/>
                      <a:pt x="1325" y="44"/>
                      <a:pt x="1326" y="49"/>
                    </a:cubicBezTo>
                    <a:cubicBezTo>
                      <a:pt x="1316" y="50"/>
                      <a:pt x="1322" y="46"/>
                      <a:pt x="1319" y="45"/>
                    </a:cubicBezTo>
                    <a:cubicBezTo>
                      <a:pt x="1314" y="47"/>
                      <a:pt x="1300" y="46"/>
                      <a:pt x="1298" y="43"/>
                    </a:cubicBezTo>
                    <a:cubicBezTo>
                      <a:pt x="1292" y="50"/>
                      <a:pt x="1271" y="41"/>
                      <a:pt x="1269" y="46"/>
                    </a:cubicBezTo>
                    <a:lnTo>
                      <a:pt x="1260" y="43"/>
                    </a:lnTo>
                    <a:cubicBezTo>
                      <a:pt x="1260" y="44"/>
                      <a:pt x="1258" y="48"/>
                      <a:pt x="1252" y="48"/>
                    </a:cubicBezTo>
                    <a:cubicBezTo>
                      <a:pt x="1245" y="47"/>
                      <a:pt x="1247" y="44"/>
                      <a:pt x="1245" y="42"/>
                    </a:cubicBezTo>
                    <a:lnTo>
                      <a:pt x="1241" y="48"/>
                    </a:lnTo>
                    <a:cubicBezTo>
                      <a:pt x="1204" y="41"/>
                      <a:pt x="1156" y="45"/>
                      <a:pt x="1115" y="39"/>
                    </a:cubicBezTo>
                    <a:cubicBezTo>
                      <a:pt x="1097" y="40"/>
                      <a:pt x="1075" y="42"/>
                      <a:pt x="1054" y="41"/>
                    </a:cubicBezTo>
                    <a:lnTo>
                      <a:pt x="1056" y="40"/>
                    </a:lnTo>
                    <a:lnTo>
                      <a:pt x="1035" y="38"/>
                    </a:lnTo>
                    <a:lnTo>
                      <a:pt x="1050" y="41"/>
                    </a:lnTo>
                    <a:cubicBezTo>
                      <a:pt x="1046" y="41"/>
                      <a:pt x="1042" y="42"/>
                      <a:pt x="1038" y="42"/>
                    </a:cubicBezTo>
                    <a:cubicBezTo>
                      <a:pt x="1015" y="39"/>
                      <a:pt x="985" y="36"/>
                      <a:pt x="956" y="38"/>
                    </a:cubicBezTo>
                    <a:cubicBezTo>
                      <a:pt x="938" y="44"/>
                      <a:pt x="944" y="32"/>
                      <a:pt x="927" y="36"/>
                    </a:cubicBezTo>
                    <a:cubicBezTo>
                      <a:pt x="928" y="36"/>
                      <a:pt x="929" y="35"/>
                      <a:pt x="930" y="34"/>
                    </a:cubicBezTo>
                    <a:cubicBezTo>
                      <a:pt x="911" y="36"/>
                      <a:pt x="901" y="37"/>
                      <a:pt x="882" y="40"/>
                    </a:cubicBezTo>
                    <a:cubicBezTo>
                      <a:pt x="885" y="34"/>
                      <a:pt x="870" y="40"/>
                      <a:pt x="872" y="37"/>
                    </a:cubicBezTo>
                    <a:lnTo>
                      <a:pt x="870" y="39"/>
                    </a:lnTo>
                    <a:cubicBezTo>
                      <a:pt x="866" y="38"/>
                      <a:pt x="856" y="37"/>
                      <a:pt x="858" y="35"/>
                    </a:cubicBezTo>
                    <a:lnTo>
                      <a:pt x="849" y="38"/>
                    </a:lnTo>
                    <a:lnTo>
                      <a:pt x="848" y="35"/>
                    </a:lnTo>
                    <a:cubicBezTo>
                      <a:pt x="837" y="35"/>
                      <a:pt x="814" y="36"/>
                      <a:pt x="808" y="31"/>
                    </a:cubicBezTo>
                    <a:cubicBezTo>
                      <a:pt x="781" y="34"/>
                      <a:pt x="737" y="32"/>
                      <a:pt x="703" y="31"/>
                    </a:cubicBezTo>
                    <a:cubicBezTo>
                      <a:pt x="698" y="33"/>
                      <a:pt x="688" y="33"/>
                      <a:pt x="680" y="33"/>
                    </a:cubicBezTo>
                    <a:lnTo>
                      <a:pt x="672" y="30"/>
                    </a:lnTo>
                    <a:cubicBezTo>
                      <a:pt x="664" y="31"/>
                      <a:pt x="656" y="35"/>
                      <a:pt x="648" y="33"/>
                    </a:cubicBezTo>
                    <a:cubicBezTo>
                      <a:pt x="648" y="32"/>
                      <a:pt x="649" y="32"/>
                      <a:pt x="649" y="32"/>
                    </a:cubicBezTo>
                    <a:cubicBezTo>
                      <a:pt x="641" y="32"/>
                      <a:pt x="633" y="30"/>
                      <a:pt x="626" y="33"/>
                    </a:cubicBezTo>
                    <a:cubicBezTo>
                      <a:pt x="617" y="33"/>
                      <a:pt x="608" y="31"/>
                      <a:pt x="611" y="28"/>
                    </a:cubicBezTo>
                    <a:cubicBezTo>
                      <a:pt x="610" y="34"/>
                      <a:pt x="592" y="27"/>
                      <a:pt x="592" y="27"/>
                    </a:cubicBezTo>
                    <a:cubicBezTo>
                      <a:pt x="592" y="27"/>
                      <a:pt x="138" y="8"/>
                      <a:pt x="26" y="36"/>
                    </a:cubicBezTo>
                    <a:cubicBezTo>
                      <a:pt x="23" y="38"/>
                      <a:pt x="12" y="40"/>
                      <a:pt x="16" y="43"/>
                    </a:cubicBezTo>
                    <a:cubicBezTo>
                      <a:pt x="8" y="44"/>
                      <a:pt x="5" y="39"/>
                      <a:pt x="3" y="42"/>
                    </a:cubicBezTo>
                    <a:cubicBezTo>
                      <a:pt x="14" y="44"/>
                      <a:pt x="0" y="49"/>
                      <a:pt x="10" y="52"/>
                    </a:cubicBezTo>
                    <a:lnTo>
                      <a:pt x="3" y="53"/>
                    </a:lnTo>
                    <a:cubicBezTo>
                      <a:pt x="2" y="55"/>
                      <a:pt x="13" y="51"/>
                      <a:pt x="11" y="54"/>
                    </a:cubicBezTo>
                    <a:lnTo>
                      <a:pt x="13" y="49"/>
                    </a:lnTo>
                    <a:cubicBezTo>
                      <a:pt x="18" y="50"/>
                      <a:pt x="21" y="51"/>
                      <a:pt x="23" y="53"/>
                    </a:cubicBezTo>
                    <a:cubicBezTo>
                      <a:pt x="28" y="51"/>
                      <a:pt x="32" y="44"/>
                      <a:pt x="44" y="47"/>
                    </a:cubicBezTo>
                    <a:lnTo>
                      <a:pt x="41" y="47"/>
                    </a:lnTo>
                    <a:cubicBezTo>
                      <a:pt x="51" y="47"/>
                      <a:pt x="47" y="51"/>
                      <a:pt x="49" y="52"/>
                    </a:cubicBezTo>
                    <a:lnTo>
                      <a:pt x="47" y="52"/>
                    </a:lnTo>
                    <a:lnTo>
                      <a:pt x="55" y="54"/>
                    </a:lnTo>
                    <a:cubicBezTo>
                      <a:pt x="49" y="52"/>
                      <a:pt x="38" y="56"/>
                      <a:pt x="44" y="56"/>
                    </a:cubicBezTo>
                    <a:cubicBezTo>
                      <a:pt x="56" y="58"/>
                      <a:pt x="41" y="55"/>
                      <a:pt x="50" y="54"/>
                    </a:cubicBezTo>
                    <a:cubicBezTo>
                      <a:pt x="55" y="54"/>
                      <a:pt x="54" y="57"/>
                      <a:pt x="53" y="58"/>
                    </a:cubicBezTo>
                    <a:lnTo>
                      <a:pt x="63" y="58"/>
                    </a:lnTo>
                    <a:cubicBezTo>
                      <a:pt x="63" y="61"/>
                      <a:pt x="57" y="58"/>
                      <a:pt x="61" y="61"/>
                    </a:cubicBezTo>
                    <a:lnTo>
                      <a:pt x="73" y="58"/>
                    </a:lnTo>
                    <a:cubicBezTo>
                      <a:pt x="76" y="64"/>
                      <a:pt x="87" y="56"/>
                      <a:pt x="93" y="61"/>
                    </a:cubicBezTo>
                    <a:cubicBezTo>
                      <a:pt x="84" y="63"/>
                      <a:pt x="94" y="63"/>
                      <a:pt x="92" y="65"/>
                    </a:cubicBezTo>
                    <a:lnTo>
                      <a:pt x="115" y="65"/>
                    </a:lnTo>
                    <a:cubicBezTo>
                      <a:pt x="117" y="66"/>
                      <a:pt x="109" y="67"/>
                      <a:pt x="112" y="67"/>
                    </a:cubicBezTo>
                    <a:cubicBezTo>
                      <a:pt x="116" y="68"/>
                      <a:pt x="119" y="65"/>
                      <a:pt x="121" y="65"/>
                    </a:cubicBezTo>
                    <a:cubicBezTo>
                      <a:pt x="123" y="67"/>
                      <a:pt x="138" y="65"/>
                      <a:pt x="137" y="69"/>
                    </a:cubicBezTo>
                    <a:cubicBezTo>
                      <a:pt x="152" y="72"/>
                      <a:pt x="144" y="65"/>
                      <a:pt x="158" y="67"/>
                    </a:cubicBezTo>
                    <a:cubicBezTo>
                      <a:pt x="159" y="69"/>
                      <a:pt x="146" y="67"/>
                      <a:pt x="153" y="70"/>
                    </a:cubicBezTo>
                    <a:lnTo>
                      <a:pt x="167" y="69"/>
                    </a:lnTo>
                    <a:cubicBezTo>
                      <a:pt x="166" y="70"/>
                      <a:pt x="164" y="73"/>
                      <a:pt x="159" y="72"/>
                    </a:cubicBezTo>
                    <a:cubicBezTo>
                      <a:pt x="198" y="76"/>
                      <a:pt x="220" y="89"/>
                      <a:pt x="256" y="86"/>
                    </a:cubicBezTo>
                    <a:cubicBezTo>
                      <a:pt x="261" y="89"/>
                      <a:pt x="252" y="88"/>
                      <a:pt x="248" y="90"/>
                    </a:cubicBezTo>
                    <a:cubicBezTo>
                      <a:pt x="274" y="86"/>
                      <a:pt x="285" y="97"/>
                      <a:pt x="307" y="96"/>
                    </a:cubicBezTo>
                    <a:lnTo>
                      <a:pt x="308" y="94"/>
                    </a:lnTo>
                    <a:cubicBezTo>
                      <a:pt x="339" y="102"/>
                      <a:pt x="376" y="98"/>
                      <a:pt x="411" y="102"/>
                    </a:cubicBezTo>
                    <a:lnTo>
                      <a:pt x="407" y="100"/>
                    </a:lnTo>
                    <a:cubicBezTo>
                      <a:pt x="412" y="98"/>
                      <a:pt x="419" y="98"/>
                      <a:pt x="425" y="97"/>
                    </a:cubicBezTo>
                    <a:cubicBezTo>
                      <a:pt x="426" y="98"/>
                      <a:pt x="421" y="101"/>
                      <a:pt x="431" y="101"/>
                    </a:cubicBezTo>
                    <a:cubicBezTo>
                      <a:pt x="429" y="100"/>
                      <a:pt x="425" y="99"/>
                      <a:pt x="426" y="98"/>
                    </a:cubicBezTo>
                    <a:cubicBezTo>
                      <a:pt x="456" y="104"/>
                      <a:pt x="520" y="104"/>
                      <a:pt x="569" y="107"/>
                    </a:cubicBezTo>
                    <a:cubicBezTo>
                      <a:pt x="636" y="106"/>
                      <a:pt x="709" y="112"/>
                      <a:pt x="774" y="111"/>
                    </a:cubicBezTo>
                    <a:cubicBezTo>
                      <a:pt x="764" y="111"/>
                      <a:pt x="769" y="106"/>
                      <a:pt x="776" y="107"/>
                    </a:cubicBezTo>
                    <a:cubicBezTo>
                      <a:pt x="797" y="117"/>
                      <a:pt x="812" y="106"/>
                      <a:pt x="833" y="113"/>
                    </a:cubicBezTo>
                    <a:cubicBezTo>
                      <a:pt x="871" y="111"/>
                      <a:pt x="905" y="120"/>
                      <a:pt x="941" y="114"/>
                    </a:cubicBezTo>
                    <a:lnTo>
                      <a:pt x="942" y="117"/>
                    </a:lnTo>
                    <a:cubicBezTo>
                      <a:pt x="947" y="118"/>
                      <a:pt x="948" y="116"/>
                      <a:pt x="954" y="116"/>
                    </a:cubicBezTo>
                    <a:lnTo>
                      <a:pt x="954" y="117"/>
                    </a:lnTo>
                    <a:cubicBezTo>
                      <a:pt x="967" y="118"/>
                      <a:pt x="983" y="116"/>
                      <a:pt x="991" y="117"/>
                    </a:cubicBezTo>
                    <a:lnTo>
                      <a:pt x="991" y="114"/>
                    </a:lnTo>
                    <a:cubicBezTo>
                      <a:pt x="999" y="114"/>
                      <a:pt x="995" y="117"/>
                      <a:pt x="1003" y="115"/>
                    </a:cubicBezTo>
                    <a:lnTo>
                      <a:pt x="1003" y="117"/>
                    </a:lnTo>
                    <a:lnTo>
                      <a:pt x="1012" y="114"/>
                    </a:lnTo>
                    <a:cubicBezTo>
                      <a:pt x="1011" y="119"/>
                      <a:pt x="1035" y="115"/>
                      <a:pt x="1041" y="117"/>
                    </a:cubicBezTo>
                    <a:cubicBezTo>
                      <a:pt x="1051" y="117"/>
                      <a:pt x="1070" y="115"/>
                      <a:pt x="1086" y="116"/>
                    </a:cubicBezTo>
                    <a:cubicBezTo>
                      <a:pt x="1089" y="119"/>
                      <a:pt x="1107" y="119"/>
                      <a:pt x="1119" y="121"/>
                    </a:cubicBezTo>
                    <a:cubicBezTo>
                      <a:pt x="1143" y="121"/>
                      <a:pt x="1176" y="120"/>
                      <a:pt x="1206" y="122"/>
                    </a:cubicBezTo>
                    <a:lnTo>
                      <a:pt x="1206" y="118"/>
                    </a:lnTo>
                    <a:lnTo>
                      <a:pt x="1214" y="118"/>
                    </a:lnTo>
                    <a:cubicBezTo>
                      <a:pt x="1214" y="119"/>
                      <a:pt x="1215" y="119"/>
                      <a:pt x="1213" y="120"/>
                    </a:cubicBezTo>
                    <a:cubicBezTo>
                      <a:pt x="1219" y="124"/>
                      <a:pt x="1231" y="119"/>
                      <a:pt x="1238" y="121"/>
                    </a:cubicBezTo>
                    <a:cubicBezTo>
                      <a:pt x="1234" y="118"/>
                      <a:pt x="1232" y="121"/>
                      <a:pt x="1228" y="121"/>
                    </a:cubicBezTo>
                    <a:cubicBezTo>
                      <a:pt x="1221" y="119"/>
                      <a:pt x="1228" y="116"/>
                      <a:pt x="1236" y="117"/>
                    </a:cubicBezTo>
                    <a:lnTo>
                      <a:pt x="1236" y="118"/>
                    </a:lnTo>
                    <a:lnTo>
                      <a:pt x="1242" y="117"/>
                    </a:lnTo>
                    <a:cubicBezTo>
                      <a:pt x="1242" y="119"/>
                      <a:pt x="1248" y="121"/>
                      <a:pt x="1248" y="123"/>
                    </a:cubicBezTo>
                    <a:cubicBezTo>
                      <a:pt x="1274" y="123"/>
                      <a:pt x="1292" y="119"/>
                      <a:pt x="1318" y="120"/>
                    </a:cubicBezTo>
                    <a:cubicBezTo>
                      <a:pt x="1315" y="123"/>
                      <a:pt x="1337" y="120"/>
                      <a:pt x="1332" y="125"/>
                    </a:cubicBezTo>
                    <a:cubicBezTo>
                      <a:pt x="1348" y="123"/>
                      <a:pt x="1329" y="121"/>
                      <a:pt x="1337" y="117"/>
                    </a:cubicBezTo>
                    <a:cubicBezTo>
                      <a:pt x="1341" y="117"/>
                      <a:pt x="1346" y="116"/>
                      <a:pt x="1346" y="118"/>
                    </a:cubicBezTo>
                    <a:cubicBezTo>
                      <a:pt x="1344" y="119"/>
                      <a:pt x="1350" y="121"/>
                      <a:pt x="1346" y="121"/>
                    </a:cubicBezTo>
                    <a:lnTo>
                      <a:pt x="1357" y="121"/>
                    </a:lnTo>
                    <a:cubicBezTo>
                      <a:pt x="1358" y="121"/>
                      <a:pt x="1356" y="122"/>
                      <a:pt x="1355" y="122"/>
                    </a:cubicBezTo>
                    <a:cubicBezTo>
                      <a:pt x="1376" y="120"/>
                      <a:pt x="1393" y="126"/>
                      <a:pt x="1412" y="123"/>
                    </a:cubicBezTo>
                    <a:cubicBezTo>
                      <a:pt x="1414" y="121"/>
                      <a:pt x="1405" y="123"/>
                      <a:pt x="1406" y="121"/>
                    </a:cubicBezTo>
                    <a:cubicBezTo>
                      <a:pt x="1426" y="117"/>
                      <a:pt x="1423" y="124"/>
                      <a:pt x="1442" y="122"/>
                    </a:cubicBezTo>
                    <a:lnTo>
                      <a:pt x="1438" y="124"/>
                    </a:lnTo>
                    <a:cubicBezTo>
                      <a:pt x="1444" y="122"/>
                      <a:pt x="1446" y="120"/>
                      <a:pt x="1456" y="122"/>
                    </a:cubicBezTo>
                    <a:cubicBezTo>
                      <a:pt x="1458" y="126"/>
                      <a:pt x="1448" y="125"/>
                      <a:pt x="1443" y="126"/>
                    </a:cubicBezTo>
                    <a:cubicBezTo>
                      <a:pt x="1450" y="126"/>
                      <a:pt x="1467" y="126"/>
                      <a:pt x="1461" y="123"/>
                    </a:cubicBezTo>
                    <a:cubicBezTo>
                      <a:pt x="1469" y="122"/>
                      <a:pt x="1472" y="125"/>
                      <a:pt x="1477" y="126"/>
                    </a:cubicBezTo>
                    <a:cubicBezTo>
                      <a:pt x="1477" y="125"/>
                      <a:pt x="1469" y="123"/>
                      <a:pt x="1474" y="122"/>
                    </a:cubicBezTo>
                    <a:cubicBezTo>
                      <a:pt x="1485" y="124"/>
                      <a:pt x="1502" y="124"/>
                      <a:pt x="1515" y="124"/>
                    </a:cubicBezTo>
                    <a:cubicBezTo>
                      <a:pt x="1515" y="125"/>
                      <a:pt x="1516" y="126"/>
                      <a:pt x="1514" y="126"/>
                    </a:cubicBezTo>
                    <a:cubicBezTo>
                      <a:pt x="1525" y="122"/>
                      <a:pt x="1524" y="129"/>
                      <a:pt x="1539" y="128"/>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6" name="Freeform 2440"/>
              <p:cNvSpPr>
                <a:spLocks/>
              </p:cNvSpPr>
              <p:nvPr/>
            </p:nvSpPr>
            <p:spPr bwMode="auto">
              <a:xfrm>
                <a:off x="4256088" y="3959226"/>
                <a:ext cx="3175" cy="0"/>
              </a:xfrm>
              <a:custGeom>
                <a:avLst/>
                <a:gdLst>
                  <a:gd name="T0" fmla="*/ 8 w 8"/>
                  <a:gd name="T1" fmla="*/ 1 h 3"/>
                  <a:gd name="T2" fmla="*/ 8 w 8"/>
                  <a:gd name="T3" fmla="*/ 1 h 3"/>
                  <a:gd name="T4" fmla="*/ 2 w 8"/>
                  <a:gd name="T5" fmla="*/ 0 h 3"/>
                  <a:gd name="T6" fmla="*/ 0 w 8"/>
                  <a:gd name="T7" fmla="*/ 3 h 3"/>
                  <a:gd name="T8" fmla="*/ 8 w 8"/>
                  <a:gd name="T9" fmla="*/ 1 h 3"/>
                </a:gdLst>
                <a:ahLst/>
                <a:cxnLst>
                  <a:cxn ang="0">
                    <a:pos x="T0" y="T1"/>
                  </a:cxn>
                  <a:cxn ang="0">
                    <a:pos x="T2" y="T3"/>
                  </a:cxn>
                  <a:cxn ang="0">
                    <a:pos x="T4" y="T5"/>
                  </a:cxn>
                  <a:cxn ang="0">
                    <a:pos x="T6" y="T7"/>
                  </a:cxn>
                  <a:cxn ang="0">
                    <a:pos x="T8" y="T9"/>
                  </a:cxn>
                </a:cxnLst>
                <a:rect l="0" t="0" r="r" b="b"/>
                <a:pathLst>
                  <a:path w="8" h="3">
                    <a:moveTo>
                      <a:pt x="8" y="1"/>
                    </a:moveTo>
                    <a:lnTo>
                      <a:pt x="8" y="1"/>
                    </a:lnTo>
                    <a:lnTo>
                      <a:pt x="2" y="0"/>
                    </a:lnTo>
                    <a:cubicBezTo>
                      <a:pt x="2" y="1"/>
                      <a:pt x="2" y="2"/>
                      <a:pt x="0" y="3"/>
                    </a:cubicBezTo>
                    <a:lnTo>
                      <a:pt x="8" y="1"/>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7" name="Freeform 2441"/>
              <p:cNvSpPr>
                <a:spLocks/>
              </p:cNvSpPr>
              <p:nvPr/>
            </p:nvSpPr>
            <p:spPr bwMode="auto">
              <a:xfrm>
                <a:off x="4178301" y="3962401"/>
                <a:ext cx="1588"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1" y="1"/>
                      <a:pt x="1" y="1"/>
                      <a:pt x="0" y="1"/>
                    </a:cubicBezTo>
                    <a:cubicBezTo>
                      <a:pt x="1" y="1"/>
                      <a:pt x="2" y="1"/>
                      <a:pt x="2"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8" name="Freeform 2442"/>
              <p:cNvSpPr>
                <a:spLocks/>
              </p:cNvSpPr>
              <p:nvPr/>
            </p:nvSpPr>
            <p:spPr bwMode="auto">
              <a:xfrm>
                <a:off x="4159251" y="3963988"/>
                <a:ext cx="3175" cy="1588"/>
              </a:xfrm>
              <a:custGeom>
                <a:avLst/>
                <a:gdLst>
                  <a:gd name="T0" fmla="*/ 1 w 6"/>
                  <a:gd name="T1" fmla="*/ 2 h 2"/>
                  <a:gd name="T2" fmla="*/ 1 w 6"/>
                  <a:gd name="T3" fmla="*/ 2 h 2"/>
                  <a:gd name="T4" fmla="*/ 0 w 6"/>
                  <a:gd name="T5" fmla="*/ 0 h 2"/>
                  <a:gd name="T6" fmla="*/ 1 w 6"/>
                  <a:gd name="T7" fmla="*/ 2 h 2"/>
                </a:gdLst>
                <a:ahLst/>
                <a:cxnLst>
                  <a:cxn ang="0">
                    <a:pos x="T0" y="T1"/>
                  </a:cxn>
                  <a:cxn ang="0">
                    <a:pos x="T2" y="T3"/>
                  </a:cxn>
                  <a:cxn ang="0">
                    <a:pos x="T4" y="T5"/>
                  </a:cxn>
                  <a:cxn ang="0">
                    <a:pos x="T6" y="T7"/>
                  </a:cxn>
                </a:cxnLst>
                <a:rect l="0" t="0" r="r" b="b"/>
                <a:pathLst>
                  <a:path w="6" h="2">
                    <a:moveTo>
                      <a:pt x="1" y="2"/>
                    </a:moveTo>
                    <a:lnTo>
                      <a:pt x="1" y="2"/>
                    </a:lnTo>
                    <a:cubicBezTo>
                      <a:pt x="6" y="1"/>
                      <a:pt x="2" y="1"/>
                      <a:pt x="0" y="0"/>
                    </a:cubicBezTo>
                    <a:cubicBezTo>
                      <a:pt x="0" y="1"/>
                      <a:pt x="0" y="1"/>
                      <a:pt x="1"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9" name="Freeform 2443"/>
              <p:cNvSpPr>
                <a:spLocks/>
              </p:cNvSpPr>
              <p:nvPr/>
            </p:nvSpPr>
            <p:spPr bwMode="auto">
              <a:xfrm>
                <a:off x="4303713" y="3952876"/>
                <a:ext cx="0" cy="1588"/>
              </a:xfrm>
              <a:custGeom>
                <a:avLst/>
                <a:gdLst>
                  <a:gd name="T0" fmla="*/ 1 w 2"/>
                  <a:gd name="T1" fmla="*/ 0 h 1"/>
                  <a:gd name="T2" fmla="*/ 1 w 2"/>
                  <a:gd name="T3" fmla="*/ 0 h 1"/>
                  <a:gd name="T4" fmla="*/ 0 w 2"/>
                  <a:gd name="T5" fmla="*/ 1 h 1"/>
                  <a:gd name="T6" fmla="*/ 1 w 2"/>
                  <a:gd name="T7" fmla="*/ 0 h 1"/>
                </a:gdLst>
                <a:ahLst/>
                <a:cxnLst>
                  <a:cxn ang="0">
                    <a:pos x="T0" y="T1"/>
                  </a:cxn>
                  <a:cxn ang="0">
                    <a:pos x="T2" y="T3"/>
                  </a:cxn>
                  <a:cxn ang="0">
                    <a:pos x="T4" y="T5"/>
                  </a:cxn>
                  <a:cxn ang="0">
                    <a:pos x="T6" y="T7"/>
                  </a:cxn>
                </a:cxnLst>
                <a:rect l="0" t="0" r="r" b="b"/>
                <a:pathLst>
                  <a:path w="2" h="1">
                    <a:moveTo>
                      <a:pt x="1" y="0"/>
                    </a:moveTo>
                    <a:lnTo>
                      <a:pt x="1" y="0"/>
                    </a:lnTo>
                    <a:cubicBezTo>
                      <a:pt x="1" y="0"/>
                      <a:pt x="0" y="1"/>
                      <a:pt x="0" y="1"/>
                    </a:cubicBezTo>
                    <a:cubicBezTo>
                      <a:pt x="1" y="1"/>
                      <a:pt x="2" y="0"/>
                      <a:pt x="1"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0" name="Freeform 2444"/>
              <p:cNvSpPr>
                <a:spLocks/>
              </p:cNvSpPr>
              <p:nvPr/>
            </p:nvSpPr>
            <p:spPr bwMode="auto">
              <a:xfrm>
                <a:off x="4427538" y="3944938"/>
                <a:ext cx="1588"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cubicBezTo>
                      <a:pt x="1" y="0"/>
                      <a:pt x="1" y="0"/>
                      <a:pt x="0" y="0"/>
                    </a:cubicBezTo>
                    <a:cubicBezTo>
                      <a:pt x="0" y="0"/>
                      <a:pt x="1" y="0"/>
                      <a:pt x="2"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1" name="Freeform 2445"/>
              <p:cNvSpPr>
                <a:spLocks/>
              </p:cNvSpPr>
              <p:nvPr/>
            </p:nvSpPr>
            <p:spPr bwMode="auto">
              <a:xfrm>
                <a:off x="4419601" y="3943351"/>
                <a:ext cx="1588" cy="1588"/>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2" y="1"/>
                      <a:pt x="3" y="1"/>
                      <a:pt x="4"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2" name="Freeform 2446"/>
              <p:cNvSpPr>
                <a:spLocks/>
              </p:cNvSpPr>
              <p:nvPr/>
            </p:nvSpPr>
            <p:spPr bwMode="auto">
              <a:xfrm>
                <a:off x="4271963" y="3956051"/>
                <a:ext cx="1588" cy="0"/>
              </a:xfrm>
              <a:custGeom>
                <a:avLst/>
                <a:gdLst>
                  <a:gd name="T0" fmla="*/ 5 w 5"/>
                  <a:gd name="T1" fmla="*/ 0 h 2"/>
                  <a:gd name="T2" fmla="*/ 5 w 5"/>
                  <a:gd name="T3" fmla="*/ 0 h 2"/>
                  <a:gd name="T4" fmla="*/ 0 w 5"/>
                  <a:gd name="T5" fmla="*/ 2 h 2"/>
                  <a:gd name="T6" fmla="*/ 5 w 5"/>
                  <a:gd name="T7" fmla="*/ 0 h 2"/>
                </a:gdLst>
                <a:ahLst/>
                <a:cxnLst>
                  <a:cxn ang="0">
                    <a:pos x="T0" y="T1"/>
                  </a:cxn>
                  <a:cxn ang="0">
                    <a:pos x="T2" y="T3"/>
                  </a:cxn>
                  <a:cxn ang="0">
                    <a:pos x="T4" y="T5"/>
                  </a:cxn>
                  <a:cxn ang="0">
                    <a:pos x="T6" y="T7"/>
                  </a:cxn>
                </a:cxnLst>
                <a:rect l="0" t="0" r="r" b="b"/>
                <a:pathLst>
                  <a:path w="5" h="2">
                    <a:moveTo>
                      <a:pt x="5" y="0"/>
                    </a:moveTo>
                    <a:lnTo>
                      <a:pt x="5" y="0"/>
                    </a:lnTo>
                    <a:cubicBezTo>
                      <a:pt x="3" y="1"/>
                      <a:pt x="2" y="1"/>
                      <a:pt x="0" y="2"/>
                    </a:cubicBezTo>
                    <a:cubicBezTo>
                      <a:pt x="3" y="1"/>
                      <a:pt x="4" y="1"/>
                      <a:pt x="5"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3" name="Freeform 2447"/>
              <p:cNvSpPr>
                <a:spLocks/>
              </p:cNvSpPr>
              <p:nvPr/>
            </p:nvSpPr>
            <p:spPr bwMode="auto">
              <a:xfrm>
                <a:off x="4416426" y="3944938"/>
                <a:ext cx="1588" cy="0"/>
              </a:xfrm>
              <a:custGeom>
                <a:avLst/>
                <a:gdLst>
                  <a:gd name="T0" fmla="*/ 5 w 5"/>
                  <a:gd name="T1" fmla="*/ 0 h 1"/>
                  <a:gd name="T2" fmla="*/ 5 w 5"/>
                  <a:gd name="T3" fmla="*/ 0 h 1"/>
                  <a:gd name="T4" fmla="*/ 0 w 5"/>
                  <a:gd name="T5" fmla="*/ 0 h 1"/>
                  <a:gd name="T6" fmla="*/ 0 w 5"/>
                  <a:gd name="T7" fmla="*/ 1 h 1"/>
                  <a:gd name="T8" fmla="*/ 5 w 5"/>
                  <a:gd name="T9" fmla="*/ 0 h 1"/>
                </a:gdLst>
                <a:ahLst/>
                <a:cxnLst>
                  <a:cxn ang="0">
                    <a:pos x="T0" y="T1"/>
                  </a:cxn>
                  <a:cxn ang="0">
                    <a:pos x="T2" y="T3"/>
                  </a:cxn>
                  <a:cxn ang="0">
                    <a:pos x="T4" y="T5"/>
                  </a:cxn>
                  <a:cxn ang="0">
                    <a:pos x="T6" y="T7"/>
                  </a:cxn>
                  <a:cxn ang="0">
                    <a:pos x="T8" y="T9"/>
                  </a:cxn>
                </a:cxnLst>
                <a:rect l="0" t="0" r="r" b="b"/>
                <a:pathLst>
                  <a:path w="5" h="1">
                    <a:moveTo>
                      <a:pt x="5" y="0"/>
                    </a:moveTo>
                    <a:lnTo>
                      <a:pt x="5" y="0"/>
                    </a:lnTo>
                    <a:lnTo>
                      <a:pt x="0" y="0"/>
                    </a:lnTo>
                    <a:cubicBezTo>
                      <a:pt x="0" y="0"/>
                      <a:pt x="0" y="0"/>
                      <a:pt x="0" y="1"/>
                    </a:cubicBezTo>
                    <a:lnTo>
                      <a:pt x="5"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4" name="Freeform 2448"/>
              <p:cNvSpPr>
                <a:spLocks/>
              </p:cNvSpPr>
              <p:nvPr/>
            </p:nvSpPr>
            <p:spPr bwMode="auto">
              <a:xfrm>
                <a:off x="4429126" y="3944938"/>
                <a:ext cx="1588" cy="0"/>
              </a:xfrm>
              <a:custGeom>
                <a:avLst/>
                <a:gdLst>
                  <a:gd name="T0" fmla="*/ 7 w 7"/>
                  <a:gd name="T1" fmla="*/ 0 h 1"/>
                  <a:gd name="T2" fmla="*/ 7 w 7"/>
                  <a:gd name="T3" fmla="*/ 0 h 1"/>
                  <a:gd name="T4" fmla="*/ 0 w 7"/>
                  <a:gd name="T5" fmla="*/ 0 h 1"/>
                  <a:gd name="T6" fmla="*/ 7 w 7"/>
                  <a:gd name="T7" fmla="*/ 0 h 1"/>
                </a:gdLst>
                <a:ahLst/>
                <a:cxnLst>
                  <a:cxn ang="0">
                    <a:pos x="T0" y="T1"/>
                  </a:cxn>
                  <a:cxn ang="0">
                    <a:pos x="T2" y="T3"/>
                  </a:cxn>
                  <a:cxn ang="0">
                    <a:pos x="T4" y="T5"/>
                  </a:cxn>
                  <a:cxn ang="0">
                    <a:pos x="T6" y="T7"/>
                  </a:cxn>
                </a:cxnLst>
                <a:rect l="0" t="0" r="r" b="b"/>
                <a:pathLst>
                  <a:path w="7" h="1">
                    <a:moveTo>
                      <a:pt x="7" y="0"/>
                    </a:moveTo>
                    <a:lnTo>
                      <a:pt x="7" y="0"/>
                    </a:lnTo>
                    <a:cubicBezTo>
                      <a:pt x="4" y="0"/>
                      <a:pt x="1" y="0"/>
                      <a:pt x="0" y="0"/>
                    </a:cubicBezTo>
                    <a:cubicBezTo>
                      <a:pt x="2" y="1"/>
                      <a:pt x="5" y="1"/>
                      <a:pt x="7"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5" name="Freeform 2449"/>
              <p:cNvSpPr>
                <a:spLocks/>
              </p:cNvSpPr>
              <p:nvPr/>
            </p:nvSpPr>
            <p:spPr bwMode="auto">
              <a:xfrm>
                <a:off x="4348163" y="3949701"/>
                <a:ext cx="1588" cy="0"/>
              </a:xfrm>
              <a:custGeom>
                <a:avLst/>
                <a:gdLst>
                  <a:gd name="T0" fmla="*/ 5 w 5"/>
                  <a:gd name="T1" fmla="*/ 0 h 1"/>
                  <a:gd name="T2" fmla="*/ 5 w 5"/>
                  <a:gd name="T3" fmla="*/ 0 h 1"/>
                  <a:gd name="T4" fmla="*/ 4 w 5"/>
                  <a:gd name="T5" fmla="*/ 0 h 1"/>
                  <a:gd name="T6" fmla="*/ 5 w 5"/>
                  <a:gd name="T7" fmla="*/ 0 h 1"/>
                </a:gdLst>
                <a:ahLst/>
                <a:cxnLst>
                  <a:cxn ang="0">
                    <a:pos x="T0" y="T1"/>
                  </a:cxn>
                  <a:cxn ang="0">
                    <a:pos x="T2" y="T3"/>
                  </a:cxn>
                  <a:cxn ang="0">
                    <a:pos x="T4" y="T5"/>
                  </a:cxn>
                  <a:cxn ang="0">
                    <a:pos x="T6" y="T7"/>
                  </a:cxn>
                </a:cxnLst>
                <a:rect l="0" t="0" r="r" b="b"/>
                <a:pathLst>
                  <a:path w="5" h="1">
                    <a:moveTo>
                      <a:pt x="5" y="0"/>
                    </a:moveTo>
                    <a:lnTo>
                      <a:pt x="5" y="0"/>
                    </a:lnTo>
                    <a:cubicBezTo>
                      <a:pt x="4" y="0"/>
                      <a:pt x="4" y="0"/>
                      <a:pt x="4" y="0"/>
                    </a:cubicBezTo>
                    <a:cubicBezTo>
                      <a:pt x="0" y="1"/>
                      <a:pt x="2" y="1"/>
                      <a:pt x="5"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6" name="Freeform 2450"/>
              <p:cNvSpPr>
                <a:spLocks/>
              </p:cNvSpPr>
              <p:nvPr/>
            </p:nvSpPr>
            <p:spPr bwMode="auto">
              <a:xfrm>
                <a:off x="4410076" y="3946526"/>
                <a:ext cx="1588" cy="0"/>
              </a:xfrm>
              <a:custGeom>
                <a:avLst/>
                <a:gdLst>
                  <a:gd name="T0" fmla="*/ 3 w 3"/>
                  <a:gd name="T1" fmla="*/ 0 h 1"/>
                  <a:gd name="T2" fmla="*/ 3 w 3"/>
                  <a:gd name="T3" fmla="*/ 0 h 1"/>
                  <a:gd name="T4" fmla="*/ 2 w 3"/>
                  <a:gd name="T5" fmla="*/ 0 h 1"/>
                  <a:gd name="T6" fmla="*/ 0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3" y="0"/>
                    </a:lnTo>
                    <a:lnTo>
                      <a:pt x="2" y="0"/>
                    </a:lnTo>
                    <a:lnTo>
                      <a:pt x="0" y="1"/>
                    </a:lnTo>
                    <a:lnTo>
                      <a:pt x="3"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7" name="Freeform 2451"/>
              <p:cNvSpPr>
                <a:spLocks/>
              </p:cNvSpPr>
              <p:nvPr/>
            </p:nvSpPr>
            <p:spPr bwMode="auto">
              <a:xfrm>
                <a:off x="4437063" y="3944938"/>
                <a:ext cx="1588" cy="0"/>
              </a:xfrm>
              <a:custGeom>
                <a:avLst/>
                <a:gdLst>
                  <a:gd name="T0" fmla="*/ 2 w 3"/>
                  <a:gd name="T1" fmla="*/ 0 h 1"/>
                  <a:gd name="T2" fmla="*/ 2 w 3"/>
                  <a:gd name="T3" fmla="*/ 0 h 1"/>
                  <a:gd name="T4" fmla="*/ 0 w 3"/>
                  <a:gd name="T5" fmla="*/ 1 h 1"/>
                  <a:gd name="T6" fmla="*/ 3 w 3"/>
                  <a:gd name="T7" fmla="*/ 1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lnTo>
                      <a:pt x="2" y="0"/>
                    </a:lnTo>
                    <a:cubicBezTo>
                      <a:pt x="1" y="1"/>
                      <a:pt x="0" y="1"/>
                      <a:pt x="0" y="1"/>
                    </a:cubicBezTo>
                    <a:cubicBezTo>
                      <a:pt x="1" y="1"/>
                      <a:pt x="2" y="1"/>
                      <a:pt x="3" y="1"/>
                    </a:cubicBezTo>
                    <a:cubicBezTo>
                      <a:pt x="3" y="1"/>
                      <a:pt x="2" y="1"/>
                      <a:pt x="2"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8" name="Freeform 2452"/>
              <p:cNvSpPr>
                <a:spLocks/>
              </p:cNvSpPr>
              <p:nvPr/>
            </p:nvSpPr>
            <p:spPr bwMode="auto">
              <a:xfrm>
                <a:off x="4375151" y="3948113"/>
                <a:ext cx="1588" cy="0"/>
              </a:xfrm>
              <a:custGeom>
                <a:avLst/>
                <a:gdLst>
                  <a:gd name="T0" fmla="*/ 1 w 3"/>
                  <a:gd name="T1" fmla="*/ 3 h 3"/>
                  <a:gd name="T2" fmla="*/ 1 w 3"/>
                  <a:gd name="T3" fmla="*/ 3 h 3"/>
                  <a:gd name="T4" fmla="*/ 3 w 3"/>
                  <a:gd name="T5" fmla="*/ 0 h 3"/>
                  <a:gd name="T6" fmla="*/ 1 w 3"/>
                  <a:gd name="T7" fmla="*/ 3 h 3"/>
                </a:gdLst>
                <a:ahLst/>
                <a:cxnLst>
                  <a:cxn ang="0">
                    <a:pos x="T0" y="T1"/>
                  </a:cxn>
                  <a:cxn ang="0">
                    <a:pos x="T2" y="T3"/>
                  </a:cxn>
                  <a:cxn ang="0">
                    <a:pos x="T4" y="T5"/>
                  </a:cxn>
                  <a:cxn ang="0">
                    <a:pos x="T6" y="T7"/>
                  </a:cxn>
                </a:cxnLst>
                <a:rect l="0" t="0" r="r" b="b"/>
                <a:pathLst>
                  <a:path w="3" h="3">
                    <a:moveTo>
                      <a:pt x="1" y="3"/>
                    </a:moveTo>
                    <a:lnTo>
                      <a:pt x="1" y="3"/>
                    </a:lnTo>
                    <a:cubicBezTo>
                      <a:pt x="2" y="1"/>
                      <a:pt x="3" y="0"/>
                      <a:pt x="3" y="0"/>
                    </a:cubicBezTo>
                    <a:cubicBezTo>
                      <a:pt x="1" y="0"/>
                      <a:pt x="0" y="1"/>
                      <a:pt x="1" y="3"/>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9" name="Freeform 2453"/>
              <p:cNvSpPr>
                <a:spLocks/>
              </p:cNvSpPr>
              <p:nvPr/>
            </p:nvSpPr>
            <p:spPr bwMode="auto">
              <a:xfrm>
                <a:off x="4519613" y="4445001"/>
                <a:ext cx="0" cy="1588"/>
              </a:xfrm>
              <a:custGeom>
                <a:avLst/>
                <a:gdLst>
                  <a:gd name="T0" fmla="*/ 0 w 1"/>
                  <a:gd name="T1" fmla="*/ 1 h 1"/>
                  <a:gd name="T2" fmla="*/ 0 w 1"/>
                  <a:gd name="T3" fmla="*/ 1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1"/>
                    </a:cubicBezTo>
                    <a:cubicBezTo>
                      <a:pt x="0" y="0"/>
                      <a:pt x="0"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0" name="Freeform 2454"/>
              <p:cNvSpPr>
                <a:spLocks/>
              </p:cNvSpPr>
              <p:nvPr/>
            </p:nvSpPr>
            <p:spPr bwMode="auto">
              <a:xfrm>
                <a:off x="4516438" y="4400551"/>
                <a:ext cx="1588" cy="0"/>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cubicBezTo>
                      <a:pt x="1"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1" name="Freeform 2455"/>
              <p:cNvSpPr>
                <a:spLocks/>
              </p:cNvSpPr>
              <p:nvPr/>
            </p:nvSpPr>
            <p:spPr bwMode="auto">
              <a:xfrm>
                <a:off x="4521201" y="4473576"/>
                <a:ext cx="0" cy="1588"/>
              </a:xfrm>
              <a:custGeom>
                <a:avLst/>
                <a:gdLst>
                  <a:gd name="T0" fmla="*/ 1 w 1"/>
                  <a:gd name="T1" fmla="*/ 0 h 6"/>
                  <a:gd name="T2" fmla="*/ 1 w 1"/>
                  <a:gd name="T3" fmla="*/ 0 h 6"/>
                  <a:gd name="T4" fmla="*/ 0 w 1"/>
                  <a:gd name="T5" fmla="*/ 0 h 6"/>
                  <a:gd name="T6" fmla="*/ 1 w 1"/>
                  <a:gd name="T7" fmla="*/ 6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lnTo>
                      <a:pt x="1" y="0"/>
                    </a:lnTo>
                    <a:cubicBezTo>
                      <a:pt x="1" y="0"/>
                      <a:pt x="1" y="0"/>
                      <a:pt x="0" y="0"/>
                    </a:cubicBezTo>
                    <a:cubicBezTo>
                      <a:pt x="1" y="1"/>
                      <a:pt x="1" y="3"/>
                      <a:pt x="1" y="6"/>
                    </a:cubicBezTo>
                    <a:lnTo>
                      <a:pt x="1"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2" name="Freeform 2456"/>
              <p:cNvSpPr>
                <a:spLocks/>
              </p:cNvSpPr>
              <p:nvPr/>
            </p:nvSpPr>
            <p:spPr bwMode="auto">
              <a:xfrm>
                <a:off x="4513263" y="4302126"/>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3" name="Freeform 2457"/>
              <p:cNvSpPr>
                <a:spLocks/>
              </p:cNvSpPr>
              <p:nvPr/>
            </p:nvSpPr>
            <p:spPr bwMode="auto">
              <a:xfrm>
                <a:off x="4514851" y="4359276"/>
                <a:ext cx="0" cy="1588"/>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0" y="0"/>
                      <a:pt x="0" y="0"/>
                    </a:cubicBezTo>
                    <a:cubicBezTo>
                      <a:pt x="0" y="1"/>
                      <a:pt x="0" y="2"/>
                      <a:pt x="1"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4" name="Freeform 2458"/>
              <p:cNvSpPr>
                <a:spLocks/>
              </p:cNvSpPr>
              <p:nvPr/>
            </p:nvSpPr>
            <p:spPr bwMode="auto">
              <a:xfrm>
                <a:off x="4513263" y="4487863"/>
                <a:ext cx="0" cy="1588"/>
              </a:xfrm>
              <a:custGeom>
                <a:avLst/>
                <a:gdLst>
                  <a:gd name="T0" fmla="*/ 0 w 2"/>
                  <a:gd name="T1" fmla="*/ 3 h 3"/>
                  <a:gd name="T2" fmla="*/ 0 w 2"/>
                  <a:gd name="T3" fmla="*/ 3 h 3"/>
                  <a:gd name="T4" fmla="*/ 2 w 2"/>
                  <a:gd name="T5" fmla="*/ 0 h 3"/>
                  <a:gd name="T6" fmla="*/ 0 w 2"/>
                  <a:gd name="T7" fmla="*/ 3 h 3"/>
                </a:gdLst>
                <a:ahLst/>
                <a:cxnLst>
                  <a:cxn ang="0">
                    <a:pos x="T0" y="T1"/>
                  </a:cxn>
                  <a:cxn ang="0">
                    <a:pos x="T2" y="T3"/>
                  </a:cxn>
                  <a:cxn ang="0">
                    <a:pos x="T4" y="T5"/>
                  </a:cxn>
                  <a:cxn ang="0">
                    <a:pos x="T6" y="T7"/>
                  </a:cxn>
                </a:cxnLst>
                <a:rect l="0" t="0" r="r" b="b"/>
                <a:pathLst>
                  <a:path w="2" h="3">
                    <a:moveTo>
                      <a:pt x="0" y="3"/>
                    </a:moveTo>
                    <a:lnTo>
                      <a:pt x="0" y="3"/>
                    </a:lnTo>
                    <a:lnTo>
                      <a:pt x="2" y="0"/>
                    </a:lnTo>
                    <a:cubicBezTo>
                      <a:pt x="1" y="0"/>
                      <a:pt x="1" y="1"/>
                      <a:pt x="0" y="3"/>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5" name="Freeform 2459"/>
              <p:cNvSpPr>
                <a:spLocks/>
              </p:cNvSpPr>
              <p:nvPr/>
            </p:nvSpPr>
            <p:spPr bwMode="auto">
              <a:xfrm>
                <a:off x="4519613" y="451643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1" y="1"/>
                      <a:pt x="1" y="0"/>
                      <a:pt x="1" y="0"/>
                    </a:cubicBezTo>
                    <a:cubicBezTo>
                      <a:pt x="1" y="0"/>
                      <a:pt x="1"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6" name="Freeform 2460"/>
              <p:cNvSpPr>
                <a:spLocks/>
              </p:cNvSpPr>
              <p:nvPr/>
            </p:nvSpPr>
            <p:spPr bwMode="auto">
              <a:xfrm>
                <a:off x="4521201" y="450532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0" y="0"/>
                      <a:pt x="0" y="0"/>
                    </a:cubicBezTo>
                    <a:cubicBezTo>
                      <a:pt x="0" y="1"/>
                      <a:pt x="0" y="2"/>
                      <a:pt x="1"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7" name="Freeform 2461"/>
              <p:cNvSpPr>
                <a:spLocks/>
              </p:cNvSpPr>
              <p:nvPr/>
            </p:nvSpPr>
            <p:spPr bwMode="auto">
              <a:xfrm>
                <a:off x="4519613" y="4503738"/>
                <a:ext cx="1588" cy="1588"/>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cubicBezTo>
                      <a:pt x="0" y="1"/>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8" name="Freeform 2462"/>
              <p:cNvSpPr>
                <a:spLocks/>
              </p:cNvSpPr>
              <p:nvPr/>
            </p:nvSpPr>
            <p:spPr bwMode="auto">
              <a:xfrm>
                <a:off x="4505326" y="3943351"/>
                <a:ext cx="1588" cy="3175"/>
              </a:xfrm>
              <a:custGeom>
                <a:avLst/>
                <a:gdLst>
                  <a:gd name="T0" fmla="*/ 3 w 3"/>
                  <a:gd name="T1" fmla="*/ 7 h 7"/>
                  <a:gd name="T2" fmla="*/ 3 w 3"/>
                  <a:gd name="T3" fmla="*/ 7 h 7"/>
                  <a:gd name="T4" fmla="*/ 0 w 3"/>
                  <a:gd name="T5" fmla="*/ 0 h 7"/>
                  <a:gd name="T6" fmla="*/ 3 w 3"/>
                  <a:gd name="T7" fmla="*/ 7 h 7"/>
                </a:gdLst>
                <a:ahLst/>
                <a:cxnLst>
                  <a:cxn ang="0">
                    <a:pos x="T0" y="T1"/>
                  </a:cxn>
                  <a:cxn ang="0">
                    <a:pos x="T2" y="T3"/>
                  </a:cxn>
                  <a:cxn ang="0">
                    <a:pos x="T4" y="T5"/>
                  </a:cxn>
                  <a:cxn ang="0">
                    <a:pos x="T6" y="T7"/>
                  </a:cxn>
                </a:cxnLst>
                <a:rect l="0" t="0" r="r" b="b"/>
                <a:pathLst>
                  <a:path w="3" h="7">
                    <a:moveTo>
                      <a:pt x="3" y="7"/>
                    </a:moveTo>
                    <a:lnTo>
                      <a:pt x="3" y="7"/>
                    </a:lnTo>
                    <a:cubicBezTo>
                      <a:pt x="3" y="5"/>
                      <a:pt x="1" y="3"/>
                      <a:pt x="0" y="0"/>
                    </a:cubicBezTo>
                    <a:lnTo>
                      <a:pt x="3" y="7"/>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9" name="Freeform 2463"/>
              <p:cNvSpPr>
                <a:spLocks/>
              </p:cNvSpPr>
              <p:nvPr/>
            </p:nvSpPr>
            <p:spPr bwMode="auto">
              <a:xfrm>
                <a:off x="4508501" y="4213226"/>
                <a:ext cx="1588"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0" y="0"/>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0" name="Freeform 2464"/>
              <p:cNvSpPr>
                <a:spLocks/>
              </p:cNvSpPr>
              <p:nvPr/>
            </p:nvSpPr>
            <p:spPr bwMode="auto">
              <a:xfrm>
                <a:off x="4500563" y="3944938"/>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cubicBezTo>
                      <a:pt x="0" y="1"/>
                      <a:pt x="0" y="1"/>
                      <a:pt x="0"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1" name="Freeform 2465"/>
              <p:cNvSpPr>
                <a:spLocks/>
              </p:cNvSpPr>
              <p:nvPr/>
            </p:nvSpPr>
            <p:spPr bwMode="auto">
              <a:xfrm>
                <a:off x="4508501" y="4471988"/>
                <a:ext cx="1588" cy="3175"/>
              </a:xfrm>
              <a:custGeom>
                <a:avLst/>
                <a:gdLst>
                  <a:gd name="T0" fmla="*/ 3 w 3"/>
                  <a:gd name="T1" fmla="*/ 8 h 8"/>
                  <a:gd name="T2" fmla="*/ 3 w 3"/>
                  <a:gd name="T3" fmla="*/ 8 h 8"/>
                  <a:gd name="T4" fmla="*/ 1 w 3"/>
                  <a:gd name="T5" fmla="*/ 0 h 8"/>
                  <a:gd name="T6" fmla="*/ 3 w 3"/>
                  <a:gd name="T7" fmla="*/ 8 h 8"/>
                </a:gdLst>
                <a:ahLst/>
                <a:cxnLst>
                  <a:cxn ang="0">
                    <a:pos x="T0" y="T1"/>
                  </a:cxn>
                  <a:cxn ang="0">
                    <a:pos x="T2" y="T3"/>
                  </a:cxn>
                  <a:cxn ang="0">
                    <a:pos x="T4" y="T5"/>
                  </a:cxn>
                  <a:cxn ang="0">
                    <a:pos x="T6" y="T7"/>
                  </a:cxn>
                </a:cxnLst>
                <a:rect l="0" t="0" r="r" b="b"/>
                <a:pathLst>
                  <a:path w="3" h="8">
                    <a:moveTo>
                      <a:pt x="3" y="8"/>
                    </a:moveTo>
                    <a:lnTo>
                      <a:pt x="3" y="8"/>
                    </a:lnTo>
                    <a:cubicBezTo>
                      <a:pt x="1" y="5"/>
                      <a:pt x="3" y="0"/>
                      <a:pt x="1" y="0"/>
                    </a:cubicBezTo>
                    <a:cubicBezTo>
                      <a:pt x="1" y="3"/>
                      <a:pt x="0" y="7"/>
                      <a:pt x="3" y="8"/>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2" name="Freeform 2466"/>
              <p:cNvSpPr>
                <a:spLocks/>
              </p:cNvSpPr>
              <p:nvPr/>
            </p:nvSpPr>
            <p:spPr bwMode="auto">
              <a:xfrm>
                <a:off x="4484688" y="4194176"/>
                <a:ext cx="0" cy="1588"/>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cubicBezTo>
                      <a:pt x="0" y="1"/>
                      <a:pt x="0" y="1"/>
                      <a:pt x="0"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3" name="Freeform 2467"/>
              <p:cNvSpPr>
                <a:spLocks/>
              </p:cNvSpPr>
              <p:nvPr/>
            </p:nvSpPr>
            <p:spPr bwMode="auto">
              <a:xfrm>
                <a:off x="4500563" y="3944938"/>
                <a:ext cx="1588" cy="0"/>
              </a:xfrm>
              <a:custGeom>
                <a:avLst/>
                <a:gdLst>
                  <a:gd name="T0" fmla="*/ 0 w 1"/>
                  <a:gd name="T1" fmla="*/ 0 h 2"/>
                  <a:gd name="T2" fmla="*/ 0 w 1"/>
                  <a:gd name="T3" fmla="*/ 0 h 2"/>
                  <a:gd name="T4" fmla="*/ 0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0" y="2"/>
                    </a:lnTo>
                    <a:cubicBezTo>
                      <a:pt x="0" y="2"/>
                      <a:pt x="0" y="2"/>
                      <a:pt x="1" y="1"/>
                    </a:cubicBezTo>
                    <a:cubicBezTo>
                      <a:pt x="0" y="1"/>
                      <a:pt x="0" y="1"/>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4" name="Freeform 2468"/>
              <p:cNvSpPr>
                <a:spLocks/>
              </p:cNvSpPr>
              <p:nvPr/>
            </p:nvSpPr>
            <p:spPr bwMode="auto">
              <a:xfrm>
                <a:off x="4508501" y="4121151"/>
                <a:ext cx="0" cy="0"/>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cubicBezTo>
                      <a:pt x="0" y="0"/>
                      <a:pt x="0" y="0"/>
                      <a:pt x="0" y="1"/>
                    </a:cubicBezTo>
                    <a:lnTo>
                      <a:pt x="0"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5" name="Freeform 2469"/>
              <p:cNvSpPr>
                <a:spLocks/>
              </p:cNvSpPr>
              <p:nvPr/>
            </p:nvSpPr>
            <p:spPr bwMode="auto">
              <a:xfrm>
                <a:off x="4510088" y="4116388"/>
                <a:ext cx="0" cy="1588"/>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0" y="0"/>
                    </a:lnTo>
                    <a:cubicBezTo>
                      <a:pt x="0" y="1"/>
                      <a:pt x="0" y="2"/>
                      <a:pt x="1" y="4"/>
                    </a:cubicBezTo>
                    <a:cubicBezTo>
                      <a:pt x="1" y="2"/>
                      <a:pt x="1" y="1"/>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6" name="Freeform 2470"/>
              <p:cNvSpPr>
                <a:spLocks/>
              </p:cNvSpPr>
              <p:nvPr/>
            </p:nvSpPr>
            <p:spPr bwMode="auto">
              <a:xfrm>
                <a:off x="4505326" y="3941763"/>
                <a:ext cx="0" cy="1588"/>
              </a:xfrm>
              <a:custGeom>
                <a:avLst/>
                <a:gdLst>
                  <a:gd name="T0" fmla="*/ 1 w 1"/>
                  <a:gd name="T1" fmla="*/ 4 h 4"/>
                  <a:gd name="T2" fmla="*/ 1 w 1"/>
                  <a:gd name="T3" fmla="*/ 4 h 4"/>
                  <a:gd name="T4" fmla="*/ 0 w 1"/>
                  <a:gd name="T5" fmla="*/ 0 h 4"/>
                  <a:gd name="T6" fmla="*/ 1 w 1"/>
                  <a:gd name="T7" fmla="*/ 4 h 4"/>
                </a:gdLst>
                <a:ahLst/>
                <a:cxnLst>
                  <a:cxn ang="0">
                    <a:pos x="T0" y="T1"/>
                  </a:cxn>
                  <a:cxn ang="0">
                    <a:pos x="T2" y="T3"/>
                  </a:cxn>
                  <a:cxn ang="0">
                    <a:pos x="T4" y="T5"/>
                  </a:cxn>
                  <a:cxn ang="0">
                    <a:pos x="T6" y="T7"/>
                  </a:cxn>
                </a:cxnLst>
                <a:rect l="0" t="0" r="r" b="b"/>
                <a:pathLst>
                  <a:path w="1" h="4">
                    <a:moveTo>
                      <a:pt x="1" y="4"/>
                    </a:moveTo>
                    <a:lnTo>
                      <a:pt x="1" y="4"/>
                    </a:lnTo>
                    <a:lnTo>
                      <a:pt x="0" y="0"/>
                    </a:lnTo>
                    <a:cubicBezTo>
                      <a:pt x="0" y="2"/>
                      <a:pt x="0" y="3"/>
                      <a:pt x="1" y="4"/>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7" name="Freeform 2471"/>
              <p:cNvSpPr>
                <a:spLocks/>
              </p:cNvSpPr>
              <p:nvPr/>
            </p:nvSpPr>
            <p:spPr bwMode="auto">
              <a:xfrm>
                <a:off x="4510088" y="4064001"/>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0"/>
                      <a:pt x="1" y="1"/>
                      <a:pt x="1" y="1"/>
                    </a:cubicBezTo>
                    <a:cubicBezTo>
                      <a:pt x="1"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8" name="Freeform 2472"/>
              <p:cNvSpPr>
                <a:spLocks/>
              </p:cNvSpPr>
              <p:nvPr/>
            </p:nvSpPr>
            <p:spPr bwMode="auto">
              <a:xfrm>
                <a:off x="4514851" y="4364038"/>
                <a:ext cx="0" cy="0"/>
              </a:xfrm>
              <a:custGeom>
                <a:avLst/>
                <a:gdLst>
                  <a:gd name="T0" fmla="*/ 0 w 1"/>
                  <a:gd name="T1" fmla="*/ 0 h 1"/>
                  <a:gd name="T2" fmla="*/ 0 w 1"/>
                  <a:gd name="T3" fmla="*/ 0 h 1"/>
                  <a:gd name="T4" fmla="*/ 0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0"/>
                      <a:pt x="0" y="1"/>
                      <a:pt x="0" y="1"/>
                    </a:cubicBezTo>
                    <a:cubicBezTo>
                      <a:pt x="0" y="1"/>
                      <a:pt x="1" y="1"/>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9" name="Rectangle 2473"/>
              <p:cNvSpPr>
                <a:spLocks noChangeArrowheads="1"/>
              </p:cNvSpPr>
              <p:nvPr/>
            </p:nvSpPr>
            <p:spPr bwMode="auto">
              <a:xfrm>
                <a:off x="4495801" y="4329113"/>
                <a:ext cx="1588" cy="1588"/>
              </a:xfrm>
              <a:prstGeom prst="rect">
                <a:avLst/>
              </a:prstGeom>
              <a:solidFill>
                <a:srgbClr val="9A9A9A"/>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0" name="Freeform 2474"/>
              <p:cNvSpPr>
                <a:spLocks/>
              </p:cNvSpPr>
              <p:nvPr/>
            </p:nvSpPr>
            <p:spPr bwMode="auto">
              <a:xfrm>
                <a:off x="4495801" y="4329113"/>
                <a:ext cx="0" cy="1588"/>
              </a:xfrm>
              <a:custGeom>
                <a:avLst/>
                <a:gdLst>
                  <a:gd name="T0" fmla="*/ 3 w 3"/>
                  <a:gd name="T1" fmla="*/ 6 h 6"/>
                  <a:gd name="T2" fmla="*/ 3 w 3"/>
                  <a:gd name="T3" fmla="*/ 6 h 6"/>
                  <a:gd name="T4" fmla="*/ 0 w 3"/>
                  <a:gd name="T5" fmla="*/ 0 h 6"/>
                  <a:gd name="T6" fmla="*/ 3 w 3"/>
                  <a:gd name="T7" fmla="*/ 6 h 6"/>
                </a:gdLst>
                <a:ahLst/>
                <a:cxnLst>
                  <a:cxn ang="0">
                    <a:pos x="T0" y="T1"/>
                  </a:cxn>
                  <a:cxn ang="0">
                    <a:pos x="T2" y="T3"/>
                  </a:cxn>
                  <a:cxn ang="0">
                    <a:pos x="T4" y="T5"/>
                  </a:cxn>
                  <a:cxn ang="0">
                    <a:pos x="T6" y="T7"/>
                  </a:cxn>
                </a:cxnLst>
                <a:rect l="0" t="0" r="r" b="b"/>
                <a:pathLst>
                  <a:path w="3" h="6">
                    <a:moveTo>
                      <a:pt x="3" y="6"/>
                    </a:moveTo>
                    <a:lnTo>
                      <a:pt x="3" y="6"/>
                    </a:lnTo>
                    <a:cubicBezTo>
                      <a:pt x="3" y="4"/>
                      <a:pt x="2" y="1"/>
                      <a:pt x="0" y="0"/>
                    </a:cubicBezTo>
                    <a:cubicBezTo>
                      <a:pt x="0" y="2"/>
                      <a:pt x="1" y="3"/>
                      <a:pt x="3" y="6"/>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1" name="Freeform 2475"/>
              <p:cNvSpPr>
                <a:spLocks/>
              </p:cNvSpPr>
              <p:nvPr/>
            </p:nvSpPr>
            <p:spPr bwMode="auto">
              <a:xfrm>
                <a:off x="4495801" y="4324351"/>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1"/>
                      <a:pt x="0" y="1"/>
                    </a:cubicBezTo>
                    <a:cubicBezTo>
                      <a:pt x="0" y="1"/>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2" name="Freeform 2476"/>
              <p:cNvSpPr>
                <a:spLocks/>
              </p:cNvSpPr>
              <p:nvPr/>
            </p:nvSpPr>
            <p:spPr bwMode="auto">
              <a:xfrm>
                <a:off x="4497388" y="4364038"/>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3" name="Freeform 2477"/>
              <p:cNvSpPr>
                <a:spLocks/>
              </p:cNvSpPr>
              <p:nvPr/>
            </p:nvSpPr>
            <p:spPr bwMode="auto">
              <a:xfrm>
                <a:off x="4495801" y="4356101"/>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2"/>
                      <a:pt x="0" y="1"/>
                      <a:pt x="0" y="0"/>
                    </a:cubicBezTo>
                    <a:cubicBezTo>
                      <a:pt x="0" y="1"/>
                      <a:pt x="0" y="1"/>
                      <a:pt x="0"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4" name="Rectangle 2478"/>
              <p:cNvSpPr>
                <a:spLocks noChangeArrowheads="1"/>
              </p:cNvSpPr>
              <p:nvPr/>
            </p:nvSpPr>
            <p:spPr bwMode="auto">
              <a:xfrm>
                <a:off x="4492626" y="4305301"/>
                <a:ext cx="1588" cy="1588"/>
              </a:xfrm>
              <a:prstGeom prst="rect">
                <a:avLst/>
              </a:prstGeom>
              <a:solidFill>
                <a:srgbClr val="9A9A9A"/>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5" name="Freeform 2479"/>
              <p:cNvSpPr>
                <a:spLocks/>
              </p:cNvSpPr>
              <p:nvPr/>
            </p:nvSpPr>
            <p:spPr bwMode="auto">
              <a:xfrm>
                <a:off x="4483101" y="3941763"/>
                <a:ext cx="39688" cy="584200"/>
              </a:xfrm>
              <a:custGeom>
                <a:avLst/>
                <a:gdLst>
                  <a:gd name="T0" fmla="*/ 10 w 127"/>
                  <a:gd name="T1" fmla="*/ 1031 h 1863"/>
                  <a:gd name="T2" fmla="*/ 20 w 127"/>
                  <a:gd name="T3" fmla="*/ 1105 h 1863"/>
                  <a:gd name="T4" fmla="*/ 29 w 127"/>
                  <a:gd name="T5" fmla="*/ 1156 h 1863"/>
                  <a:gd name="T6" fmla="*/ 31 w 127"/>
                  <a:gd name="T7" fmla="*/ 1185 h 1863"/>
                  <a:gd name="T8" fmla="*/ 36 w 127"/>
                  <a:gd name="T9" fmla="*/ 1216 h 1863"/>
                  <a:gd name="T10" fmla="*/ 39 w 127"/>
                  <a:gd name="T11" fmla="*/ 1230 h 1863"/>
                  <a:gd name="T12" fmla="*/ 40 w 127"/>
                  <a:gd name="T13" fmla="*/ 1259 h 1863"/>
                  <a:gd name="T14" fmla="*/ 41 w 127"/>
                  <a:gd name="T15" fmla="*/ 1296 h 1863"/>
                  <a:gd name="T16" fmla="*/ 51 w 127"/>
                  <a:gd name="T17" fmla="*/ 1338 h 1863"/>
                  <a:gd name="T18" fmla="*/ 59 w 127"/>
                  <a:gd name="T19" fmla="*/ 1381 h 1863"/>
                  <a:gd name="T20" fmla="*/ 59 w 127"/>
                  <a:gd name="T21" fmla="*/ 1409 h 1863"/>
                  <a:gd name="T22" fmla="*/ 60 w 127"/>
                  <a:gd name="T23" fmla="*/ 1437 h 1863"/>
                  <a:gd name="T24" fmla="*/ 54 w 127"/>
                  <a:gd name="T25" fmla="*/ 1480 h 1863"/>
                  <a:gd name="T26" fmla="*/ 74 w 127"/>
                  <a:gd name="T27" fmla="*/ 1524 h 1863"/>
                  <a:gd name="T28" fmla="*/ 80 w 127"/>
                  <a:gd name="T29" fmla="*/ 1563 h 1863"/>
                  <a:gd name="T30" fmla="*/ 78 w 127"/>
                  <a:gd name="T31" fmla="*/ 1622 h 1863"/>
                  <a:gd name="T32" fmla="*/ 89 w 127"/>
                  <a:gd name="T33" fmla="*/ 1661 h 1863"/>
                  <a:gd name="T34" fmla="*/ 96 w 127"/>
                  <a:gd name="T35" fmla="*/ 1685 h 1863"/>
                  <a:gd name="T36" fmla="*/ 83 w 127"/>
                  <a:gd name="T37" fmla="*/ 1692 h 1863"/>
                  <a:gd name="T38" fmla="*/ 93 w 127"/>
                  <a:gd name="T39" fmla="*/ 1720 h 1863"/>
                  <a:gd name="T40" fmla="*/ 93 w 127"/>
                  <a:gd name="T41" fmla="*/ 1739 h 1863"/>
                  <a:gd name="T42" fmla="*/ 103 w 127"/>
                  <a:gd name="T43" fmla="*/ 1756 h 1863"/>
                  <a:gd name="T44" fmla="*/ 108 w 127"/>
                  <a:gd name="T45" fmla="*/ 1818 h 1863"/>
                  <a:gd name="T46" fmla="*/ 107 w 127"/>
                  <a:gd name="T47" fmla="*/ 1849 h 1863"/>
                  <a:gd name="T48" fmla="*/ 115 w 127"/>
                  <a:gd name="T49" fmla="*/ 1828 h 1863"/>
                  <a:gd name="T50" fmla="*/ 115 w 127"/>
                  <a:gd name="T51" fmla="*/ 1801 h 1863"/>
                  <a:gd name="T52" fmla="*/ 124 w 127"/>
                  <a:gd name="T53" fmla="*/ 1786 h 1863"/>
                  <a:gd name="T54" fmla="*/ 117 w 127"/>
                  <a:gd name="T55" fmla="*/ 1725 h 1863"/>
                  <a:gd name="T56" fmla="*/ 122 w 127"/>
                  <a:gd name="T57" fmla="*/ 1708 h 1863"/>
                  <a:gd name="T58" fmla="*/ 120 w 127"/>
                  <a:gd name="T59" fmla="*/ 1681 h 1863"/>
                  <a:gd name="T60" fmla="*/ 116 w 127"/>
                  <a:gd name="T61" fmla="*/ 1610 h 1863"/>
                  <a:gd name="T62" fmla="*/ 114 w 127"/>
                  <a:gd name="T63" fmla="*/ 1580 h 1863"/>
                  <a:gd name="T64" fmla="*/ 111 w 127"/>
                  <a:gd name="T65" fmla="*/ 1541 h 1863"/>
                  <a:gd name="T66" fmla="*/ 109 w 127"/>
                  <a:gd name="T67" fmla="*/ 1511 h 1863"/>
                  <a:gd name="T68" fmla="*/ 109 w 127"/>
                  <a:gd name="T69" fmla="*/ 1478 h 1863"/>
                  <a:gd name="T70" fmla="*/ 107 w 127"/>
                  <a:gd name="T71" fmla="*/ 1453 h 1863"/>
                  <a:gd name="T72" fmla="*/ 101 w 127"/>
                  <a:gd name="T73" fmla="*/ 1372 h 1863"/>
                  <a:gd name="T74" fmla="*/ 102 w 127"/>
                  <a:gd name="T75" fmla="*/ 1329 h 1863"/>
                  <a:gd name="T76" fmla="*/ 95 w 127"/>
                  <a:gd name="T77" fmla="*/ 1275 h 1863"/>
                  <a:gd name="T78" fmla="*/ 92 w 127"/>
                  <a:gd name="T79" fmla="*/ 1246 h 1863"/>
                  <a:gd name="T80" fmla="*/ 96 w 127"/>
                  <a:gd name="T81" fmla="*/ 1194 h 1863"/>
                  <a:gd name="T82" fmla="*/ 96 w 127"/>
                  <a:gd name="T83" fmla="*/ 1146 h 1863"/>
                  <a:gd name="T84" fmla="*/ 93 w 127"/>
                  <a:gd name="T85" fmla="*/ 1098 h 1863"/>
                  <a:gd name="T86" fmla="*/ 93 w 127"/>
                  <a:gd name="T87" fmla="*/ 996 h 1863"/>
                  <a:gd name="T88" fmla="*/ 86 w 127"/>
                  <a:gd name="T89" fmla="*/ 883 h 1863"/>
                  <a:gd name="T90" fmla="*/ 81 w 127"/>
                  <a:gd name="T91" fmla="*/ 854 h 1863"/>
                  <a:gd name="T92" fmla="*/ 80 w 127"/>
                  <a:gd name="T93" fmla="*/ 813 h 1863"/>
                  <a:gd name="T94" fmla="*/ 84 w 127"/>
                  <a:gd name="T95" fmla="*/ 757 h 1863"/>
                  <a:gd name="T96" fmla="*/ 85 w 127"/>
                  <a:gd name="T97" fmla="*/ 622 h 1863"/>
                  <a:gd name="T98" fmla="*/ 83 w 127"/>
                  <a:gd name="T99" fmla="*/ 524 h 1863"/>
                  <a:gd name="T100" fmla="*/ 84 w 127"/>
                  <a:gd name="T101" fmla="*/ 409 h 1863"/>
                  <a:gd name="T102" fmla="*/ 76 w 127"/>
                  <a:gd name="T103" fmla="*/ 16 h 1863"/>
                  <a:gd name="T104" fmla="*/ 59 w 127"/>
                  <a:gd name="T105" fmla="*/ 14 h 1863"/>
                  <a:gd name="T106" fmla="*/ 57 w 127"/>
                  <a:gd name="T107" fmla="*/ 30 h 1863"/>
                  <a:gd name="T108" fmla="*/ 47 w 127"/>
                  <a:gd name="T109" fmla="*/ 69 h 1863"/>
                  <a:gd name="T110" fmla="*/ 40 w 127"/>
                  <a:gd name="T111" fmla="*/ 96 h 1863"/>
                  <a:gd name="T112" fmla="*/ 18 w 127"/>
                  <a:gd name="T113" fmla="*/ 256 h 1863"/>
                  <a:gd name="T114" fmla="*/ 7 w 127"/>
                  <a:gd name="T115" fmla="*/ 566 h 1863"/>
                  <a:gd name="T116" fmla="*/ 6 w 127"/>
                  <a:gd name="T117" fmla="*/ 604 h 1863"/>
                  <a:gd name="T118" fmla="*/ 8 w 127"/>
                  <a:gd name="T119" fmla="*/ 730 h 1863"/>
                  <a:gd name="T120" fmla="*/ 3 w 127"/>
                  <a:gd name="T121" fmla="*/ 751 h 1863"/>
                  <a:gd name="T122" fmla="*/ 6 w 127"/>
                  <a:gd name="T123" fmla="*/ 816 h 1863"/>
                  <a:gd name="T124" fmla="*/ 8 w 127"/>
                  <a:gd name="T125" fmla="*/ 88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 h="1863">
                    <a:moveTo>
                      <a:pt x="4" y="927"/>
                    </a:moveTo>
                    <a:lnTo>
                      <a:pt x="4" y="927"/>
                    </a:lnTo>
                    <a:cubicBezTo>
                      <a:pt x="6" y="950"/>
                      <a:pt x="11" y="981"/>
                      <a:pt x="11" y="1004"/>
                    </a:cubicBezTo>
                    <a:cubicBezTo>
                      <a:pt x="15" y="1009"/>
                      <a:pt x="15" y="1016"/>
                      <a:pt x="17" y="1024"/>
                    </a:cubicBezTo>
                    <a:lnTo>
                      <a:pt x="11" y="1025"/>
                    </a:lnTo>
                    <a:lnTo>
                      <a:pt x="13" y="1031"/>
                    </a:lnTo>
                    <a:cubicBezTo>
                      <a:pt x="12" y="1034"/>
                      <a:pt x="12" y="1026"/>
                      <a:pt x="10" y="1031"/>
                    </a:cubicBezTo>
                    <a:lnTo>
                      <a:pt x="14" y="1033"/>
                    </a:lnTo>
                    <a:cubicBezTo>
                      <a:pt x="12" y="1034"/>
                      <a:pt x="13" y="1049"/>
                      <a:pt x="9" y="1039"/>
                    </a:cubicBezTo>
                    <a:lnTo>
                      <a:pt x="10" y="1063"/>
                    </a:lnTo>
                    <a:cubicBezTo>
                      <a:pt x="10" y="1068"/>
                      <a:pt x="15" y="1066"/>
                      <a:pt x="14" y="1072"/>
                    </a:cubicBezTo>
                    <a:cubicBezTo>
                      <a:pt x="12" y="1073"/>
                      <a:pt x="12" y="1070"/>
                      <a:pt x="10" y="1070"/>
                    </a:cubicBezTo>
                    <a:cubicBezTo>
                      <a:pt x="7" y="1088"/>
                      <a:pt x="22" y="1090"/>
                      <a:pt x="21" y="1107"/>
                    </a:cubicBezTo>
                    <a:lnTo>
                      <a:pt x="20" y="1105"/>
                    </a:lnTo>
                    <a:cubicBezTo>
                      <a:pt x="21" y="1108"/>
                      <a:pt x="21" y="1114"/>
                      <a:pt x="22" y="1114"/>
                    </a:cubicBezTo>
                    <a:cubicBezTo>
                      <a:pt x="28" y="1111"/>
                      <a:pt x="19" y="1111"/>
                      <a:pt x="22" y="1106"/>
                    </a:cubicBezTo>
                    <a:cubicBezTo>
                      <a:pt x="27" y="1106"/>
                      <a:pt x="25" y="1112"/>
                      <a:pt x="28" y="1111"/>
                    </a:cubicBezTo>
                    <a:cubicBezTo>
                      <a:pt x="27" y="1115"/>
                      <a:pt x="30" y="1117"/>
                      <a:pt x="30" y="1121"/>
                    </a:cubicBezTo>
                    <a:cubicBezTo>
                      <a:pt x="28" y="1126"/>
                      <a:pt x="30" y="1135"/>
                      <a:pt x="27" y="1139"/>
                    </a:cubicBezTo>
                    <a:cubicBezTo>
                      <a:pt x="28" y="1142"/>
                      <a:pt x="33" y="1145"/>
                      <a:pt x="34" y="1151"/>
                    </a:cubicBezTo>
                    <a:cubicBezTo>
                      <a:pt x="30" y="1155"/>
                      <a:pt x="30" y="1150"/>
                      <a:pt x="29" y="1156"/>
                    </a:cubicBezTo>
                    <a:lnTo>
                      <a:pt x="32" y="1157"/>
                    </a:lnTo>
                    <a:cubicBezTo>
                      <a:pt x="32" y="1162"/>
                      <a:pt x="31" y="1161"/>
                      <a:pt x="30" y="1161"/>
                    </a:cubicBezTo>
                    <a:cubicBezTo>
                      <a:pt x="30" y="1166"/>
                      <a:pt x="34" y="1165"/>
                      <a:pt x="32" y="1171"/>
                    </a:cubicBezTo>
                    <a:lnTo>
                      <a:pt x="30" y="1168"/>
                    </a:lnTo>
                    <a:cubicBezTo>
                      <a:pt x="31" y="1173"/>
                      <a:pt x="31" y="1175"/>
                      <a:pt x="31" y="1181"/>
                    </a:cubicBezTo>
                    <a:cubicBezTo>
                      <a:pt x="29" y="1181"/>
                      <a:pt x="29" y="1179"/>
                      <a:pt x="29" y="1177"/>
                    </a:cubicBezTo>
                    <a:cubicBezTo>
                      <a:pt x="26" y="1180"/>
                      <a:pt x="32" y="1183"/>
                      <a:pt x="31" y="1185"/>
                    </a:cubicBezTo>
                    <a:cubicBezTo>
                      <a:pt x="32" y="1184"/>
                      <a:pt x="33" y="1179"/>
                      <a:pt x="35" y="1181"/>
                    </a:cubicBezTo>
                    <a:cubicBezTo>
                      <a:pt x="35" y="1185"/>
                      <a:pt x="40" y="1188"/>
                      <a:pt x="36" y="1191"/>
                    </a:cubicBezTo>
                    <a:lnTo>
                      <a:pt x="34" y="1187"/>
                    </a:lnTo>
                    <a:cubicBezTo>
                      <a:pt x="36" y="1194"/>
                      <a:pt x="37" y="1191"/>
                      <a:pt x="37" y="1199"/>
                    </a:cubicBezTo>
                    <a:cubicBezTo>
                      <a:pt x="37" y="1198"/>
                      <a:pt x="36" y="1199"/>
                      <a:pt x="35" y="1199"/>
                    </a:cubicBezTo>
                    <a:cubicBezTo>
                      <a:pt x="39" y="1203"/>
                      <a:pt x="36" y="1210"/>
                      <a:pt x="37" y="1218"/>
                    </a:cubicBezTo>
                    <a:lnTo>
                      <a:pt x="36" y="1216"/>
                    </a:lnTo>
                    <a:cubicBezTo>
                      <a:pt x="37" y="1219"/>
                      <a:pt x="39" y="1221"/>
                      <a:pt x="39" y="1222"/>
                    </a:cubicBezTo>
                    <a:cubicBezTo>
                      <a:pt x="41" y="1218"/>
                      <a:pt x="41" y="1219"/>
                      <a:pt x="44" y="1218"/>
                    </a:cubicBezTo>
                    <a:cubicBezTo>
                      <a:pt x="40" y="1224"/>
                      <a:pt x="50" y="1227"/>
                      <a:pt x="48" y="1236"/>
                    </a:cubicBezTo>
                    <a:cubicBezTo>
                      <a:pt x="46" y="1236"/>
                      <a:pt x="44" y="1234"/>
                      <a:pt x="46" y="1231"/>
                    </a:cubicBezTo>
                    <a:cubicBezTo>
                      <a:pt x="41" y="1228"/>
                      <a:pt x="37" y="1228"/>
                      <a:pt x="34" y="1223"/>
                    </a:cubicBezTo>
                    <a:cubicBezTo>
                      <a:pt x="36" y="1226"/>
                      <a:pt x="37" y="1230"/>
                      <a:pt x="35" y="1229"/>
                    </a:cubicBezTo>
                    <a:lnTo>
                      <a:pt x="39" y="1230"/>
                    </a:lnTo>
                    <a:cubicBezTo>
                      <a:pt x="39" y="1232"/>
                      <a:pt x="39" y="1234"/>
                      <a:pt x="39" y="1236"/>
                    </a:cubicBezTo>
                    <a:cubicBezTo>
                      <a:pt x="42" y="1236"/>
                      <a:pt x="43" y="1231"/>
                      <a:pt x="45" y="1236"/>
                    </a:cubicBezTo>
                    <a:cubicBezTo>
                      <a:pt x="47" y="1241"/>
                      <a:pt x="41" y="1239"/>
                      <a:pt x="43" y="1240"/>
                    </a:cubicBezTo>
                    <a:cubicBezTo>
                      <a:pt x="45" y="1247"/>
                      <a:pt x="48" y="1242"/>
                      <a:pt x="47" y="1250"/>
                    </a:cubicBezTo>
                    <a:cubicBezTo>
                      <a:pt x="47" y="1249"/>
                      <a:pt x="46" y="1248"/>
                      <a:pt x="46" y="1247"/>
                    </a:cubicBezTo>
                    <a:cubicBezTo>
                      <a:pt x="45" y="1252"/>
                      <a:pt x="48" y="1260"/>
                      <a:pt x="43" y="1262"/>
                    </a:cubicBezTo>
                    <a:cubicBezTo>
                      <a:pt x="42" y="1261"/>
                      <a:pt x="40" y="1261"/>
                      <a:pt x="40" y="1259"/>
                    </a:cubicBezTo>
                    <a:lnTo>
                      <a:pt x="41" y="1259"/>
                    </a:lnTo>
                    <a:cubicBezTo>
                      <a:pt x="37" y="1254"/>
                      <a:pt x="43" y="1264"/>
                      <a:pt x="38" y="1262"/>
                    </a:cubicBezTo>
                    <a:cubicBezTo>
                      <a:pt x="41" y="1262"/>
                      <a:pt x="41" y="1269"/>
                      <a:pt x="40" y="1272"/>
                    </a:cubicBezTo>
                    <a:lnTo>
                      <a:pt x="43" y="1271"/>
                    </a:lnTo>
                    <a:cubicBezTo>
                      <a:pt x="53" y="1281"/>
                      <a:pt x="37" y="1271"/>
                      <a:pt x="39" y="1282"/>
                    </a:cubicBezTo>
                    <a:cubicBezTo>
                      <a:pt x="42" y="1288"/>
                      <a:pt x="40" y="1279"/>
                      <a:pt x="42" y="1283"/>
                    </a:cubicBezTo>
                    <a:cubicBezTo>
                      <a:pt x="42" y="1288"/>
                      <a:pt x="39" y="1290"/>
                      <a:pt x="41" y="1296"/>
                    </a:cubicBezTo>
                    <a:cubicBezTo>
                      <a:pt x="40" y="1298"/>
                      <a:pt x="39" y="1302"/>
                      <a:pt x="35" y="1303"/>
                    </a:cubicBezTo>
                    <a:cubicBezTo>
                      <a:pt x="37" y="1307"/>
                      <a:pt x="35" y="1316"/>
                      <a:pt x="38" y="1318"/>
                    </a:cubicBezTo>
                    <a:cubicBezTo>
                      <a:pt x="41" y="1310"/>
                      <a:pt x="34" y="1311"/>
                      <a:pt x="38" y="1302"/>
                    </a:cubicBezTo>
                    <a:lnTo>
                      <a:pt x="42" y="1304"/>
                    </a:lnTo>
                    <a:cubicBezTo>
                      <a:pt x="42" y="1310"/>
                      <a:pt x="44" y="1317"/>
                      <a:pt x="43" y="1321"/>
                    </a:cubicBezTo>
                    <a:cubicBezTo>
                      <a:pt x="44" y="1320"/>
                      <a:pt x="45" y="1320"/>
                      <a:pt x="45" y="1320"/>
                    </a:cubicBezTo>
                    <a:cubicBezTo>
                      <a:pt x="47" y="1328"/>
                      <a:pt x="51" y="1331"/>
                      <a:pt x="51" y="1338"/>
                    </a:cubicBezTo>
                    <a:cubicBezTo>
                      <a:pt x="48" y="1340"/>
                      <a:pt x="48" y="1335"/>
                      <a:pt x="47" y="1332"/>
                    </a:cubicBezTo>
                    <a:cubicBezTo>
                      <a:pt x="45" y="1337"/>
                      <a:pt x="47" y="1337"/>
                      <a:pt x="47" y="1345"/>
                    </a:cubicBezTo>
                    <a:cubicBezTo>
                      <a:pt x="44" y="1346"/>
                      <a:pt x="47" y="1340"/>
                      <a:pt x="44" y="1339"/>
                    </a:cubicBezTo>
                    <a:lnTo>
                      <a:pt x="46" y="1348"/>
                    </a:lnTo>
                    <a:cubicBezTo>
                      <a:pt x="45" y="1348"/>
                      <a:pt x="45" y="1348"/>
                      <a:pt x="45" y="1348"/>
                    </a:cubicBezTo>
                    <a:cubicBezTo>
                      <a:pt x="50" y="1349"/>
                      <a:pt x="45" y="1355"/>
                      <a:pt x="47" y="1360"/>
                    </a:cubicBezTo>
                    <a:cubicBezTo>
                      <a:pt x="48" y="1372"/>
                      <a:pt x="54" y="1374"/>
                      <a:pt x="59" y="1381"/>
                    </a:cubicBezTo>
                    <a:cubicBezTo>
                      <a:pt x="58" y="1383"/>
                      <a:pt x="56" y="1383"/>
                      <a:pt x="55" y="1382"/>
                    </a:cubicBezTo>
                    <a:cubicBezTo>
                      <a:pt x="57" y="1379"/>
                      <a:pt x="55" y="1380"/>
                      <a:pt x="54" y="1379"/>
                    </a:cubicBezTo>
                    <a:cubicBezTo>
                      <a:pt x="55" y="1383"/>
                      <a:pt x="51" y="1389"/>
                      <a:pt x="48" y="1386"/>
                    </a:cubicBezTo>
                    <a:cubicBezTo>
                      <a:pt x="50" y="1393"/>
                      <a:pt x="51" y="1384"/>
                      <a:pt x="52" y="1388"/>
                    </a:cubicBezTo>
                    <a:lnTo>
                      <a:pt x="53" y="1397"/>
                    </a:lnTo>
                    <a:cubicBezTo>
                      <a:pt x="55" y="1396"/>
                      <a:pt x="55" y="1393"/>
                      <a:pt x="58" y="1397"/>
                    </a:cubicBezTo>
                    <a:cubicBezTo>
                      <a:pt x="59" y="1401"/>
                      <a:pt x="58" y="1403"/>
                      <a:pt x="59" y="1409"/>
                    </a:cubicBezTo>
                    <a:cubicBezTo>
                      <a:pt x="57" y="1408"/>
                      <a:pt x="55" y="1411"/>
                      <a:pt x="55" y="1407"/>
                    </a:cubicBezTo>
                    <a:cubicBezTo>
                      <a:pt x="54" y="1409"/>
                      <a:pt x="55" y="1413"/>
                      <a:pt x="57" y="1415"/>
                    </a:cubicBezTo>
                    <a:cubicBezTo>
                      <a:pt x="59" y="1409"/>
                      <a:pt x="60" y="1424"/>
                      <a:pt x="63" y="1419"/>
                    </a:cubicBezTo>
                    <a:lnTo>
                      <a:pt x="61" y="1425"/>
                    </a:lnTo>
                    <a:cubicBezTo>
                      <a:pt x="61" y="1424"/>
                      <a:pt x="60" y="1424"/>
                      <a:pt x="60" y="1422"/>
                    </a:cubicBezTo>
                    <a:cubicBezTo>
                      <a:pt x="57" y="1424"/>
                      <a:pt x="62" y="1427"/>
                      <a:pt x="62" y="1429"/>
                    </a:cubicBezTo>
                    <a:cubicBezTo>
                      <a:pt x="62" y="1431"/>
                      <a:pt x="62" y="1436"/>
                      <a:pt x="60" y="1437"/>
                    </a:cubicBezTo>
                    <a:cubicBezTo>
                      <a:pt x="62" y="1438"/>
                      <a:pt x="61" y="1443"/>
                      <a:pt x="60" y="1444"/>
                    </a:cubicBezTo>
                    <a:cubicBezTo>
                      <a:pt x="60" y="1446"/>
                      <a:pt x="62" y="1444"/>
                      <a:pt x="63" y="1445"/>
                    </a:cubicBezTo>
                    <a:lnTo>
                      <a:pt x="64" y="1454"/>
                    </a:lnTo>
                    <a:cubicBezTo>
                      <a:pt x="62" y="1455"/>
                      <a:pt x="56" y="1456"/>
                      <a:pt x="56" y="1454"/>
                    </a:cubicBezTo>
                    <a:cubicBezTo>
                      <a:pt x="58" y="1458"/>
                      <a:pt x="61" y="1455"/>
                      <a:pt x="62" y="1461"/>
                    </a:cubicBezTo>
                    <a:cubicBezTo>
                      <a:pt x="58" y="1458"/>
                      <a:pt x="59" y="1468"/>
                      <a:pt x="55" y="1464"/>
                    </a:cubicBezTo>
                    <a:cubicBezTo>
                      <a:pt x="52" y="1467"/>
                      <a:pt x="53" y="1476"/>
                      <a:pt x="54" y="1480"/>
                    </a:cubicBezTo>
                    <a:cubicBezTo>
                      <a:pt x="58" y="1483"/>
                      <a:pt x="56" y="1475"/>
                      <a:pt x="59" y="1475"/>
                    </a:cubicBezTo>
                    <a:cubicBezTo>
                      <a:pt x="61" y="1488"/>
                      <a:pt x="70" y="1488"/>
                      <a:pt x="69" y="1498"/>
                    </a:cubicBezTo>
                    <a:lnTo>
                      <a:pt x="70" y="1496"/>
                    </a:lnTo>
                    <a:cubicBezTo>
                      <a:pt x="72" y="1502"/>
                      <a:pt x="72" y="1501"/>
                      <a:pt x="75" y="1504"/>
                    </a:cubicBezTo>
                    <a:cubicBezTo>
                      <a:pt x="71" y="1503"/>
                      <a:pt x="65" y="1512"/>
                      <a:pt x="67" y="1522"/>
                    </a:cubicBezTo>
                    <a:cubicBezTo>
                      <a:pt x="69" y="1523"/>
                      <a:pt x="70" y="1516"/>
                      <a:pt x="73" y="1518"/>
                    </a:cubicBezTo>
                    <a:lnTo>
                      <a:pt x="74" y="1524"/>
                    </a:lnTo>
                    <a:cubicBezTo>
                      <a:pt x="74" y="1525"/>
                      <a:pt x="73" y="1524"/>
                      <a:pt x="73" y="1523"/>
                    </a:cubicBezTo>
                    <a:cubicBezTo>
                      <a:pt x="75" y="1529"/>
                      <a:pt x="69" y="1535"/>
                      <a:pt x="74" y="1536"/>
                    </a:cubicBezTo>
                    <a:lnTo>
                      <a:pt x="69" y="1543"/>
                    </a:lnTo>
                    <a:lnTo>
                      <a:pt x="71" y="1540"/>
                    </a:lnTo>
                    <a:cubicBezTo>
                      <a:pt x="73" y="1541"/>
                      <a:pt x="74" y="1548"/>
                      <a:pt x="75" y="1549"/>
                    </a:cubicBezTo>
                    <a:cubicBezTo>
                      <a:pt x="78" y="1556"/>
                      <a:pt x="76" y="1558"/>
                      <a:pt x="74" y="1562"/>
                    </a:cubicBezTo>
                    <a:cubicBezTo>
                      <a:pt x="76" y="1561"/>
                      <a:pt x="79" y="1558"/>
                      <a:pt x="80" y="1563"/>
                    </a:cubicBezTo>
                    <a:cubicBezTo>
                      <a:pt x="74" y="1564"/>
                      <a:pt x="79" y="1575"/>
                      <a:pt x="76" y="1575"/>
                    </a:cubicBezTo>
                    <a:cubicBezTo>
                      <a:pt x="76" y="1577"/>
                      <a:pt x="75" y="1581"/>
                      <a:pt x="77" y="1581"/>
                    </a:cubicBezTo>
                    <a:lnTo>
                      <a:pt x="73" y="1581"/>
                    </a:lnTo>
                    <a:cubicBezTo>
                      <a:pt x="79" y="1581"/>
                      <a:pt x="79" y="1589"/>
                      <a:pt x="81" y="1595"/>
                    </a:cubicBezTo>
                    <a:cubicBezTo>
                      <a:pt x="74" y="1594"/>
                      <a:pt x="82" y="1602"/>
                      <a:pt x="76" y="1605"/>
                    </a:cubicBezTo>
                    <a:cubicBezTo>
                      <a:pt x="81" y="1606"/>
                      <a:pt x="79" y="1616"/>
                      <a:pt x="84" y="1616"/>
                    </a:cubicBezTo>
                    <a:cubicBezTo>
                      <a:pt x="84" y="1621"/>
                      <a:pt x="80" y="1621"/>
                      <a:pt x="78" y="1622"/>
                    </a:cubicBezTo>
                    <a:lnTo>
                      <a:pt x="80" y="1624"/>
                    </a:lnTo>
                    <a:cubicBezTo>
                      <a:pt x="78" y="1627"/>
                      <a:pt x="79" y="1636"/>
                      <a:pt x="78" y="1641"/>
                    </a:cubicBezTo>
                    <a:lnTo>
                      <a:pt x="83" y="1645"/>
                    </a:lnTo>
                    <a:lnTo>
                      <a:pt x="81" y="1648"/>
                    </a:lnTo>
                    <a:cubicBezTo>
                      <a:pt x="82" y="1648"/>
                      <a:pt x="83" y="1652"/>
                      <a:pt x="85" y="1649"/>
                    </a:cubicBezTo>
                    <a:lnTo>
                      <a:pt x="85" y="1652"/>
                    </a:lnTo>
                    <a:cubicBezTo>
                      <a:pt x="89" y="1652"/>
                      <a:pt x="86" y="1656"/>
                      <a:pt x="89" y="1661"/>
                    </a:cubicBezTo>
                    <a:cubicBezTo>
                      <a:pt x="88" y="1662"/>
                      <a:pt x="87" y="1662"/>
                      <a:pt x="86" y="1661"/>
                    </a:cubicBezTo>
                    <a:cubicBezTo>
                      <a:pt x="87" y="1663"/>
                      <a:pt x="84" y="1663"/>
                      <a:pt x="83" y="1664"/>
                    </a:cubicBezTo>
                    <a:cubicBezTo>
                      <a:pt x="84" y="1662"/>
                      <a:pt x="92" y="1673"/>
                      <a:pt x="94" y="1665"/>
                    </a:cubicBezTo>
                    <a:cubicBezTo>
                      <a:pt x="96" y="1665"/>
                      <a:pt x="98" y="1669"/>
                      <a:pt x="97" y="1671"/>
                    </a:cubicBezTo>
                    <a:lnTo>
                      <a:pt x="93" y="1673"/>
                    </a:lnTo>
                    <a:lnTo>
                      <a:pt x="98" y="1676"/>
                    </a:lnTo>
                    <a:cubicBezTo>
                      <a:pt x="99" y="1680"/>
                      <a:pt x="96" y="1682"/>
                      <a:pt x="96" y="1685"/>
                    </a:cubicBezTo>
                    <a:cubicBezTo>
                      <a:pt x="96" y="1682"/>
                      <a:pt x="87" y="1679"/>
                      <a:pt x="88" y="1687"/>
                    </a:cubicBezTo>
                    <a:cubicBezTo>
                      <a:pt x="87" y="1683"/>
                      <a:pt x="84" y="1681"/>
                      <a:pt x="83" y="1679"/>
                    </a:cubicBezTo>
                    <a:cubicBezTo>
                      <a:pt x="83" y="1680"/>
                      <a:pt x="83" y="1681"/>
                      <a:pt x="81" y="1679"/>
                    </a:cubicBezTo>
                    <a:cubicBezTo>
                      <a:pt x="83" y="1685"/>
                      <a:pt x="84" y="1681"/>
                      <a:pt x="85" y="1687"/>
                    </a:cubicBezTo>
                    <a:cubicBezTo>
                      <a:pt x="81" y="1688"/>
                      <a:pt x="80" y="1690"/>
                      <a:pt x="80" y="1696"/>
                    </a:cubicBezTo>
                    <a:lnTo>
                      <a:pt x="82" y="1691"/>
                    </a:lnTo>
                    <a:cubicBezTo>
                      <a:pt x="82" y="1691"/>
                      <a:pt x="83" y="1691"/>
                      <a:pt x="83" y="1692"/>
                    </a:cubicBezTo>
                    <a:cubicBezTo>
                      <a:pt x="83" y="1690"/>
                      <a:pt x="84" y="1689"/>
                      <a:pt x="85" y="1689"/>
                    </a:cubicBezTo>
                    <a:cubicBezTo>
                      <a:pt x="85" y="1690"/>
                      <a:pt x="91" y="1696"/>
                      <a:pt x="89" y="1697"/>
                    </a:cubicBezTo>
                    <a:cubicBezTo>
                      <a:pt x="94" y="1690"/>
                      <a:pt x="95" y="1709"/>
                      <a:pt x="98" y="1704"/>
                    </a:cubicBezTo>
                    <a:cubicBezTo>
                      <a:pt x="99" y="1704"/>
                      <a:pt x="100" y="1709"/>
                      <a:pt x="98" y="1710"/>
                    </a:cubicBezTo>
                    <a:cubicBezTo>
                      <a:pt x="94" y="1705"/>
                      <a:pt x="94" y="1715"/>
                      <a:pt x="91" y="1714"/>
                    </a:cubicBezTo>
                    <a:cubicBezTo>
                      <a:pt x="93" y="1716"/>
                      <a:pt x="94" y="1709"/>
                      <a:pt x="95" y="1712"/>
                    </a:cubicBezTo>
                    <a:cubicBezTo>
                      <a:pt x="96" y="1715"/>
                      <a:pt x="94" y="1718"/>
                      <a:pt x="93" y="1720"/>
                    </a:cubicBezTo>
                    <a:lnTo>
                      <a:pt x="92" y="1719"/>
                    </a:lnTo>
                    <a:lnTo>
                      <a:pt x="91" y="1724"/>
                    </a:lnTo>
                    <a:cubicBezTo>
                      <a:pt x="93" y="1725"/>
                      <a:pt x="94" y="1719"/>
                      <a:pt x="95" y="1723"/>
                    </a:cubicBezTo>
                    <a:cubicBezTo>
                      <a:pt x="95" y="1725"/>
                      <a:pt x="96" y="1729"/>
                      <a:pt x="95" y="1729"/>
                    </a:cubicBezTo>
                    <a:cubicBezTo>
                      <a:pt x="92" y="1727"/>
                      <a:pt x="88" y="1729"/>
                      <a:pt x="87" y="1725"/>
                    </a:cubicBezTo>
                    <a:cubicBezTo>
                      <a:pt x="88" y="1729"/>
                      <a:pt x="90" y="1739"/>
                      <a:pt x="93" y="1735"/>
                    </a:cubicBezTo>
                    <a:lnTo>
                      <a:pt x="93" y="1739"/>
                    </a:lnTo>
                    <a:cubicBezTo>
                      <a:pt x="94" y="1736"/>
                      <a:pt x="97" y="1728"/>
                      <a:pt x="98" y="1736"/>
                    </a:cubicBezTo>
                    <a:lnTo>
                      <a:pt x="97" y="1736"/>
                    </a:lnTo>
                    <a:lnTo>
                      <a:pt x="101" y="1742"/>
                    </a:lnTo>
                    <a:lnTo>
                      <a:pt x="99" y="1744"/>
                    </a:lnTo>
                    <a:cubicBezTo>
                      <a:pt x="100" y="1744"/>
                      <a:pt x="101" y="1745"/>
                      <a:pt x="101" y="1747"/>
                    </a:cubicBezTo>
                    <a:cubicBezTo>
                      <a:pt x="100" y="1748"/>
                      <a:pt x="100" y="1750"/>
                      <a:pt x="99" y="1750"/>
                    </a:cubicBezTo>
                    <a:cubicBezTo>
                      <a:pt x="99" y="1756"/>
                      <a:pt x="101" y="1755"/>
                      <a:pt x="103" y="1756"/>
                    </a:cubicBezTo>
                    <a:cubicBezTo>
                      <a:pt x="103" y="1759"/>
                      <a:pt x="103" y="1760"/>
                      <a:pt x="100" y="1759"/>
                    </a:cubicBezTo>
                    <a:cubicBezTo>
                      <a:pt x="100" y="1764"/>
                      <a:pt x="102" y="1772"/>
                      <a:pt x="100" y="1775"/>
                    </a:cubicBezTo>
                    <a:cubicBezTo>
                      <a:pt x="103" y="1781"/>
                      <a:pt x="101" y="1774"/>
                      <a:pt x="104" y="1777"/>
                    </a:cubicBezTo>
                    <a:cubicBezTo>
                      <a:pt x="98" y="1783"/>
                      <a:pt x="104" y="1798"/>
                      <a:pt x="106" y="1807"/>
                    </a:cubicBezTo>
                    <a:cubicBezTo>
                      <a:pt x="112" y="1804"/>
                      <a:pt x="107" y="1810"/>
                      <a:pt x="113" y="1811"/>
                    </a:cubicBezTo>
                    <a:cubicBezTo>
                      <a:pt x="111" y="1809"/>
                      <a:pt x="109" y="1821"/>
                      <a:pt x="107" y="1813"/>
                    </a:cubicBezTo>
                    <a:lnTo>
                      <a:pt x="108" y="1818"/>
                    </a:lnTo>
                    <a:cubicBezTo>
                      <a:pt x="105" y="1822"/>
                      <a:pt x="104" y="1810"/>
                      <a:pt x="101" y="1816"/>
                    </a:cubicBezTo>
                    <a:cubicBezTo>
                      <a:pt x="102" y="1822"/>
                      <a:pt x="109" y="1825"/>
                      <a:pt x="107" y="1832"/>
                    </a:cubicBezTo>
                    <a:cubicBezTo>
                      <a:pt x="103" y="1830"/>
                      <a:pt x="110" y="1837"/>
                      <a:pt x="105" y="1836"/>
                    </a:cubicBezTo>
                    <a:cubicBezTo>
                      <a:pt x="103" y="1835"/>
                      <a:pt x="103" y="1833"/>
                      <a:pt x="103" y="1831"/>
                    </a:cubicBezTo>
                    <a:lnTo>
                      <a:pt x="102" y="1832"/>
                    </a:lnTo>
                    <a:cubicBezTo>
                      <a:pt x="103" y="1846"/>
                      <a:pt x="107" y="1835"/>
                      <a:pt x="111" y="1842"/>
                    </a:cubicBezTo>
                    <a:cubicBezTo>
                      <a:pt x="113" y="1850"/>
                      <a:pt x="109" y="1849"/>
                      <a:pt x="107" y="1849"/>
                    </a:cubicBezTo>
                    <a:cubicBezTo>
                      <a:pt x="106" y="1851"/>
                      <a:pt x="108" y="1855"/>
                      <a:pt x="109" y="1857"/>
                    </a:cubicBezTo>
                    <a:cubicBezTo>
                      <a:pt x="106" y="1852"/>
                      <a:pt x="110" y="1847"/>
                      <a:pt x="113" y="1849"/>
                    </a:cubicBezTo>
                    <a:cubicBezTo>
                      <a:pt x="109" y="1853"/>
                      <a:pt x="115" y="1861"/>
                      <a:pt x="117" y="1863"/>
                    </a:cubicBezTo>
                    <a:cubicBezTo>
                      <a:pt x="120" y="1851"/>
                      <a:pt x="116" y="1855"/>
                      <a:pt x="120" y="1844"/>
                    </a:cubicBezTo>
                    <a:cubicBezTo>
                      <a:pt x="118" y="1842"/>
                      <a:pt x="114" y="1843"/>
                      <a:pt x="115" y="1836"/>
                    </a:cubicBezTo>
                    <a:cubicBezTo>
                      <a:pt x="117" y="1840"/>
                      <a:pt x="117" y="1836"/>
                      <a:pt x="117" y="1835"/>
                    </a:cubicBezTo>
                    <a:cubicBezTo>
                      <a:pt x="115" y="1836"/>
                      <a:pt x="116" y="1830"/>
                      <a:pt x="115" y="1828"/>
                    </a:cubicBezTo>
                    <a:cubicBezTo>
                      <a:pt x="116" y="1826"/>
                      <a:pt x="121" y="1832"/>
                      <a:pt x="121" y="1825"/>
                    </a:cubicBezTo>
                    <a:lnTo>
                      <a:pt x="115" y="1824"/>
                    </a:lnTo>
                    <a:cubicBezTo>
                      <a:pt x="115" y="1822"/>
                      <a:pt x="119" y="1825"/>
                      <a:pt x="117" y="1820"/>
                    </a:cubicBezTo>
                    <a:cubicBezTo>
                      <a:pt x="120" y="1822"/>
                      <a:pt x="122" y="1818"/>
                      <a:pt x="124" y="1825"/>
                    </a:cubicBezTo>
                    <a:cubicBezTo>
                      <a:pt x="127" y="1816"/>
                      <a:pt x="119" y="1812"/>
                      <a:pt x="116" y="1806"/>
                    </a:cubicBezTo>
                    <a:cubicBezTo>
                      <a:pt x="116" y="1806"/>
                      <a:pt x="117" y="1806"/>
                      <a:pt x="118" y="1807"/>
                    </a:cubicBezTo>
                    <a:cubicBezTo>
                      <a:pt x="116" y="1806"/>
                      <a:pt x="116" y="1803"/>
                      <a:pt x="115" y="1801"/>
                    </a:cubicBezTo>
                    <a:cubicBezTo>
                      <a:pt x="116" y="1796"/>
                      <a:pt x="118" y="1804"/>
                      <a:pt x="120" y="1803"/>
                    </a:cubicBezTo>
                    <a:lnTo>
                      <a:pt x="119" y="1796"/>
                    </a:lnTo>
                    <a:cubicBezTo>
                      <a:pt x="119" y="1796"/>
                      <a:pt x="119" y="1795"/>
                      <a:pt x="119" y="1795"/>
                    </a:cubicBezTo>
                    <a:cubicBezTo>
                      <a:pt x="118" y="1794"/>
                      <a:pt x="117" y="1792"/>
                      <a:pt x="118" y="1791"/>
                    </a:cubicBezTo>
                    <a:cubicBezTo>
                      <a:pt x="121" y="1793"/>
                      <a:pt x="123" y="1794"/>
                      <a:pt x="124" y="1795"/>
                    </a:cubicBezTo>
                    <a:lnTo>
                      <a:pt x="119" y="1788"/>
                    </a:lnTo>
                    <a:cubicBezTo>
                      <a:pt x="121" y="1788"/>
                      <a:pt x="122" y="1781"/>
                      <a:pt x="124" y="1786"/>
                    </a:cubicBezTo>
                    <a:lnTo>
                      <a:pt x="122" y="1775"/>
                    </a:lnTo>
                    <a:lnTo>
                      <a:pt x="125" y="1774"/>
                    </a:lnTo>
                    <a:cubicBezTo>
                      <a:pt x="124" y="1771"/>
                      <a:pt x="124" y="1771"/>
                      <a:pt x="123" y="1774"/>
                    </a:cubicBezTo>
                    <a:cubicBezTo>
                      <a:pt x="124" y="1770"/>
                      <a:pt x="114" y="1758"/>
                      <a:pt x="122" y="1759"/>
                    </a:cubicBezTo>
                    <a:cubicBezTo>
                      <a:pt x="118" y="1750"/>
                      <a:pt x="119" y="1747"/>
                      <a:pt x="116" y="1737"/>
                    </a:cubicBezTo>
                    <a:cubicBezTo>
                      <a:pt x="120" y="1744"/>
                      <a:pt x="119" y="1727"/>
                      <a:pt x="122" y="1735"/>
                    </a:cubicBezTo>
                    <a:cubicBezTo>
                      <a:pt x="123" y="1730"/>
                      <a:pt x="118" y="1729"/>
                      <a:pt x="117" y="1725"/>
                    </a:cubicBezTo>
                    <a:cubicBezTo>
                      <a:pt x="118" y="1721"/>
                      <a:pt x="122" y="1722"/>
                      <a:pt x="124" y="1726"/>
                    </a:cubicBezTo>
                    <a:lnTo>
                      <a:pt x="122" y="1722"/>
                    </a:lnTo>
                    <a:lnTo>
                      <a:pt x="123" y="1722"/>
                    </a:lnTo>
                    <a:lnTo>
                      <a:pt x="120" y="1718"/>
                    </a:lnTo>
                    <a:cubicBezTo>
                      <a:pt x="122" y="1713"/>
                      <a:pt x="124" y="1716"/>
                      <a:pt x="124" y="1712"/>
                    </a:cubicBezTo>
                    <a:lnTo>
                      <a:pt x="120" y="1711"/>
                    </a:lnTo>
                    <a:lnTo>
                      <a:pt x="122" y="1708"/>
                    </a:lnTo>
                    <a:cubicBezTo>
                      <a:pt x="121" y="1709"/>
                      <a:pt x="119" y="1707"/>
                      <a:pt x="119" y="1703"/>
                    </a:cubicBezTo>
                    <a:lnTo>
                      <a:pt x="120" y="1703"/>
                    </a:lnTo>
                    <a:lnTo>
                      <a:pt x="118" y="1699"/>
                    </a:lnTo>
                    <a:cubicBezTo>
                      <a:pt x="121" y="1703"/>
                      <a:pt x="119" y="1696"/>
                      <a:pt x="121" y="1697"/>
                    </a:cubicBezTo>
                    <a:cubicBezTo>
                      <a:pt x="121" y="1694"/>
                      <a:pt x="121" y="1694"/>
                      <a:pt x="120" y="1687"/>
                    </a:cubicBezTo>
                    <a:lnTo>
                      <a:pt x="118" y="1689"/>
                    </a:lnTo>
                    <a:cubicBezTo>
                      <a:pt x="115" y="1681"/>
                      <a:pt x="121" y="1688"/>
                      <a:pt x="120" y="1681"/>
                    </a:cubicBezTo>
                    <a:lnTo>
                      <a:pt x="118" y="1682"/>
                    </a:lnTo>
                    <a:cubicBezTo>
                      <a:pt x="121" y="1672"/>
                      <a:pt x="113" y="1666"/>
                      <a:pt x="115" y="1659"/>
                    </a:cubicBezTo>
                    <a:cubicBezTo>
                      <a:pt x="117" y="1663"/>
                      <a:pt x="120" y="1661"/>
                      <a:pt x="119" y="1661"/>
                    </a:cubicBezTo>
                    <a:cubicBezTo>
                      <a:pt x="117" y="1656"/>
                      <a:pt x="117" y="1646"/>
                      <a:pt x="113" y="1640"/>
                    </a:cubicBezTo>
                    <a:cubicBezTo>
                      <a:pt x="116" y="1637"/>
                      <a:pt x="117" y="1636"/>
                      <a:pt x="119" y="1630"/>
                    </a:cubicBezTo>
                    <a:cubicBezTo>
                      <a:pt x="118" y="1625"/>
                      <a:pt x="117" y="1624"/>
                      <a:pt x="115" y="1623"/>
                    </a:cubicBezTo>
                    <a:cubicBezTo>
                      <a:pt x="116" y="1618"/>
                      <a:pt x="113" y="1610"/>
                      <a:pt x="116" y="1610"/>
                    </a:cubicBezTo>
                    <a:cubicBezTo>
                      <a:pt x="113" y="1609"/>
                      <a:pt x="116" y="1605"/>
                      <a:pt x="113" y="1603"/>
                    </a:cubicBezTo>
                    <a:lnTo>
                      <a:pt x="114" y="1602"/>
                    </a:lnTo>
                    <a:lnTo>
                      <a:pt x="112" y="1603"/>
                    </a:lnTo>
                    <a:cubicBezTo>
                      <a:pt x="117" y="1594"/>
                      <a:pt x="107" y="1590"/>
                      <a:pt x="111" y="1581"/>
                    </a:cubicBezTo>
                    <a:lnTo>
                      <a:pt x="112" y="1583"/>
                    </a:lnTo>
                    <a:lnTo>
                      <a:pt x="111" y="1579"/>
                    </a:lnTo>
                    <a:cubicBezTo>
                      <a:pt x="112" y="1579"/>
                      <a:pt x="113" y="1580"/>
                      <a:pt x="114" y="1580"/>
                    </a:cubicBezTo>
                    <a:lnTo>
                      <a:pt x="113" y="1564"/>
                    </a:lnTo>
                    <a:lnTo>
                      <a:pt x="111" y="1567"/>
                    </a:lnTo>
                    <a:cubicBezTo>
                      <a:pt x="111" y="1564"/>
                      <a:pt x="108" y="1562"/>
                      <a:pt x="109" y="1558"/>
                    </a:cubicBezTo>
                    <a:cubicBezTo>
                      <a:pt x="114" y="1564"/>
                      <a:pt x="109" y="1553"/>
                      <a:pt x="112" y="1551"/>
                    </a:cubicBezTo>
                    <a:lnTo>
                      <a:pt x="113" y="1555"/>
                    </a:lnTo>
                    <a:cubicBezTo>
                      <a:pt x="112" y="1550"/>
                      <a:pt x="112" y="1550"/>
                      <a:pt x="110" y="1551"/>
                    </a:cubicBezTo>
                    <a:cubicBezTo>
                      <a:pt x="108" y="1545"/>
                      <a:pt x="115" y="1546"/>
                      <a:pt x="111" y="1541"/>
                    </a:cubicBezTo>
                    <a:lnTo>
                      <a:pt x="111" y="1545"/>
                    </a:lnTo>
                    <a:cubicBezTo>
                      <a:pt x="110" y="1546"/>
                      <a:pt x="107" y="1543"/>
                      <a:pt x="107" y="1541"/>
                    </a:cubicBezTo>
                    <a:cubicBezTo>
                      <a:pt x="107" y="1540"/>
                      <a:pt x="109" y="1538"/>
                      <a:pt x="109" y="1540"/>
                    </a:cubicBezTo>
                    <a:cubicBezTo>
                      <a:pt x="108" y="1536"/>
                      <a:pt x="108" y="1528"/>
                      <a:pt x="107" y="1526"/>
                    </a:cubicBezTo>
                    <a:cubicBezTo>
                      <a:pt x="107" y="1524"/>
                      <a:pt x="109" y="1524"/>
                      <a:pt x="110" y="1526"/>
                    </a:cubicBezTo>
                    <a:cubicBezTo>
                      <a:pt x="107" y="1516"/>
                      <a:pt x="110" y="1521"/>
                      <a:pt x="107" y="1511"/>
                    </a:cubicBezTo>
                    <a:lnTo>
                      <a:pt x="109" y="1511"/>
                    </a:lnTo>
                    <a:lnTo>
                      <a:pt x="106" y="1508"/>
                    </a:lnTo>
                    <a:lnTo>
                      <a:pt x="109" y="1502"/>
                    </a:lnTo>
                    <a:lnTo>
                      <a:pt x="107" y="1504"/>
                    </a:lnTo>
                    <a:cubicBezTo>
                      <a:pt x="107" y="1501"/>
                      <a:pt x="105" y="1499"/>
                      <a:pt x="106" y="1495"/>
                    </a:cubicBezTo>
                    <a:lnTo>
                      <a:pt x="108" y="1496"/>
                    </a:lnTo>
                    <a:cubicBezTo>
                      <a:pt x="106" y="1487"/>
                      <a:pt x="111" y="1485"/>
                      <a:pt x="107" y="1476"/>
                    </a:cubicBezTo>
                    <a:cubicBezTo>
                      <a:pt x="107" y="1476"/>
                      <a:pt x="108" y="1477"/>
                      <a:pt x="109" y="1478"/>
                    </a:cubicBezTo>
                    <a:cubicBezTo>
                      <a:pt x="104" y="1470"/>
                      <a:pt x="112" y="1471"/>
                      <a:pt x="107" y="1463"/>
                    </a:cubicBezTo>
                    <a:cubicBezTo>
                      <a:pt x="108" y="1464"/>
                      <a:pt x="109" y="1463"/>
                      <a:pt x="109" y="1463"/>
                    </a:cubicBezTo>
                    <a:lnTo>
                      <a:pt x="108" y="1459"/>
                    </a:lnTo>
                    <a:lnTo>
                      <a:pt x="111" y="1459"/>
                    </a:lnTo>
                    <a:lnTo>
                      <a:pt x="106" y="1457"/>
                    </a:lnTo>
                    <a:lnTo>
                      <a:pt x="109" y="1454"/>
                    </a:lnTo>
                    <a:lnTo>
                      <a:pt x="107" y="1453"/>
                    </a:lnTo>
                    <a:cubicBezTo>
                      <a:pt x="113" y="1448"/>
                      <a:pt x="108" y="1443"/>
                      <a:pt x="112" y="1437"/>
                    </a:cubicBezTo>
                    <a:lnTo>
                      <a:pt x="108" y="1438"/>
                    </a:lnTo>
                    <a:cubicBezTo>
                      <a:pt x="98" y="1425"/>
                      <a:pt x="109" y="1406"/>
                      <a:pt x="104" y="1389"/>
                    </a:cubicBezTo>
                    <a:lnTo>
                      <a:pt x="107" y="1389"/>
                    </a:lnTo>
                    <a:lnTo>
                      <a:pt x="103" y="1382"/>
                    </a:lnTo>
                    <a:cubicBezTo>
                      <a:pt x="105" y="1378"/>
                      <a:pt x="106" y="1384"/>
                      <a:pt x="107" y="1383"/>
                    </a:cubicBezTo>
                    <a:cubicBezTo>
                      <a:pt x="105" y="1376"/>
                      <a:pt x="103" y="1380"/>
                      <a:pt x="101" y="1372"/>
                    </a:cubicBezTo>
                    <a:cubicBezTo>
                      <a:pt x="103" y="1367"/>
                      <a:pt x="103" y="1373"/>
                      <a:pt x="105" y="1375"/>
                    </a:cubicBezTo>
                    <a:cubicBezTo>
                      <a:pt x="102" y="1367"/>
                      <a:pt x="100" y="1355"/>
                      <a:pt x="101" y="1349"/>
                    </a:cubicBezTo>
                    <a:cubicBezTo>
                      <a:pt x="101" y="1349"/>
                      <a:pt x="100" y="1349"/>
                      <a:pt x="100" y="1349"/>
                    </a:cubicBezTo>
                    <a:cubicBezTo>
                      <a:pt x="98" y="1344"/>
                      <a:pt x="99" y="1337"/>
                      <a:pt x="98" y="1331"/>
                    </a:cubicBezTo>
                    <a:cubicBezTo>
                      <a:pt x="99" y="1331"/>
                      <a:pt x="100" y="1332"/>
                      <a:pt x="100" y="1334"/>
                    </a:cubicBezTo>
                    <a:cubicBezTo>
                      <a:pt x="100" y="1331"/>
                      <a:pt x="101" y="1328"/>
                      <a:pt x="99" y="1327"/>
                    </a:cubicBezTo>
                    <a:lnTo>
                      <a:pt x="102" y="1329"/>
                    </a:lnTo>
                    <a:cubicBezTo>
                      <a:pt x="102" y="1324"/>
                      <a:pt x="99" y="1315"/>
                      <a:pt x="102" y="1314"/>
                    </a:cubicBezTo>
                    <a:cubicBezTo>
                      <a:pt x="101" y="1315"/>
                      <a:pt x="99" y="1315"/>
                      <a:pt x="99" y="1311"/>
                    </a:cubicBezTo>
                    <a:cubicBezTo>
                      <a:pt x="103" y="1308"/>
                      <a:pt x="96" y="1300"/>
                      <a:pt x="98" y="1293"/>
                    </a:cubicBezTo>
                    <a:cubicBezTo>
                      <a:pt x="99" y="1294"/>
                      <a:pt x="100" y="1299"/>
                      <a:pt x="100" y="1297"/>
                    </a:cubicBezTo>
                    <a:cubicBezTo>
                      <a:pt x="101" y="1294"/>
                      <a:pt x="98" y="1291"/>
                      <a:pt x="97" y="1289"/>
                    </a:cubicBezTo>
                    <a:lnTo>
                      <a:pt x="99" y="1289"/>
                    </a:lnTo>
                    <a:lnTo>
                      <a:pt x="95" y="1275"/>
                    </a:lnTo>
                    <a:cubicBezTo>
                      <a:pt x="99" y="1272"/>
                      <a:pt x="93" y="1261"/>
                      <a:pt x="97" y="1262"/>
                    </a:cubicBezTo>
                    <a:cubicBezTo>
                      <a:pt x="96" y="1256"/>
                      <a:pt x="95" y="1266"/>
                      <a:pt x="94" y="1260"/>
                    </a:cubicBezTo>
                    <a:cubicBezTo>
                      <a:pt x="96" y="1258"/>
                      <a:pt x="92" y="1254"/>
                      <a:pt x="95" y="1254"/>
                    </a:cubicBezTo>
                    <a:lnTo>
                      <a:pt x="96" y="1254"/>
                    </a:lnTo>
                    <a:lnTo>
                      <a:pt x="95" y="1250"/>
                    </a:lnTo>
                    <a:lnTo>
                      <a:pt x="99" y="1252"/>
                    </a:lnTo>
                    <a:cubicBezTo>
                      <a:pt x="98" y="1248"/>
                      <a:pt x="94" y="1246"/>
                      <a:pt x="92" y="1246"/>
                    </a:cubicBezTo>
                    <a:cubicBezTo>
                      <a:pt x="93" y="1242"/>
                      <a:pt x="92" y="1236"/>
                      <a:pt x="94" y="1234"/>
                    </a:cubicBezTo>
                    <a:lnTo>
                      <a:pt x="95" y="1236"/>
                    </a:lnTo>
                    <a:cubicBezTo>
                      <a:pt x="93" y="1225"/>
                      <a:pt x="102" y="1217"/>
                      <a:pt x="97" y="1209"/>
                    </a:cubicBezTo>
                    <a:cubicBezTo>
                      <a:pt x="97" y="1209"/>
                      <a:pt x="98" y="1209"/>
                      <a:pt x="98" y="1210"/>
                    </a:cubicBezTo>
                    <a:lnTo>
                      <a:pt x="97" y="1203"/>
                    </a:lnTo>
                    <a:lnTo>
                      <a:pt x="100" y="1205"/>
                    </a:lnTo>
                    <a:lnTo>
                      <a:pt x="96" y="1194"/>
                    </a:lnTo>
                    <a:lnTo>
                      <a:pt x="97" y="1194"/>
                    </a:lnTo>
                    <a:cubicBezTo>
                      <a:pt x="97" y="1187"/>
                      <a:pt x="96" y="1175"/>
                      <a:pt x="95" y="1166"/>
                    </a:cubicBezTo>
                    <a:lnTo>
                      <a:pt x="96" y="1168"/>
                    </a:lnTo>
                    <a:cubicBezTo>
                      <a:pt x="93" y="1157"/>
                      <a:pt x="96" y="1158"/>
                      <a:pt x="94" y="1150"/>
                    </a:cubicBezTo>
                    <a:cubicBezTo>
                      <a:pt x="95" y="1150"/>
                      <a:pt x="95" y="1151"/>
                      <a:pt x="95" y="1151"/>
                    </a:cubicBezTo>
                    <a:lnTo>
                      <a:pt x="94" y="1144"/>
                    </a:lnTo>
                    <a:lnTo>
                      <a:pt x="96" y="1146"/>
                    </a:lnTo>
                    <a:cubicBezTo>
                      <a:pt x="92" y="1141"/>
                      <a:pt x="99" y="1131"/>
                      <a:pt x="97" y="1134"/>
                    </a:cubicBezTo>
                    <a:cubicBezTo>
                      <a:pt x="95" y="1132"/>
                      <a:pt x="93" y="1127"/>
                      <a:pt x="91" y="1126"/>
                    </a:cubicBezTo>
                    <a:cubicBezTo>
                      <a:pt x="91" y="1119"/>
                      <a:pt x="93" y="1124"/>
                      <a:pt x="94" y="1120"/>
                    </a:cubicBezTo>
                    <a:cubicBezTo>
                      <a:pt x="94" y="1114"/>
                      <a:pt x="91" y="1114"/>
                      <a:pt x="92" y="1106"/>
                    </a:cubicBezTo>
                    <a:lnTo>
                      <a:pt x="94" y="1107"/>
                    </a:lnTo>
                    <a:cubicBezTo>
                      <a:pt x="93" y="1103"/>
                      <a:pt x="92" y="1101"/>
                      <a:pt x="92" y="1097"/>
                    </a:cubicBezTo>
                    <a:lnTo>
                      <a:pt x="93" y="1098"/>
                    </a:lnTo>
                    <a:cubicBezTo>
                      <a:pt x="89" y="1090"/>
                      <a:pt x="97" y="1088"/>
                      <a:pt x="90" y="1082"/>
                    </a:cubicBezTo>
                    <a:cubicBezTo>
                      <a:pt x="91" y="1079"/>
                      <a:pt x="89" y="1073"/>
                      <a:pt x="92" y="1073"/>
                    </a:cubicBezTo>
                    <a:cubicBezTo>
                      <a:pt x="90" y="1064"/>
                      <a:pt x="89" y="1057"/>
                      <a:pt x="87" y="1047"/>
                    </a:cubicBezTo>
                    <a:cubicBezTo>
                      <a:pt x="92" y="1046"/>
                      <a:pt x="86" y="1045"/>
                      <a:pt x="89" y="1039"/>
                    </a:cubicBezTo>
                    <a:lnTo>
                      <a:pt x="86" y="1040"/>
                    </a:lnTo>
                    <a:cubicBezTo>
                      <a:pt x="85" y="1027"/>
                      <a:pt x="92" y="1011"/>
                      <a:pt x="90" y="996"/>
                    </a:cubicBezTo>
                    <a:lnTo>
                      <a:pt x="93" y="996"/>
                    </a:lnTo>
                    <a:lnTo>
                      <a:pt x="89" y="993"/>
                    </a:lnTo>
                    <a:cubicBezTo>
                      <a:pt x="90" y="977"/>
                      <a:pt x="90" y="957"/>
                      <a:pt x="90" y="944"/>
                    </a:cubicBezTo>
                    <a:cubicBezTo>
                      <a:pt x="88" y="940"/>
                      <a:pt x="85" y="934"/>
                      <a:pt x="85" y="927"/>
                    </a:cubicBezTo>
                    <a:lnTo>
                      <a:pt x="86" y="928"/>
                    </a:lnTo>
                    <a:cubicBezTo>
                      <a:pt x="84" y="917"/>
                      <a:pt x="83" y="905"/>
                      <a:pt x="84" y="892"/>
                    </a:cubicBezTo>
                    <a:cubicBezTo>
                      <a:pt x="85" y="893"/>
                      <a:pt x="86" y="892"/>
                      <a:pt x="87" y="893"/>
                    </a:cubicBezTo>
                    <a:cubicBezTo>
                      <a:pt x="83" y="890"/>
                      <a:pt x="86" y="886"/>
                      <a:pt x="86" y="883"/>
                    </a:cubicBezTo>
                    <a:lnTo>
                      <a:pt x="84" y="886"/>
                    </a:lnTo>
                    <a:cubicBezTo>
                      <a:pt x="82" y="883"/>
                      <a:pt x="84" y="877"/>
                      <a:pt x="86" y="876"/>
                    </a:cubicBezTo>
                    <a:lnTo>
                      <a:pt x="83" y="870"/>
                    </a:lnTo>
                    <a:cubicBezTo>
                      <a:pt x="83" y="870"/>
                      <a:pt x="83" y="869"/>
                      <a:pt x="84" y="869"/>
                    </a:cubicBezTo>
                    <a:lnTo>
                      <a:pt x="82" y="868"/>
                    </a:lnTo>
                    <a:lnTo>
                      <a:pt x="86" y="865"/>
                    </a:lnTo>
                    <a:cubicBezTo>
                      <a:pt x="85" y="864"/>
                      <a:pt x="84" y="856"/>
                      <a:pt x="81" y="854"/>
                    </a:cubicBezTo>
                    <a:cubicBezTo>
                      <a:pt x="82" y="853"/>
                      <a:pt x="83" y="848"/>
                      <a:pt x="83" y="852"/>
                    </a:cubicBezTo>
                    <a:lnTo>
                      <a:pt x="84" y="832"/>
                    </a:lnTo>
                    <a:lnTo>
                      <a:pt x="83" y="835"/>
                    </a:lnTo>
                    <a:cubicBezTo>
                      <a:pt x="80" y="835"/>
                      <a:pt x="78" y="829"/>
                      <a:pt x="79" y="826"/>
                    </a:cubicBezTo>
                    <a:cubicBezTo>
                      <a:pt x="82" y="830"/>
                      <a:pt x="83" y="826"/>
                      <a:pt x="85" y="825"/>
                    </a:cubicBezTo>
                    <a:cubicBezTo>
                      <a:pt x="84" y="822"/>
                      <a:pt x="83" y="827"/>
                      <a:pt x="81" y="826"/>
                    </a:cubicBezTo>
                    <a:cubicBezTo>
                      <a:pt x="79" y="822"/>
                      <a:pt x="78" y="815"/>
                      <a:pt x="80" y="813"/>
                    </a:cubicBezTo>
                    <a:lnTo>
                      <a:pt x="81" y="815"/>
                    </a:lnTo>
                    <a:cubicBezTo>
                      <a:pt x="80" y="810"/>
                      <a:pt x="84" y="808"/>
                      <a:pt x="84" y="803"/>
                    </a:cubicBezTo>
                    <a:cubicBezTo>
                      <a:pt x="82" y="799"/>
                      <a:pt x="84" y="796"/>
                      <a:pt x="79" y="797"/>
                    </a:cubicBezTo>
                    <a:cubicBezTo>
                      <a:pt x="78" y="791"/>
                      <a:pt x="82" y="794"/>
                      <a:pt x="83" y="792"/>
                    </a:cubicBezTo>
                    <a:cubicBezTo>
                      <a:pt x="80" y="790"/>
                      <a:pt x="82" y="781"/>
                      <a:pt x="84" y="780"/>
                    </a:cubicBezTo>
                    <a:cubicBezTo>
                      <a:pt x="77" y="777"/>
                      <a:pt x="87" y="764"/>
                      <a:pt x="81" y="762"/>
                    </a:cubicBezTo>
                    <a:lnTo>
                      <a:pt x="84" y="757"/>
                    </a:lnTo>
                    <a:cubicBezTo>
                      <a:pt x="82" y="757"/>
                      <a:pt x="79" y="756"/>
                      <a:pt x="78" y="752"/>
                    </a:cubicBezTo>
                    <a:cubicBezTo>
                      <a:pt x="80" y="748"/>
                      <a:pt x="83" y="749"/>
                      <a:pt x="84" y="748"/>
                    </a:cubicBezTo>
                    <a:lnTo>
                      <a:pt x="78" y="746"/>
                    </a:lnTo>
                    <a:cubicBezTo>
                      <a:pt x="84" y="724"/>
                      <a:pt x="80" y="695"/>
                      <a:pt x="86" y="670"/>
                    </a:cubicBezTo>
                    <a:cubicBezTo>
                      <a:pt x="85" y="660"/>
                      <a:pt x="82" y="646"/>
                      <a:pt x="83" y="633"/>
                    </a:cubicBezTo>
                    <a:lnTo>
                      <a:pt x="84" y="635"/>
                    </a:lnTo>
                    <a:lnTo>
                      <a:pt x="85" y="622"/>
                    </a:lnTo>
                    <a:lnTo>
                      <a:pt x="83" y="631"/>
                    </a:lnTo>
                    <a:cubicBezTo>
                      <a:pt x="82" y="629"/>
                      <a:pt x="81" y="627"/>
                      <a:pt x="81" y="624"/>
                    </a:cubicBezTo>
                    <a:cubicBezTo>
                      <a:pt x="83" y="610"/>
                      <a:pt x="86" y="592"/>
                      <a:pt x="84" y="575"/>
                    </a:cubicBezTo>
                    <a:cubicBezTo>
                      <a:pt x="77" y="564"/>
                      <a:pt x="90" y="568"/>
                      <a:pt x="85" y="557"/>
                    </a:cubicBezTo>
                    <a:cubicBezTo>
                      <a:pt x="85" y="558"/>
                      <a:pt x="86" y="558"/>
                      <a:pt x="87" y="559"/>
                    </a:cubicBezTo>
                    <a:cubicBezTo>
                      <a:pt x="85" y="548"/>
                      <a:pt x="84" y="542"/>
                      <a:pt x="80" y="530"/>
                    </a:cubicBezTo>
                    <a:cubicBezTo>
                      <a:pt x="87" y="532"/>
                      <a:pt x="80" y="523"/>
                      <a:pt x="83" y="524"/>
                    </a:cubicBezTo>
                    <a:lnTo>
                      <a:pt x="81" y="523"/>
                    </a:lnTo>
                    <a:cubicBezTo>
                      <a:pt x="82" y="521"/>
                      <a:pt x="83" y="515"/>
                      <a:pt x="85" y="516"/>
                    </a:cubicBezTo>
                    <a:lnTo>
                      <a:pt x="82" y="511"/>
                    </a:lnTo>
                    <a:lnTo>
                      <a:pt x="84" y="510"/>
                    </a:lnTo>
                    <a:cubicBezTo>
                      <a:pt x="85" y="503"/>
                      <a:pt x="82" y="489"/>
                      <a:pt x="88" y="486"/>
                    </a:cubicBezTo>
                    <a:cubicBezTo>
                      <a:pt x="84" y="469"/>
                      <a:pt x="85" y="443"/>
                      <a:pt x="87" y="423"/>
                    </a:cubicBezTo>
                    <a:cubicBezTo>
                      <a:pt x="85" y="420"/>
                      <a:pt x="84" y="414"/>
                      <a:pt x="84" y="409"/>
                    </a:cubicBezTo>
                    <a:lnTo>
                      <a:pt x="87" y="404"/>
                    </a:lnTo>
                    <a:cubicBezTo>
                      <a:pt x="87" y="400"/>
                      <a:pt x="82" y="394"/>
                      <a:pt x="85" y="390"/>
                    </a:cubicBezTo>
                    <a:cubicBezTo>
                      <a:pt x="85" y="390"/>
                      <a:pt x="85" y="390"/>
                      <a:pt x="85" y="391"/>
                    </a:cubicBezTo>
                    <a:cubicBezTo>
                      <a:pt x="85" y="386"/>
                      <a:pt x="87" y="381"/>
                      <a:pt x="84" y="376"/>
                    </a:cubicBezTo>
                    <a:cubicBezTo>
                      <a:pt x="84" y="371"/>
                      <a:pt x="86" y="366"/>
                      <a:pt x="89" y="368"/>
                    </a:cubicBezTo>
                    <a:cubicBezTo>
                      <a:pt x="83" y="367"/>
                      <a:pt x="89" y="356"/>
                      <a:pt x="89" y="356"/>
                    </a:cubicBezTo>
                    <a:cubicBezTo>
                      <a:pt x="89" y="356"/>
                      <a:pt x="105" y="84"/>
                      <a:pt x="76" y="16"/>
                    </a:cubicBezTo>
                    <a:cubicBezTo>
                      <a:pt x="73" y="14"/>
                      <a:pt x="71" y="8"/>
                      <a:pt x="68" y="10"/>
                    </a:cubicBezTo>
                    <a:cubicBezTo>
                      <a:pt x="67" y="6"/>
                      <a:pt x="72" y="3"/>
                      <a:pt x="69" y="2"/>
                    </a:cubicBezTo>
                    <a:cubicBezTo>
                      <a:pt x="68" y="9"/>
                      <a:pt x="62" y="0"/>
                      <a:pt x="59" y="7"/>
                    </a:cubicBezTo>
                    <a:lnTo>
                      <a:pt x="58" y="2"/>
                    </a:lnTo>
                    <a:cubicBezTo>
                      <a:pt x="57" y="2"/>
                      <a:pt x="61" y="8"/>
                      <a:pt x="57" y="7"/>
                    </a:cubicBezTo>
                    <a:lnTo>
                      <a:pt x="62" y="8"/>
                    </a:lnTo>
                    <a:cubicBezTo>
                      <a:pt x="61" y="12"/>
                      <a:pt x="60" y="13"/>
                      <a:pt x="59" y="14"/>
                    </a:cubicBezTo>
                    <a:cubicBezTo>
                      <a:pt x="60" y="18"/>
                      <a:pt x="67" y="20"/>
                      <a:pt x="64" y="27"/>
                    </a:cubicBezTo>
                    <a:lnTo>
                      <a:pt x="64" y="25"/>
                    </a:lnTo>
                    <a:cubicBezTo>
                      <a:pt x="64" y="31"/>
                      <a:pt x="61" y="29"/>
                      <a:pt x="60" y="30"/>
                    </a:cubicBezTo>
                    <a:lnTo>
                      <a:pt x="60" y="29"/>
                    </a:lnTo>
                    <a:lnTo>
                      <a:pt x="57" y="34"/>
                    </a:lnTo>
                    <a:cubicBezTo>
                      <a:pt x="59" y="30"/>
                      <a:pt x="55" y="23"/>
                      <a:pt x="55" y="27"/>
                    </a:cubicBezTo>
                    <a:cubicBezTo>
                      <a:pt x="54" y="34"/>
                      <a:pt x="57" y="25"/>
                      <a:pt x="57" y="30"/>
                    </a:cubicBezTo>
                    <a:cubicBezTo>
                      <a:pt x="57" y="34"/>
                      <a:pt x="55" y="33"/>
                      <a:pt x="53" y="33"/>
                    </a:cubicBezTo>
                    <a:lnTo>
                      <a:pt x="53" y="39"/>
                    </a:lnTo>
                    <a:cubicBezTo>
                      <a:pt x="51" y="38"/>
                      <a:pt x="53" y="35"/>
                      <a:pt x="51" y="37"/>
                    </a:cubicBezTo>
                    <a:lnTo>
                      <a:pt x="53" y="45"/>
                    </a:lnTo>
                    <a:cubicBezTo>
                      <a:pt x="48" y="46"/>
                      <a:pt x="56" y="53"/>
                      <a:pt x="51" y="56"/>
                    </a:cubicBezTo>
                    <a:cubicBezTo>
                      <a:pt x="49" y="51"/>
                      <a:pt x="49" y="57"/>
                      <a:pt x="47" y="56"/>
                    </a:cubicBezTo>
                    <a:lnTo>
                      <a:pt x="47" y="69"/>
                    </a:lnTo>
                    <a:cubicBezTo>
                      <a:pt x="46" y="71"/>
                      <a:pt x="45" y="66"/>
                      <a:pt x="45" y="68"/>
                    </a:cubicBezTo>
                    <a:cubicBezTo>
                      <a:pt x="44" y="70"/>
                      <a:pt x="47" y="72"/>
                      <a:pt x="47" y="73"/>
                    </a:cubicBezTo>
                    <a:cubicBezTo>
                      <a:pt x="45" y="74"/>
                      <a:pt x="47" y="83"/>
                      <a:pt x="43" y="83"/>
                    </a:cubicBezTo>
                    <a:cubicBezTo>
                      <a:pt x="40" y="92"/>
                      <a:pt x="48" y="87"/>
                      <a:pt x="46" y="95"/>
                    </a:cubicBezTo>
                    <a:cubicBezTo>
                      <a:pt x="43" y="96"/>
                      <a:pt x="45" y="88"/>
                      <a:pt x="43" y="92"/>
                    </a:cubicBezTo>
                    <a:lnTo>
                      <a:pt x="43" y="101"/>
                    </a:lnTo>
                    <a:cubicBezTo>
                      <a:pt x="42" y="100"/>
                      <a:pt x="40" y="99"/>
                      <a:pt x="40" y="96"/>
                    </a:cubicBezTo>
                    <a:cubicBezTo>
                      <a:pt x="37" y="120"/>
                      <a:pt x="24" y="132"/>
                      <a:pt x="27" y="154"/>
                    </a:cubicBezTo>
                    <a:cubicBezTo>
                      <a:pt x="24" y="157"/>
                      <a:pt x="25" y="152"/>
                      <a:pt x="24" y="150"/>
                    </a:cubicBezTo>
                    <a:cubicBezTo>
                      <a:pt x="27" y="165"/>
                      <a:pt x="17" y="172"/>
                      <a:pt x="17" y="185"/>
                    </a:cubicBezTo>
                    <a:lnTo>
                      <a:pt x="20" y="185"/>
                    </a:lnTo>
                    <a:cubicBezTo>
                      <a:pt x="12" y="204"/>
                      <a:pt x="17" y="226"/>
                      <a:pt x="13" y="247"/>
                    </a:cubicBezTo>
                    <a:lnTo>
                      <a:pt x="15" y="245"/>
                    </a:lnTo>
                    <a:cubicBezTo>
                      <a:pt x="17" y="248"/>
                      <a:pt x="17" y="253"/>
                      <a:pt x="18" y="256"/>
                    </a:cubicBezTo>
                    <a:cubicBezTo>
                      <a:pt x="17" y="257"/>
                      <a:pt x="14" y="253"/>
                      <a:pt x="14" y="260"/>
                    </a:cubicBezTo>
                    <a:cubicBezTo>
                      <a:pt x="15" y="258"/>
                      <a:pt x="16" y="256"/>
                      <a:pt x="17" y="257"/>
                    </a:cubicBezTo>
                    <a:cubicBezTo>
                      <a:pt x="11" y="275"/>
                      <a:pt x="12" y="313"/>
                      <a:pt x="9" y="343"/>
                    </a:cubicBezTo>
                    <a:cubicBezTo>
                      <a:pt x="11" y="383"/>
                      <a:pt x="6" y="427"/>
                      <a:pt x="7" y="466"/>
                    </a:cubicBezTo>
                    <a:cubicBezTo>
                      <a:pt x="7" y="460"/>
                      <a:pt x="12" y="463"/>
                      <a:pt x="11" y="467"/>
                    </a:cubicBezTo>
                    <a:cubicBezTo>
                      <a:pt x="1" y="480"/>
                      <a:pt x="13" y="489"/>
                      <a:pt x="6" y="501"/>
                    </a:cubicBezTo>
                    <a:cubicBezTo>
                      <a:pt x="9" y="524"/>
                      <a:pt x="0" y="545"/>
                      <a:pt x="7" y="566"/>
                    </a:cubicBezTo>
                    <a:lnTo>
                      <a:pt x="5" y="567"/>
                    </a:lnTo>
                    <a:cubicBezTo>
                      <a:pt x="3" y="570"/>
                      <a:pt x="5" y="571"/>
                      <a:pt x="6" y="574"/>
                    </a:cubicBezTo>
                    <a:lnTo>
                      <a:pt x="5" y="574"/>
                    </a:lnTo>
                    <a:cubicBezTo>
                      <a:pt x="4" y="582"/>
                      <a:pt x="6" y="592"/>
                      <a:pt x="5" y="596"/>
                    </a:cubicBezTo>
                    <a:lnTo>
                      <a:pt x="8" y="597"/>
                    </a:lnTo>
                    <a:cubicBezTo>
                      <a:pt x="8" y="601"/>
                      <a:pt x="6" y="599"/>
                      <a:pt x="8" y="604"/>
                    </a:cubicBezTo>
                    <a:lnTo>
                      <a:pt x="6" y="604"/>
                    </a:lnTo>
                    <a:lnTo>
                      <a:pt x="9" y="609"/>
                    </a:lnTo>
                    <a:cubicBezTo>
                      <a:pt x="3" y="609"/>
                      <a:pt x="8" y="623"/>
                      <a:pt x="6" y="627"/>
                    </a:cubicBezTo>
                    <a:cubicBezTo>
                      <a:pt x="7" y="633"/>
                      <a:pt x="9" y="644"/>
                      <a:pt x="8" y="653"/>
                    </a:cubicBezTo>
                    <a:cubicBezTo>
                      <a:pt x="5" y="655"/>
                      <a:pt x="5" y="667"/>
                      <a:pt x="4" y="674"/>
                    </a:cubicBezTo>
                    <a:cubicBezTo>
                      <a:pt x="4" y="688"/>
                      <a:pt x="5" y="708"/>
                      <a:pt x="4" y="726"/>
                    </a:cubicBezTo>
                    <a:lnTo>
                      <a:pt x="7" y="726"/>
                    </a:lnTo>
                    <a:lnTo>
                      <a:pt x="8" y="730"/>
                    </a:lnTo>
                    <a:cubicBezTo>
                      <a:pt x="7" y="730"/>
                      <a:pt x="7" y="731"/>
                      <a:pt x="6" y="730"/>
                    </a:cubicBezTo>
                    <a:cubicBezTo>
                      <a:pt x="2" y="734"/>
                      <a:pt x="7" y="741"/>
                      <a:pt x="5" y="745"/>
                    </a:cubicBezTo>
                    <a:cubicBezTo>
                      <a:pt x="8" y="743"/>
                      <a:pt x="6" y="742"/>
                      <a:pt x="6" y="739"/>
                    </a:cubicBezTo>
                    <a:cubicBezTo>
                      <a:pt x="7" y="735"/>
                      <a:pt x="11" y="739"/>
                      <a:pt x="9" y="744"/>
                    </a:cubicBezTo>
                    <a:lnTo>
                      <a:pt x="8" y="744"/>
                    </a:lnTo>
                    <a:lnTo>
                      <a:pt x="10" y="747"/>
                    </a:lnTo>
                    <a:cubicBezTo>
                      <a:pt x="7" y="748"/>
                      <a:pt x="6" y="751"/>
                      <a:pt x="3" y="751"/>
                    </a:cubicBezTo>
                    <a:cubicBezTo>
                      <a:pt x="4" y="767"/>
                      <a:pt x="9" y="778"/>
                      <a:pt x="8" y="794"/>
                    </a:cubicBezTo>
                    <a:cubicBezTo>
                      <a:pt x="5" y="792"/>
                      <a:pt x="9" y="805"/>
                      <a:pt x="3" y="802"/>
                    </a:cubicBezTo>
                    <a:cubicBezTo>
                      <a:pt x="5" y="811"/>
                      <a:pt x="8" y="800"/>
                      <a:pt x="11" y="805"/>
                    </a:cubicBezTo>
                    <a:cubicBezTo>
                      <a:pt x="11" y="807"/>
                      <a:pt x="13" y="810"/>
                      <a:pt x="11" y="811"/>
                    </a:cubicBezTo>
                    <a:cubicBezTo>
                      <a:pt x="10" y="809"/>
                      <a:pt x="8" y="813"/>
                      <a:pt x="7" y="811"/>
                    </a:cubicBezTo>
                    <a:lnTo>
                      <a:pt x="8" y="817"/>
                    </a:lnTo>
                    <a:cubicBezTo>
                      <a:pt x="7" y="818"/>
                      <a:pt x="6" y="816"/>
                      <a:pt x="6" y="816"/>
                    </a:cubicBezTo>
                    <a:cubicBezTo>
                      <a:pt x="9" y="829"/>
                      <a:pt x="3" y="839"/>
                      <a:pt x="6" y="850"/>
                    </a:cubicBezTo>
                    <a:cubicBezTo>
                      <a:pt x="8" y="851"/>
                      <a:pt x="7" y="846"/>
                      <a:pt x="9" y="847"/>
                    </a:cubicBezTo>
                    <a:cubicBezTo>
                      <a:pt x="13" y="858"/>
                      <a:pt x="6" y="857"/>
                      <a:pt x="9" y="868"/>
                    </a:cubicBezTo>
                    <a:lnTo>
                      <a:pt x="6" y="866"/>
                    </a:lnTo>
                    <a:cubicBezTo>
                      <a:pt x="8" y="869"/>
                      <a:pt x="10" y="871"/>
                      <a:pt x="8" y="877"/>
                    </a:cubicBezTo>
                    <a:cubicBezTo>
                      <a:pt x="5" y="878"/>
                      <a:pt x="6" y="872"/>
                      <a:pt x="4" y="869"/>
                    </a:cubicBezTo>
                    <a:cubicBezTo>
                      <a:pt x="4" y="873"/>
                      <a:pt x="5" y="883"/>
                      <a:pt x="8" y="880"/>
                    </a:cubicBezTo>
                    <a:cubicBezTo>
                      <a:pt x="9" y="885"/>
                      <a:pt x="6" y="887"/>
                      <a:pt x="5" y="889"/>
                    </a:cubicBezTo>
                    <a:cubicBezTo>
                      <a:pt x="6" y="889"/>
                      <a:pt x="7" y="885"/>
                      <a:pt x="9" y="887"/>
                    </a:cubicBezTo>
                    <a:cubicBezTo>
                      <a:pt x="7" y="894"/>
                      <a:pt x="8" y="904"/>
                      <a:pt x="8" y="912"/>
                    </a:cubicBezTo>
                    <a:cubicBezTo>
                      <a:pt x="7" y="912"/>
                      <a:pt x="6" y="913"/>
                      <a:pt x="5" y="912"/>
                    </a:cubicBezTo>
                    <a:cubicBezTo>
                      <a:pt x="9" y="918"/>
                      <a:pt x="2" y="918"/>
                      <a:pt x="4" y="927"/>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6" name="Freeform 2480"/>
              <p:cNvSpPr>
                <a:spLocks/>
              </p:cNvSpPr>
              <p:nvPr/>
            </p:nvSpPr>
            <p:spPr bwMode="auto">
              <a:xfrm>
                <a:off x="4495801" y="4364038"/>
                <a:ext cx="1588" cy="1588"/>
              </a:xfrm>
              <a:custGeom>
                <a:avLst/>
                <a:gdLst>
                  <a:gd name="T0" fmla="*/ 3 w 3"/>
                  <a:gd name="T1" fmla="*/ 5 h 5"/>
                  <a:gd name="T2" fmla="*/ 3 w 3"/>
                  <a:gd name="T3" fmla="*/ 5 h 5"/>
                  <a:gd name="T4" fmla="*/ 3 w 3"/>
                  <a:gd name="T5" fmla="*/ 2 h 5"/>
                  <a:gd name="T6" fmla="*/ 0 w 3"/>
                  <a:gd name="T7" fmla="*/ 0 h 5"/>
                  <a:gd name="T8" fmla="*/ 3 w 3"/>
                  <a:gd name="T9" fmla="*/ 5 h 5"/>
                </a:gdLst>
                <a:ahLst/>
                <a:cxnLst>
                  <a:cxn ang="0">
                    <a:pos x="T0" y="T1"/>
                  </a:cxn>
                  <a:cxn ang="0">
                    <a:pos x="T2" y="T3"/>
                  </a:cxn>
                  <a:cxn ang="0">
                    <a:pos x="T4" y="T5"/>
                  </a:cxn>
                  <a:cxn ang="0">
                    <a:pos x="T6" y="T7"/>
                  </a:cxn>
                  <a:cxn ang="0">
                    <a:pos x="T8" y="T9"/>
                  </a:cxn>
                </a:cxnLst>
                <a:rect l="0" t="0" r="r" b="b"/>
                <a:pathLst>
                  <a:path w="3" h="5">
                    <a:moveTo>
                      <a:pt x="3" y="5"/>
                    </a:moveTo>
                    <a:lnTo>
                      <a:pt x="3" y="5"/>
                    </a:lnTo>
                    <a:lnTo>
                      <a:pt x="3" y="2"/>
                    </a:lnTo>
                    <a:cubicBezTo>
                      <a:pt x="2" y="2"/>
                      <a:pt x="1" y="2"/>
                      <a:pt x="0" y="0"/>
                    </a:cubicBezTo>
                    <a:lnTo>
                      <a:pt x="3" y="5"/>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7" name="Freeform 2481"/>
              <p:cNvSpPr>
                <a:spLocks/>
              </p:cNvSpPr>
              <p:nvPr/>
            </p:nvSpPr>
            <p:spPr bwMode="auto">
              <a:xfrm>
                <a:off x="4494213" y="4316413"/>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1" y="1"/>
                      <a:pt x="0" y="0"/>
                    </a:cubicBezTo>
                    <a:cubicBezTo>
                      <a:pt x="1" y="1"/>
                      <a:pt x="1" y="1"/>
                      <a:pt x="1"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8" name="Freeform 2482"/>
              <p:cNvSpPr>
                <a:spLocks/>
              </p:cNvSpPr>
              <p:nvPr/>
            </p:nvSpPr>
            <p:spPr bwMode="auto">
              <a:xfrm>
                <a:off x="4491038" y="4305301"/>
                <a:ext cx="1588" cy="1588"/>
              </a:xfrm>
              <a:custGeom>
                <a:avLst/>
                <a:gdLst>
                  <a:gd name="T0" fmla="*/ 0 w 3"/>
                  <a:gd name="T1" fmla="*/ 1 h 3"/>
                  <a:gd name="T2" fmla="*/ 0 w 3"/>
                  <a:gd name="T3" fmla="*/ 1 h 3"/>
                  <a:gd name="T4" fmla="*/ 3 w 3"/>
                  <a:gd name="T5" fmla="*/ 0 h 3"/>
                  <a:gd name="T6" fmla="*/ 0 w 3"/>
                  <a:gd name="T7" fmla="*/ 1 h 3"/>
                </a:gdLst>
                <a:ahLst/>
                <a:cxnLst>
                  <a:cxn ang="0">
                    <a:pos x="T0" y="T1"/>
                  </a:cxn>
                  <a:cxn ang="0">
                    <a:pos x="T2" y="T3"/>
                  </a:cxn>
                  <a:cxn ang="0">
                    <a:pos x="T4" y="T5"/>
                  </a:cxn>
                  <a:cxn ang="0">
                    <a:pos x="T6" y="T7"/>
                  </a:cxn>
                </a:cxnLst>
                <a:rect l="0" t="0" r="r" b="b"/>
                <a:pathLst>
                  <a:path w="3" h="3">
                    <a:moveTo>
                      <a:pt x="0" y="1"/>
                    </a:moveTo>
                    <a:lnTo>
                      <a:pt x="0" y="1"/>
                    </a:lnTo>
                    <a:cubicBezTo>
                      <a:pt x="1" y="3"/>
                      <a:pt x="2" y="1"/>
                      <a:pt x="3" y="0"/>
                    </a:cubicBezTo>
                    <a:cubicBezTo>
                      <a:pt x="2" y="0"/>
                      <a:pt x="1"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9" name="Freeform 2483"/>
              <p:cNvSpPr>
                <a:spLocks/>
              </p:cNvSpPr>
              <p:nvPr/>
            </p:nvSpPr>
            <p:spPr bwMode="auto">
              <a:xfrm>
                <a:off x="4502151" y="4391026"/>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1" y="0"/>
                      <a:pt x="0" y="0"/>
                    </a:cubicBezTo>
                    <a:cubicBezTo>
                      <a:pt x="1" y="1"/>
                      <a:pt x="1" y="1"/>
                      <a:pt x="1"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0" name="Freeform 2484"/>
              <p:cNvSpPr>
                <a:spLocks/>
              </p:cNvSpPr>
              <p:nvPr/>
            </p:nvSpPr>
            <p:spPr bwMode="auto">
              <a:xfrm>
                <a:off x="4508501" y="446563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0"/>
                    </a:cubicBezTo>
                    <a:cubicBezTo>
                      <a:pt x="0" y="1"/>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1" name="Freeform 2485"/>
              <p:cNvSpPr>
                <a:spLocks/>
              </p:cNvSpPr>
              <p:nvPr/>
            </p:nvSpPr>
            <p:spPr bwMode="auto">
              <a:xfrm>
                <a:off x="4510088" y="4460876"/>
                <a:ext cx="0" cy="1588"/>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cubicBezTo>
                      <a:pt x="0" y="2"/>
                      <a:pt x="0" y="1"/>
                      <a:pt x="0" y="0"/>
                    </a:cubicBezTo>
                    <a:cubicBezTo>
                      <a:pt x="0" y="1"/>
                      <a:pt x="0" y="2"/>
                      <a:pt x="0" y="3"/>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2" name="Freeform 2486"/>
              <p:cNvSpPr>
                <a:spLocks/>
              </p:cNvSpPr>
              <p:nvPr/>
            </p:nvSpPr>
            <p:spPr bwMode="auto">
              <a:xfrm>
                <a:off x="4498976" y="4371976"/>
                <a:ext cx="1588" cy="158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1" y="2"/>
                      <a:pt x="1" y="1"/>
                      <a:pt x="0" y="0"/>
                    </a:cubicBezTo>
                    <a:cubicBezTo>
                      <a:pt x="0" y="2"/>
                      <a:pt x="1" y="2"/>
                      <a:pt x="1" y="3"/>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3" name="Freeform 2487"/>
              <p:cNvSpPr>
                <a:spLocks/>
              </p:cNvSpPr>
              <p:nvPr/>
            </p:nvSpPr>
            <p:spPr bwMode="auto">
              <a:xfrm>
                <a:off x="4508501" y="4459288"/>
                <a:ext cx="1588" cy="1588"/>
              </a:xfrm>
              <a:custGeom>
                <a:avLst/>
                <a:gdLst>
                  <a:gd name="T0" fmla="*/ 1 w 1"/>
                  <a:gd name="T1" fmla="*/ 3 h 3"/>
                  <a:gd name="T2" fmla="*/ 1 w 1"/>
                  <a:gd name="T3" fmla="*/ 3 h 3"/>
                  <a:gd name="T4" fmla="*/ 1 w 1"/>
                  <a:gd name="T5" fmla="*/ 0 h 3"/>
                  <a:gd name="T6" fmla="*/ 0 w 1"/>
                  <a:gd name="T7" fmla="*/ 0 h 3"/>
                  <a:gd name="T8" fmla="*/ 1 w 1"/>
                  <a:gd name="T9" fmla="*/ 3 h 3"/>
                </a:gdLst>
                <a:ahLst/>
                <a:cxnLst>
                  <a:cxn ang="0">
                    <a:pos x="T0" y="T1"/>
                  </a:cxn>
                  <a:cxn ang="0">
                    <a:pos x="T2" y="T3"/>
                  </a:cxn>
                  <a:cxn ang="0">
                    <a:pos x="T4" y="T5"/>
                  </a:cxn>
                  <a:cxn ang="0">
                    <a:pos x="T6" y="T7"/>
                  </a:cxn>
                  <a:cxn ang="0">
                    <a:pos x="T8" y="T9"/>
                  </a:cxn>
                </a:cxnLst>
                <a:rect l="0" t="0" r="r" b="b"/>
                <a:pathLst>
                  <a:path w="1" h="3">
                    <a:moveTo>
                      <a:pt x="1" y="3"/>
                    </a:moveTo>
                    <a:lnTo>
                      <a:pt x="1" y="3"/>
                    </a:lnTo>
                    <a:lnTo>
                      <a:pt x="1" y="0"/>
                    </a:lnTo>
                    <a:cubicBezTo>
                      <a:pt x="0" y="0"/>
                      <a:pt x="0" y="0"/>
                      <a:pt x="0" y="0"/>
                    </a:cubicBezTo>
                    <a:lnTo>
                      <a:pt x="1" y="3"/>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4" name="Freeform 2488"/>
              <p:cNvSpPr>
                <a:spLocks/>
              </p:cNvSpPr>
              <p:nvPr/>
            </p:nvSpPr>
            <p:spPr bwMode="auto">
              <a:xfrm>
                <a:off x="4508501" y="4465638"/>
                <a:ext cx="0" cy="1588"/>
              </a:xfrm>
              <a:custGeom>
                <a:avLst/>
                <a:gdLst>
                  <a:gd name="T0" fmla="*/ 5 h 5"/>
                  <a:gd name="T1" fmla="*/ 5 h 5"/>
                  <a:gd name="T2" fmla="*/ 0 h 5"/>
                  <a:gd name="T3" fmla="*/ 5 h 5"/>
                </a:gdLst>
                <a:ahLst/>
                <a:cxnLst>
                  <a:cxn ang="0">
                    <a:pos x="0" y="T0"/>
                  </a:cxn>
                  <a:cxn ang="0">
                    <a:pos x="0" y="T1"/>
                  </a:cxn>
                  <a:cxn ang="0">
                    <a:pos x="0" y="T2"/>
                  </a:cxn>
                  <a:cxn ang="0">
                    <a:pos x="0" y="T3"/>
                  </a:cxn>
                </a:cxnLst>
                <a:rect l="0" t="0" r="r" b="b"/>
                <a:pathLst>
                  <a:path h="5">
                    <a:moveTo>
                      <a:pt x="0" y="5"/>
                    </a:moveTo>
                    <a:lnTo>
                      <a:pt x="0" y="5"/>
                    </a:lnTo>
                    <a:cubicBezTo>
                      <a:pt x="0" y="3"/>
                      <a:pt x="0" y="2"/>
                      <a:pt x="0" y="0"/>
                    </a:cubicBezTo>
                    <a:cubicBezTo>
                      <a:pt x="0" y="2"/>
                      <a:pt x="0" y="4"/>
                      <a:pt x="0" y="5"/>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5" name="Freeform 2489"/>
              <p:cNvSpPr>
                <a:spLocks/>
              </p:cNvSpPr>
              <p:nvPr/>
            </p:nvSpPr>
            <p:spPr bwMode="auto">
              <a:xfrm>
                <a:off x="4505326" y="4418013"/>
                <a:ext cx="0" cy="1588"/>
              </a:xfrm>
              <a:custGeom>
                <a:avLst/>
                <a:gdLst>
                  <a:gd name="T0" fmla="*/ 2 w 2"/>
                  <a:gd name="T1" fmla="*/ 2 h 2"/>
                  <a:gd name="T2" fmla="*/ 2 w 2"/>
                  <a:gd name="T3" fmla="*/ 2 h 2"/>
                  <a:gd name="T4" fmla="*/ 2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2" y="2"/>
                    </a:lnTo>
                    <a:cubicBezTo>
                      <a:pt x="0" y="0"/>
                      <a:pt x="1" y="1"/>
                      <a:pt x="2"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6" name="Freeform 2490"/>
              <p:cNvSpPr>
                <a:spLocks/>
              </p:cNvSpPr>
              <p:nvPr/>
            </p:nvSpPr>
            <p:spPr bwMode="auto">
              <a:xfrm>
                <a:off x="4506913" y="4456113"/>
                <a:ext cx="0" cy="0"/>
              </a:xfrm>
              <a:custGeom>
                <a:avLst/>
                <a:gdLst>
                  <a:gd name="T0" fmla="*/ 1 w 1"/>
                  <a:gd name="T1" fmla="*/ 2 h 2"/>
                  <a:gd name="T2" fmla="*/ 1 w 1"/>
                  <a:gd name="T3" fmla="*/ 2 h 2"/>
                  <a:gd name="T4" fmla="*/ 1 w 1"/>
                  <a:gd name="T5" fmla="*/ 1 h 2"/>
                  <a:gd name="T6" fmla="*/ 0 w 1"/>
                  <a:gd name="T7" fmla="*/ 0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lnTo>
                      <a:pt x="1" y="2"/>
                    </a:lnTo>
                    <a:lnTo>
                      <a:pt x="1" y="1"/>
                    </a:lnTo>
                    <a:lnTo>
                      <a:pt x="0" y="0"/>
                    </a:lnTo>
                    <a:lnTo>
                      <a:pt x="1" y="2"/>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7" name="Freeform 2491"/>
              <p:cNvSpPr>
                <a:spLocks/>
              </p:cNvSpPr>
              <p:nvPr/>
            </p:nvSpPr>
            <p:spPr bwMode="auto">
              <a:xfrm>
                <a:off x="4508501" y="4471988"/>
                <a:ext cx="0" cy="0"/>
              </a:xfrm>
              <a:custGeom>
                <a:avLst/>
                <a:gdLst>
                  <a:gd name="T0" fmla="*/ 1 w 1"/>
                  <a:gd name="T1" fmla="*/ 1 h 1"/>
                  <a:gd name="T2" fmla="*/ 1 w 1"/>
                  <a:gd name="T3" fmla="*/ 1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cubicBezTo>
                      <a:pt x="1" y="1"/>
                      <a:pt x="0" y="0"/>
                      <a:pt x="0" y="0"/>
                    </a:cubicBezTo>
                    <a:cubicBezTo>
                      <a:pt x="0" y="0"/>
                      <a:pt x="0" y="1"/>
                      <a:pt x="0" y="1"/>
                    </a:cubicBezTo>
                    <a:cubicBezTo>
                      <a:pt x="0" y="1"/>
                      <a:pt x="1" y="1"/>
                      <a:pt x="1"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8" name="Freeform 2492"/>
              <p:cNvSpPr>
                <a:spLocks/>
              </p:cNvSpPr>
              <p:nvPr/>
            </p:nvSpPr>
            <p:spPr bwMode="auto">
              <a:xfrm>
                <a:off x="4505326" y="4433888"/>
                <a:ext cx="1588" cy="1588"/>
              </a:xfrm>
              <a:custGeom>
                <a:avLst/>
                <a:gdLst>
                  <a:gd name="T0" fmla="*/ 0 w 3"/>
                  <a:gd name="T1" fmla="*/ 1 h 2"/>
                  <a:gd name="T2" fmla="*/ 0 w 3"/>
                  <a:gd name="T3" fmla="*/ 1 h 2"/>
                  <a:gd name="T4" fmla="*/ 3 w 3"/>
                  <a:gd name="T5" fmla="*/ 2 h 2"/>
                  <a:gd name="T6" fmla="*/ 0 w 3"/>
                  <a:gd name="T7" fmla="*/ 1 h 2"/>
                </a:gdLst>
                <a:ahLst/>
                <a:cxnLst>
                  <a:cxn ang="0">
                    <a:pos x="T0" y="T1"/>
                  </a:cxn>
                  <a:cxn ang="0">
                    <a:pos x="T2" y="T3"/>
                  </a:cxn>
                  <a:cxn ang="0">
                    <a:pos x="T4" y="T5"/>
                  </a:cxn>
                  <a:cxn ang="0">
                    <a:pos x="T6" y="T7"/>
                  </a:cxn>
                </a:cxnLst>
                <a:rect l="0" t="0" r="r" b="b"/>
                <a:pathLst>
                  <a:path w="3" h="2">
                    <a:moveTo>
                      <a:pt x="0" y="1"/>
                    </a:moveTo>
                    <a:lnTo>
                      <a:pt x="0" y="1"/>
                    </a:lnTo>
                    <a:cubicBezTo>
                      <a:pt x="2" y="2"/>
                      <a:pt x="2" y="2"/>
                      <a:pt x="3" y="2"/>
                    </a:cubicBezTo>
                    <a:cubicBezTo>
                      <a:pt x="3" y="1"/>
                      <a:pt x="2"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9" name="Freeform 2493"/>
              <p:cNvSpPr>
                <a:spLocks/>
              </p:cNvSpPr>
              <p:nvPr/>
            </p:nvSpPr>
            <p:spPr bwMode="auto">
              <a:xfrm>
                <a:off x="4383088" y="4545013"/>
                <a:ext cx="0" cy="1588"/>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1" y="0"/>
                      <a:pt x="1" y="0"/>
                    </a:cubicBezTo>
                    <a:cubicBezTo>
                      <a:pt x="0" y="0"/>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0" name="Freeform 2494"/>
              <p:cNvSpPr>
                <a:spLocks/>
              </p:cNvSpPr>
              <p:nvPr/>
            </p:nvSpPr>
            <p:spPr bwMode="auto">
              <a:xfrm>
                <a:off x="4306888" y="4548188"/>
                <a:ext cx="1588" cy="0"/>
              </a:xfrm>
              <a:custGeom>
                <a:avLst/>
                <a:gdLst>
                  <a:gd name="T0" fmla="*/ 0 w 3"/>
                  <a:gd name="T1" fmla="*/ 1 h 1"/>
                  <a:gd name="T2" fmla="*/ 0 w 3"/>
                  <a:gd name="T3" fmla="*/ 1 h 1"/>
                  <a:gd name="T4" fmla="*/ 3 w 3"/>
                  <a:gd name="T5" fmla="*/ 0 h 1"/>
                  <a:gd name="T6" fmla="*/ 0 w 3"/>
                  <a:gd name="T7" fmla="*/ 1 h 1"/>
                </a:gdLst>
                <a:ahLst/>
                <a:cxnLst>
                  <a:cxn ang="0">
                    <a:pos x="T0" y="T1"/>
                  </a:cxn>
                  <a:cxn ang="0">
                    <a:pos x="T2" y="T3"/>
                  </a:cxn>
                  <a:cxn ang="0">
                    <a:pos x="T4" y="T5"/>
                  </a:cxn>
                  <a:cxn ang="0">
                    <a:pos x="T6" y="T7"/>
                  </a:cxn>
                </a:cxnLst>
                <a:rect l="0" t="0" r="r" b="b"/>
                <a:pathLst>
                  <a:path w="3" h="1">
                    <a:moveTo>
                      <a:pt x="0" y="1"/>
                    </a:moveTo>
                    <a:lnTo>
                      <a:pt x="0" y="1"/>
                    </a:lnTo>
                    <a:lnTo>
                      <a:pt x="3" y="0"/>
                    </a:lnTo>
                    <a:cubicBezTo>
                      <a:pt x="1" y="0"/>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1" name="Freeform 2495"/>
              <p:cNvSpPr>
                <a:spLocks/>
              </p:cNvSpPr>
              <p:nvPr/>
            </p:nvSpPr>
            <p:spPr bwMode="auto">
              <a:xfrm>
                <a:off x="4427538" y="4543426"/>
                <a:ext cx="3175" cy="0"/>
              </a:xfrm>
              <a:custGeom>
                <a:avLst/>
                <a:gdLst>
                  <a:gd name="T0" fmla="*/ 0 w 10"/>
                  <a:gd name="T1" fmla="*/ 1 h 1"/>
                  <a:gd name="T2" fmla="*/ 0 w 10"/>
                  <a:gd name="T3" fmla="*/ 1 h 1"/>
                  <a:gd name="T4" fmla="*/ 0 w 10"/>
                  <a:gd name="T5" fmla="*/ 1 h 1"/>
                  <a:gd name="T6" fmla="*/ 10 w 10"/>
                  <a:gd name="T7" fmla="*/ 0 h 1"/>
                  <a:gd name="T8" fmla="*/ 0 w 10"/>
                  <a:gd name="T9" fmla="*/ 1 h 1"/>
                </a:gdLst>
                <a:ahLst/>
                <a:cxnLst>
                  <a:cxn ang="0">
                    <a:pos x="T0" y="T1"/>
                  </a:cxn>
                  <a:cxn ang="0">
                    <a:pos x="T2" y="T3"/>
                  </a:cxn>
                  <a:cxn ang="0">
                    <a:pos x="T4" y="T5"/>
                  </a:cxn>
                  <a:cxn ang="0">
                    <a:pos x="T6" y="T7"/>
                  </a:cxn>
                  <a:cxn ang="0">
                    <a:pos x="T8" y="T9"/>
                  </a:cxn>
                </a:cxnLst>
                <a:rect l="0" t="0" r="r" b="b"/>
                <a:pathLst>
                  <a:path w="10" h="1">
                    <a:moveTo>
                      <a:pt x="0" y="1"/>
                    </a:moveTo>
                    <a:lnTo>
                      <a:pt x="0" y="1"/>
                    </a:lnTo>
                    <a:cubicBezTo>
                      <a:pt x="0" y="1"/>
                      <a:pt x="0" y="1"/>
                      <a:pt x="0" y="1"/>
                    </a:cubicBezTo>
                    <a:cubicBezTo>
                      <a:pt x="2" y="1"/>
                      <a:pt x="5" y="1"/>
                      <a:pt x="10" y="0"/>
                    </a:cubicBezTo>
                    <a:lnTo>
                      <a:pt x="0" y="1"/>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2" name="Freeform 2496"/>
              <p:cNvSpPr>
                <a:spLocks/>
              </p:cNvSpPr>
              <p:nvPr/>
            </p:nvSpPr>
            <p:spPr bwMode="auto">
              <a:xfrm>
                <a:off x="4146551" y="4548188"/>
                <a:ext cx="1588" cy="0"/>
              </a:xfrm>
              <a:custGeom>
                <a:avLst/>
                <a:gdLst>
                  <a:gd name="T0" fmla="*/ 0 w 4"/>
                  <a:gd name="T1" fmla="*/ 1 h 1"/>
                  <a:gd name="T2" fmla="*/ 0 w 4"/>
                  <a:gd name="T3" fmla="*/ 1 h 1"/>
                  <a:gd name="T4" fmla="*/ 4 w 4"/>
                  <a:gd name="T5" fmla="*/ 1 h 1"/>
                  <a:gd name="T6" fmla="*/ 0 w 4"/>
                  <a:gd name="T7" fmla="*/ 1 h 1"/>
                </a:gdLst>
                <a:ahLst/>
                <a:cxnLst>
                  <a:cxn ang="0">
                    <a:pos x="T0" y="T1"/>
                  </a:cxn>
                  <a:cxn ang="0">
                    <a:pos x="T2" y="T3"/>
                  </a:cxn>
                  <a:cxn ang="0">
                    <a:pos x="T4" y="T5"/>
                  </a:cxn>
                  <a:cxn ang="0">
                    <a:pos x="T6" y="T7"/>
                  </a:cxn>
                </a:cxnLst>
                <a:rect l="0" t="0" r="r" b="b"/>
                <a:pathLst>
                  <a:path w="4" h="1">
                    <a:moveTo>
                      <a:pt x="0" y="1"/>
                    </a:moveTo>
                    <a:lnTo>
                      <a:pt x="0" y="1"/>
                    </a:lnTo>
                    <a:lnTo>
                      <a:pt x="4" y="1"/>
                    </a:lnTo>
                    <a:cubicBezTo>
                      <a:pt x="2" y="1"/>
                      <a:pt x="1"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3" name="Freeform 2497"/>
              <p:cNvSpPr>
                <a:spLocks/>
              </p:cNvSpPr>
              <p:nvPr/>
            </p:nvSpPr>
            <p:spPr bwMode="auto">
              <a:xfrm>
                <a:off x="4240213" y="4549776"/>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1"/>
                      <a:pt x="2" y="1"/>
                      <a:pt x="0" y="1"/>
                    </a:cubicBezTo>
                    <a:cubicBezTo>
                      <a:pt x="2" y="1"/>
                      <a:pt x="4" y="1"/>
                      <a:pt x="4"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4" name="Freeform 2498"/>
              <p:cNvSpPr>
                <a:spLocks/>
              </p:cNvSpPr>
              <p:nvPr/>
            </p:nvSpPr>
            <p:spPr bwMode="auto">
              <a:xfrm>
                <a:off x="4451351" y="4549776"/>
                <a:ext cx="1588" cy="0"/>
              </a:xfrm>
              <a:custGeom>
                <a:avLst/>
                <a:gdLst>
                  <a:gd name="T0" fmla="*/ 4 w 4"/>
                  <a:gd name="T1" fmla="*/ 2 h 2"/>
                  <a:gd name="T2" fmla="*/ 4 w 4"/>
                  <a:gd name="T3" fmla="*/ 2 h 2"/>
                  <a:gd name="T4" fmla="*/ 0 w 4"/>
                  <a:gd name="T5" fmla="*/ 0 h 2"/>
                  <a:gd name="T6" fmla="*/ 4 w 4"/>
                  <a:gd name="T7" fmla="*/ 2 h 2"/>
                </a:gdLst>
                <a:ahLst/>
                <a:cxnLst>
                  <a:cxn ang="0">
                    <a:pos x="T0" y="T1"/>
                  </a:cxn>
                  <a:cxn ang="0">
                    <a:pos x="T2" y="T3"/>
                  </a:cxn>
                  <a:cxn ang="0">
                    <a:pos x="T4" y="T5"/>
                  </a:cxn>
                  <a:cxn ang="0">
                    <a:pos x="T6" y="T7"/>
                  </a:cxn>
                </a:cxnLst>
                <a:rect l="0" t="0" r="r" b="b"/>
                <a:pathLst>
                  <a:path w="4" h="2">
                    <a:moveTo>
                      <a:pt x="4" y="2"/>
                    </a:moveTo>
                    <a:lnTo>
                      <a:pt x="4" y="2"/>
                    </a:lnTo>
                    <a:lnTo>
                      <a:pt x="0" y="0"/>
                    </a:lnTo>
                    <a:cubicBezTo>
                      <a:pt x="0" y="1"/>
                      <a:pt x="2" y="2"/>
                      <a:pt x="4"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5" name="Freeform 2499"/>
              <p:cNvSpPr>
                <a:spLocks/>
              </p:cNvSpPr>
              <p:nvPr/>
            </p:nvSpPr>
            <p:spPr bwMode="auto">
              <a:xfrm>
                <a:off x="4497388" y="4541838"/>
                <a:ext cx="158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cubicBezTo>
                      <a:pt x="1" y="0"/>
                      <a:pt x="1" y="0"/>
                      <a:pt x="0" y="0"/>
                    </a:cubicBezTo>
                    <a:cubicBezTo>
                      <a:pt x="0" y="0"/>
                      <a:pt x="1" y="0"/>
                      <a:pt x="1"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6" name="Freeform 2500"/>
              <p:cNvSpPr>
                <a:spLocks/>
              </p:cNvSpPr>
              <p:nvPr/>
            </p:nvSpPr>
            <p:spPr bwMode="auto">
              <a:xfrm>
                <a:off x="4478338" y="4541838"/>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1" y="1"/>
                      <a:pt x="0" y="1"/>
                    </a:cubicBezTo>
                    <a:cubicBezTo>
                      <a:pt x="2" y="1"/>
                      <a:pt x="4" y="1"/>
                      <a:pt x="4"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7" name="Freeform 2501"/>
              <p:cNvSpPr>
                <a:spLocks/>
              </p:cNvSpPr>
              <p:nvPr/>
            </p:nvSpPr>
            <p:spPr bwMode="auto">
              <a:xfrm>
                <a:off x="4478338" y="4541838"/>
                <a:ext cx="0" cy="0"/>
              </a:xfrm>
              <a:custGeom>
                <a:avLst/>
                <a:gdLst>
                  <a:gd name="T0" fmla="*/ 0 w 2"/>
                  <a:gd name="T1" fmla="*/ 1 h 1"/>
                  <a:gd name="T2" fmla="*/ 0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0" y="1"/>
                    </a:lnTo>
                    <a:lnTo>
                      <a:pt x="2" y="0"/>
                    </a:lnTo>
                    <a:cubicBezTo>
                      <a:pt x="1" y="0"/>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8" name="Freeform 2502"/>
              <p:cNvSpPr>
                <a:spLocks/>
              </p:cNvSpPr>
              <p:nvPr/>
            </p:nvSpPr>
            <p:spPr bwMode="auto">
              <a:xfrm>
                <a:off x="3557588" y="4530726"/>
                <a:ext cx="3175" cy="0"/>
              </a:xfrm>
              <a:custGeom>
                <a:avLst/>
                <a:gdLst>
                  <a:gd name="T0" fmla="*/ 12 w 12"/>
                  <a:gd name="T1" fmla="*/ 0 h 3"/>
                  <a:gd name="T2" fmla="*/ 12 w 12"/>
                  <a:gd name="T3" fmla="*/ 0 h 3"/>
                  <a:gd name="T4" fmla="*/ 0 w 12"/>
                  <a:gd name="T5" fmla="*/ 3 h 3"/>
                  <a:gd name="T6" fmla="*/ 12 w 12"/>
                  <a:gd name="T7" fmla="*/ 0 h 3"/>
                </a:gdLst>
                <a:ahLst/>
                <a:cxnLst>
                  <a:cxn ang="0">
                    <a:pos x="T0" y="T1"/>
                  </a:cxn>
                  <a:cxn ang="0">
                    <a:pos x="T2" y="T3"/>
                  </a:cxn>
                  <a:cxn ang="0">
                    <a:pos x="T4" y="T5"/>
                  </a:cxn>
                  <a:cxn ang="0">
                    <a:pos x="T6" y="T7"/>
                  </a:cxn>
                </a:cxnLst>
                <a:rect l="0" t="0" r="r" b="b"/>
                <a:pathLst>
                  <a:path w="12" h="3">
                    <a:moveTo>
                      <a:pt x="12" y="0"/>
                    </a:moveTo>
                    <a:lnTo>
                      <a:pt x="12" y="0"/>
                    </a:lnTo>
                    <a:cubicBezTo>
                      <a:pt x="8" y="0"/>
                      <a:pt x="4" y="1"/>
                      <a:pt x="0" y="3"/>
                    </a:cubicBezTo>
                    <a:lnTo>
                      <a:pt x="12"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9" name="Freeform 2503"/>
              <p:cNvSpPr>
                <a:spLocks/>
              </p:cNvSpPr>
              <p:nvPr/>
            </p:nvSpPr>
            <p:spPr bwMode="auto">
              <a:xfrm>
                <a:off x="4000501" y="4545013"/>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0" y="0"/>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0" name="Freeform 2504"/>
              <p:cNvSpPr>
                <a:spLocks/>
              </p:cNvSpPr>
              <p:nvPr/>
            </p:nvSpPr>
            <p:spPr bwMode="auto">
              <a:xfrm>
                <a:off x="3559176" y="4535488"/>
                <a:ext cx="0" cy="0"/>
              </a:xfrm>
              <a:custGeom>
                <a:avLst/>
                <a:gdLst>
                  <a:gd name="T0" fmla="*/ 3 w 3"/>
                  <a:gd name="T1" fmla="*/ 1 h 1"/>
                  <a:gd name="T2" fmla="*/ 3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3" y="1"/>
                    </a:lnTo>
                    <a:lnTo>
                      <a:pt x="0" y="0"/>
                    </a:lnTo>
                    <a:cubicBezTo>
                      <a:pt x="1" y="1"/>
                      <a:pt x="2" y="1"/>
                      <a:pt x="3"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1" name="Freeform 2505"/>
              <p:cNvSpPr>
                <a:spLocks/>
              </p:cNvSpPr>
              <p:nvPr/>
            </p:nvSpPr>
            <p:spPr bwMode="auto">
              <a:xfrm>
                <a:off x="4424363" y="4554538"/>
                <a:ext cx="4763" cy="0"/>
              </a:xfrm>
              <a:custGeom>
                <a:avLst/>
                <a:gdLst>
                  <a:gd name="T0" fmla="*/ 13 w 13"/>
                  <a:gd name="T1" fmla="*/ 0 h 3"/>
                  <a:gd name="T2" fmla="*/ 13 w 13"/>
                  <a:gd name="T3" fmla="*/ 0 h 3"/>
                  <a:gd name="T4" fmla="*/ 1 w 13"/>
                  <a:gd name="T5" fmla="*/ 3 h 3"/>
                  <a:gd name="T6" fmla="*/ 13 w 13"/>
                  <a:gd name="T7" fmla="*/ 0 h 3"/>
                </a:gdLst>
                <a:ahLst/>
                <a:cxnLst>
                  <a:cxn ang="0">
                    <a:pos x="T0" y="T1"/>
                  </a:cxn>
                  <a:cxn ang="0">
                    <a:pos x="T2" y="T3"/>
                  </a:cxn>
                  <a:cxn ang="0">
                    <a:pos x="T4" y="T5"/>
                  </a:cxn>
                  <a:cxn ang="0">
                    <a:pos x="T6" y="T7"/>
                  </a:cxn>
                </a:cxnLst>
                <a:rect l="0" t="0" r="r" b="b"/>
                <a:pathLst>
                  <a:path w="13" h="3">
                    <a:moveTo>
                      <a:pt x="13" y="0"/>
                    </a:moveTo>
                    <a:lnTo>
                      <a:pt x="13" y="0"/>
                    </a:lnTo>
                    <a:cubicBezTo>
                      <a:pt x="9" y="3"/>
                      <a:pt x="0" y="1"/>
                      <a:pt x="1" y="3"/>
                    </a:cubicBezTo>
                    <a:cubicBezTo>
                      <a:pt x="5" y="2"/>
                      <a:pt x="12" y="3"/>
                      <a:pt x="13"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2" name="Freeform 2506"/>
              <p:cNvSpPr>
                <a:spLocks/>
              </p:cNvSpPr>
              <p:nvPr/>
            </p:nvSpPr>
            <p:spPr bwMode="auto">
              <a:xfrm>
                <a:off x="3968751" y="4567238"/>
                <a:ext cx="0" cy="0"/>
              </a:xfrm>
              <a:custGeom>
                <a:avLst/>
                <a:gdLst>
                  <a:gd name="T0" fmla="*/ 2 w 2"/>
                  <a:gd name="T1" fmla="*/ 0 h 1"/>
                  <a:gd name="T2" fmla="*/ 2 w 2"/>
                  <a:gd name="T3" fmla="*/ 0 h 1"/>
                  <a:gd name="T4" fmla="*/ 0 w 2"/>
                  <a:gd name="T5" fmla="*/ 0 h 1"/>
                  <a:gd name="T6" fmla="*/ 2 w 2"/>
                  <a:gd name="T7" fmla="*/ 0 h 1"/>
                </a:gdLst>
                <a:ahLst/>
                <a:cxnLst>
                  <a:cxn ang="0">
                    <a:pos x="T0" y="T1"/>
                  </a:cxn>
                  <a:cxn ang="0">
                    <a:pos x="T2" y="T3"/>
                  </a:cxn>
                  <a:cxn ang="0">
                    <a:pos x="T4" y="T5"/>
                  </a:cxn>
                  <a:cxn ang="0">
                    <a:pos x="T6" y="T7"/>
                  </a:cxn>
                </a:cxnLst>
                <a:rect l="0" t="0" r="r" b="b"/>
                <a:pathLst>
                  <a:path w="2" h="1">
                    <a:moveTo>
                      <a:pt x="2" y="0"/>
                    </a:moveTo>
                    <a:lnTo>
                      <a:pt x="2" y="0"/>
                    </a:lnTo>
                    <a:lnTo>
                      <a:pt x="0" y="0"/>
                    </a:lnTo>
                    <a:cubicBezTo>
                      <a:pt x="1" y="1"/>
                      <a:pt x="2" y="1"/>
                      <a:pt x="2"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3" name="Freeform 2507"/>
              <p:cNvSpPr>
                <a:spLocks/>
              </p:cNvSpPr>
              <p:nvPr/>
            </p:nvSpPr>
            <p:spPr bwMode="auto">
              <a:xfrm>
                <a:off x="3559176" y="4535488"/>
                <a:ext cx="1588" cy="0"/>
              </a:xfrm>
              <a:custGeom>
                <a:avLst/>
                <a:gdLst>
                  <a:gd name="T0" fmla="*/ 0 w 3"/>
                  <a:gd name="T1" fmla="*/ 1 h 1"/>
                  <a:gd name="T2" fmla="*/ 0 w 3"/>
                  <a:gd name="T3" fmla="*/ 1 h 1"/>
                  <a:gd name="T4" fmla="*/ 3 w 3"/>
                  <a:gd name="T5" fmla="*/ 1 h 1"/>
                  <a:gd name="T6" fmla="*/ 2 w 3"/>
                  <a:gd name="T7" fmla="*/ 0 h 1"/>
                  <a:gd name="T8" fmla="*/ 0 w 3"/>
                  <a:gd name="T9" fmla="*/ 1 h 1"/>
                </a:gdLst>
                <a:ahLst/>
                <a:cxnLst>
                  <a:cxn ang="0">
                    <a:pos x="T0" y="T1"/>
                  </a:cxn>
                  <a:cxn ang="0">
                    <a:pos x="T2" y="T3"/>
                  </a:cxn>
                  <a:cxn ang="0">
                    <a:pos x="T4" y="T5"/>
                  </a:cxn>
                  <a:cxn ang="0">
                    <a:pos x="T6" y="T7"/>
                  </a:cxn>
                  <a:cxn ang="0">
                    <a:pos x="T8" y="T9"/>
                  </a:cxn>
                </a:cxnLst>
                <a:rect l="0" t="0" r="r" b="b"/>
                <a:pathLst>
                  <a:path w="3" h="1">
                    <a:moveTo>
                      <a:pt x="0" y="1"/>
                    </a:moveTo>
                    <a:lnTo>
                      <a:pt x="0" y="1"/>
                    </a:lnTo>
                    <a:lnTo>
                      <a:pt x="3" y="1"/>
                    </a:lnTo>
                    <a:cubicBezTo>
                      <a:pt x="3" y="1"/>
                      <a:pt x="2" y="1"/>
                      <a:pt x="2" y="0"/>
                    </a:cubicBezTo>
                    <a:cubicBezTo>
                      <a:pt x="1" y="1"/>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4" name="Freeform 2508"/>
              <p:cNvSpPr>
                <a:spLocks/>
              </p:cNvSpPr>
              <p:nvPr/>
            </p:nvSpPr>
            <p:spPr bwMode="auto">
              <a:xfrm>
                <a:off x="3848101" y="4538663"/>
                <a:ext cx="1588"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0" y="0"/>
                      <a:pt x="0" y="0"/>
                    </a:cubicBezTo>
                    <a:cubicBezTo>
                      <a:pt x="0" y="0"/>
                      <a:pt x="1" y="0"/>
                      <a:pt x="1" y="0"/>
                    </a:cubicBezTo>
                    <a:lnTo>
                      <a:pt x="0"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5" name="Freeform 2509"/>
              <p:cNvSpPr>
                <a:spLocks/>
              </p:cNvSpPr>
              <p:nvPr/>
            </p:nvSpPr>
            <p:spPr bwMode="auto">
              <a:xfrm>
                <a:off x="3840163" y="4537076"/>
                <a:ext cx="1588" cy="0"/>
              </a:xfrm>
              <a:custGeom>
                <a:avLst/>
                <a:gdLst>
                  <a:gd name="T0" fmla="*/ 0 w 6"/>
                  <a:gd name="T1" fmla="*/ 1 h 1"/>
                  <a:gd name="T2" fmla="*/ 0 w 6"/>
                  <a:gd name="T3" fmla="*/ 1 h 1"/>
                  <a:gd name="T4" fmla="*/ 6 w 6"/>
                  <a:gd name="T5" fmla="*/ 0 h 1"/>
                  <a:gd name="T6" fmla="*/ 0 w 6"/>
                  <a:gd name="T7" fmla="*/ 1 h 1"/>
                </a:gdLst>
                <a:ahLst/>
                <a:cxnLst>
                  <a:cxn ang="0">
                    <a:pos x="T0" y="T1"/>
                  </a:cxn>
                  <a:cxn ang="0">
                    <a:pos x="T2" y="T3"/>
                  </a:cxn>
                  <a:cxn ang="0">
                    <a:pos x="T4" y="T5"/>
                  </a:cxn>
                  <a:cxn ang="0">
                    <a:pos x="T6" y="T7"/>
                  </a:cxn>
                </a:cxnLst>
                <a:rect l="0" t="0" r="r" b="b"/>
                <a:pathLst>
                  <a:path w="6" h="1">
                    <a:moveTo>
                      <a:pt x="0" y="1"/>
                    </a:moveTo>
                    <a:lnTo>
                      <a:pt x="0" y="1"/>
                    </a:lnTo>
                    <a:cubicBezTo>
                      <a:pt x="2" y="1"/>
                      <a:pt x="4" y="1"/>
                      <a:pt x="6" y="0"/>
                    </a:cubicBezTo>
                    <a:cubicBezTo>
                      <a:pt x="3" y="0"/>
                      <a:pt x="1"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6" name="Freeform 2510"/>
              <p:cNvSpPr>
                <a:spLocks/>
              </p:cNvSpPr>
              <p:nvPr/>
            </p:nvSpPr>
            <p:spPr bwMode="auto">
              <a:xfrm>
                <a:off x="3556001" y="4530726"/>
                <a:ext cx="1588" cy="1588"/>
              </a:xfrm>
              <a:custGeom>
                <a:avLst/>
                <a:gdLst>
                  <a:gd name="T0" fmla="*/ 7 w 7"/>
                  <a:gd name="T1" fmla="*/ 0 h 1"/>
                  <a:gd name="T2" fmla="*/ 7 w 7"/>
                  <a:gd name="T3" fmla="*/ 0 h 1"/>
                  <a:gd name="T4" fmla="*/ 0 w 7"/>
                  <a:gd name="T5" fmla="*/ 1 h 1"/>
                  <a:gd name="T6" fmla="*/ 7 w 7"/>
                  <a:gd name="T7" fmla="*/ 0 h 1"/>
                </a:gdLst>
                <a:ahLst/>
                <a:cxnLst>
                  <a:cxn ang="0">
                    <a:pos x="T0" y="T1"/>
                  </a:cxn>
                  <a:cxn ang="0">
                    <a:pos x="T2" y="T3"/>
                  </a:cxn>
                  <a:cxn ang="0">
                    <a:pos x="T4" y="T5"/>
                  </a:cxn>
                  <a:cxn ang="0">
                    <a:pos x="T6" y="T7"/>
                  </a:cxn>
                </a:cxnLst>
                <a:rect l="0" t="0" r="r" b="b"/>
                <a:pathLst>
                  <a:path w="7" h="1">
                    <a:moveTo>
                      <a:pt x="7" y="0"/>
                    </a:moveTo>
                    <a:lnTo>
                      <a:pt x="7" y="0"/>
                    </a:lnTo>
                    <a:lnTo>
                      <a:pt x="0" y="1"/>
                    </a:lnTo>
                    <a:cubicBezTo>
                      <a:pt x="3" y="1"/>
                      <a:pt x="5" y="0"/>
                      <a:pt x="7"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7" name="Freeform 2511"/>
              <p:cNvSpPr>
                <a:spLocks/>
              </p:cNvSpPr>
              <p:nvPr/>
            </p:nvSpPr>
            <p:spPr bwMode="auto">
              <a:xfrm>
                <a:off x="3754438" y="4535488"/>
                <a:ext cx="0"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cubicBezTo>
                      <a:pt x="1" y="0"/>
                      <a:pt x="2" y="0"/>
                      <a:pt x="3" y="0"/>
                    </a:cubicBezTo>
                    <a:cubicBezTo>
                      <a:pt x="2"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8" name="Freeform 2512"/>
              <p:cNvSpPr>
                <a:spLocks/>
              </p:cNvSpPr>
              <p:nvPr/>
            </p:nvSpPr>
            <p:spPr bwMode="auto">
              <a:xfrm>
                <a:off x="4248151" y="4549776"/>
                <a:ext cx="0" cy="0"/>
              </a:xfrm>
              <a:custGeom>
                <a:avLst/>
                <a:gdLst>
                  <a:gd name="T0" fmla="*/ 0 w 2"/>
                  <a:gd name="T1" fmla="*/ 1 h 1"/>
                  <a:gd name="T2" fmla="*/ 0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0" y="1"/>
                    </a:lnTo>
                    <a:cubicBezTo>
                      <a:pt x="0" y="1"/>
                      <a:pt x="1" y="1"/>
                      <a:pt x="2" y="1"/>
                    </a:cubicBezTo>
                    <a:cubicBezTo>
                      <a:pt x="2" y="1"/>
                      <a:pt x="2"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9" name="Rectangle 2513"/>
              <p:cNvSpPr>
                <a:spLocks noChangeArrowheads="1"/>
              </p:cNvSpPr>
              <p:nvPr/>
            </p:nvSpPr>
            <p:spPr bwMode="auto">
              <a:xfrm>
                <a:off x="4187826" y="4567238"/>
                <a:ext cx="1588" cy="1588"/>
              </a:xfrm>
              <a:prstGeom prst="rect">
                <a:avLst/>
              </a:prstGeom>
              <a:solidFill>
                <a:srgbClr val="9A9A9A"/>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0" name="Freeform 2514"/>
              <p:cNvSpPr>
                <a:spLocks/>
              </p:cNvSpPr>
              <p:nvPr/>
            </p:nvSpPr>
            <p:spPr bwMode="auto">
              <a:xfrm>
                <a:off x="4187826" y="4567238"/>
                <a:ext cx="3175" cy="0"/>
              </a:xfrm>
              <a:custGeom>
                <a:avLst/>
                <a:gdLst>
                  <a:gd name="T0" fmla="*/ 10 w 10"/>
                  <a:gd name="T1" fmla="*/ 0 h 3"/>
                  <a:gd name="T2" fmla="*/ 10 w 10"/>
                  <a:gd name="T3" fmla="*/ 0 h 3"/>
                  <a:gd name="T4" fmla="*/ 0 w 10"/>
                  <a:gd name="T5" fmla="*/ 3 h 3"/>
                  <a:gd name="T6" fmla="*/ 10 w 10"/>
                  <a:gd name="T7" fmla="*/ 0 h 3"/>
                </a:gdLst>
                <a:ahLst/>
                <a:cxnLst>
                  <a:cxn ang="0">
                    <a:pos x="T0" y="T1"/>
                  </a:cxn>
                  <a:cxn ang="0">
                    <a:pos x="T2" y="T3"/>
                  </a:cxn>
                  <a:cxn ang="0">
                    <a:pos x="T4" y="T5"/>
                  </a:cxn>
                  <a:cxn ang="0">
                    <a:pos x="T6" y="T7"/>
                  </a:cxn>
                </a:cxnLst>
                <a:rect l="0" t="0" r="r" b="b"/>
                <a:pathLst>
                  <a:path w="10" h="3">
                    <a:moveTo>
                      <a:pt x="10" y="0"/>
                    </a:moveTo>
                    <a:lnTo>
                      <a:pt x="10" y="0"/>
                    </a:lnTo>
                    <a:cubicBezTo>
                      <a:pt x="7" y="0"/>
                      <a:pt x="3" y="1"/>
                      <a:pt x="0" y="3"/>
                    </a:cubicBezTo>
                    <a:cubicBezTo>
                      <a:pt x="3" y="3"/>
                      <a:pt x="6" y="2"/>
                      <a:pt x="1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1" name="Freeform 2515"/>
              <p:cNvSpPr>
                <a:spLocks/>
              </p:cNvSpPr>
              <p:nvPr/>
            </p:nvSpPr>
            <p:spPr bwMode="auto">
              <a:xfrm>
                <a:off x="4181476" y="4567238"/>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cubicBezTo>
                      <a:pt x="1" y="0"/>
                      <a:pt x="1" y="0"/>
                      <a:pt x="1" y="0"/>
                    </a:cubicBezTo>
                    <a:cubicBezTo>
                      <a:pt x="1"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2" name="Freeform 2516"/>
              <p:cNvSpPr>
                <a:spLocks/>
              </p:cNvSpPr>
              <p:nvPr/>
            </p:nvSpPr>
            <p:spPr bwMode="auto">
              <a:xfrm>
                <a:off x="4246563" y="4567238"/>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lnTo>
                      <a:pt x="1" y="0"/>
                    </a:lnTo>
                    <a:cubicBezTo>
                      <a:pt x="1" y="0"/>
                      <a:pt x="1" y="0"/>
                      <a:pt x="1" y="0"/>
                    </a:cubicBezTo>
                    <a:lnTo>
                      <a:pt x="0" y="0"/>
                    </a:lnTo>
                    <a:lnTo>
                      <a:pt x="1"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3" name="Freeform 2517"/>
              <p:cNvSpPr>
                <a:spLocks/>
              </p:cNvSpPr>
              <p:nvPr/>
            </p:nvSpPr>
            <p:spPr bwMode="auto">
              <a:xfrm>
                <a:off x="4232276" y="4567238"/>
                <a:ext cx="1588" cy="1588"/>
              </a:xfrm>
              <a:custGeom>
                <a:avLst/>
                <a:gdLst>
                  <a:gd name="T0" fmla="*/ 3 w 3"/>
                  <a:gd name="T1" fmla="*/ 1 h 1"/>
                  <a:gd name="T2" fmla="*/ 3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3" y="1"/>
                    </a:lnTo>
                    <a:cubicBezTo>
                      <a:pt x="2" y="0"/>
                      <a:pt x="1" y="0"/>
                      <a:pt x="0" y="0"/>
                    </a:cubicBezTo>
                    <a:cubicBezTo>
                      <a:pt x="1" y="0"/>
                      <a:pt x="2" y="0"/>
                      <a:pt x="3"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4" name="Freeform 2518"/>
              <p:cNvSpPr>
                <a:spLocks/>
              </p:cNvSpPr>
              <p:nvPr/>
            </p:nvSpPr>
            <p:spPr bwMode="auto">
              <a:xfrm>
                <a:off x="4149726" y="4568826"/>
                <a:ext cx="0" cy="0"/>
              </a:xfrm>
              <a:custGeom>
                <a:avLst/>
                <a:gdLst>
                  <a:gd name="T0" fmla="*/ 1 h 1"/>
                  <a:gd name="T1" fmla="*/ 1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1"/>
                    </a:lnTo>
                    <a:lnTo>
                      <a:pt x="0" y="0"/>
                    </a:lnTo>
                    <a:cubicBezTo>
                      <a:pt x="0" y="0"/>
                      <a:pt x="0" y="0"/>
                      <a:pt x="0" y="1"/>
                    </a:cubicBezTo>
                    <a:cubicBezTo>
                      <a:pt x="0" y="1"/>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5" name="Freeform 2519"/>
              <p:cNvSpPr>
                <a:spLocks/>
              </p:cNvSpPr>
              <p:nvPr/>
            </p:nvSpPr>
            <p:spPr bwMode="auto">
              <a:xfrm>
                <a:off x="3552826" y="4525963"/>
                <a:ext cx="960438" cy="49213"/>
              </a:xfrm>
              <a:custGeom>
                <a:avLst/>
                <a:gdLst>
                  <a:gd name="T0" fmla="*/ 1690 w 3058"/>
                  <a:gd name="T1" fmla="*/ 141 h 152"/>
                  <a:gd name="T2" fmla="*/ 1809 w 3058"/>
                  <a:gd name="T3" fmla="*/ 139 h 152"/>
                  <a:gd name="T4" fmla="*/ 1918 w 3058"/>
                  <a:gd name="T5" fmla="*/ 134 h 152"/>
                  <a:gd name="T6" fmla="*/ 1964 w 3058"/>
                  <a:gd name="T7" fmla="*/ 131 h 152"/>
                  <a:gd name="T8" fmla="*/ 2003 w 3058"/>
                  <a:gd name="T9" fmla="*/ 135 h 152"/>
                  <a:gd name="T10" fmla="*/ 2067 w 3058"/>
                  <a:gd name="T11" fmla="*/ 128 h 152"/>
                  <a:gd name="T12" fmla="*/ 2124 w 3058"/>
                  <a:gd name="T13" fmla="*/ 132 h 152"/>
                  <a:gd name="T14" fmla="*/ 2183 w 3058"/>
                  <a:gd name="T15" fmla="*/ 127 h 152"/>
                  <a:gd name="T16" fmla="*/ 2260 w 3058"/>
                  <a:gd name="T17" fmla="*/ 122 h 152"/>
                  <a:gd name="T18" fmla="*/ 2327 w 3058"/>
                  <a:gd name="T19" fmla="*/ 114 h 152"/>
                  <a:gd name="T20" fmla="*/ 2384 w 3058"/>
                  <a:gd name="T21" fmla="*/ 122 h 152"/>
                  <a:gd name="T22" fmla="*/ 2497 w 3058"/>
                  <a:gd name="T23" fmla="*/ 111 h 152"/>
                  <a:gd name="T24" fmla="*/ 2563 w 3058"/>
                  <a:gd name="T25" fmla="*/ 103 h 152"/>
                  <a:gd name="T26" fmla="*/ 2661 w 3058"/>
                  <a:gd name="T27" fmla="*/ 98 h 152"/>
                  <a:gd name="T28" fmla="*/ 2725 w 3058"/>
                  <a:gd name="T29" fmla="*/ 89 h 152"/>
                  <a:gd name="T30" fmla="*/ 2754 w 3058"/>
                  <a:gd name="T31" fmla="*/ 91 h 152"/>
                  <a:gd name="T32" fmla="*/ 2797 w 3058"/>
                  <a:gd name="T33" fmla="*/ 76 h 152"/>
                  <a:gd name="T34" fmla="*/ 2838 w 3058"/>
                  <a:gd name="T35" fmla="*/ 78 h 152"/>
                  <a:gd name="T36" fmla="*/ 2867 w 3058"/>
                  <a:gd name="T37" fmla="*/ 70 h 152"/>
                  <a:gd name="T38" fmla="*/ 2975 w 3058"/>
                  <a:gd name="T39" fmla="*/ 60 h 152"/>
                  <a:gd name="T40" fmla="*/ 3035 w 3058"/>
                  <a:gd name="T41" fmla="*/ 57 h 152"/>
                  <a:gd name="T42" fmla="*/ 2996 w 3058"/>
                  <a:gd name="T43" fmla="*/ 45 h 152"/>
                  <a:gd name="T44" fmla="*/ 2949 w 3058"/>
                  <a:gd name="T45" fmla="*/ 49 h 152"/>
                  <a:gd name="T46" fmla="*/ 2914 w 3058"/>
                  <a:gd name="T47" fmla="*/ 46 h 152"/>
                  <a:gd name="T48" fmla="*/ 2822 w 3058"/>
                  <a:gd name="T49" fmla="*/ 52 h 152"/>
                  <a:gd name="T50" fmla="*/ 2772 w 3058"/>
                  <a:gd name="T51" fmla="*/ 54 h 152"/>
                  <a:gd name="T52" fmla="*/ 2666 w 3058"/>
                  <a:gd name="T53" fmla="*/ 61 h 152"/>
                  <a:gd name="T54" fmla="*/ 2596 w 3058"/>
                  <a:gd name="T55" fmla="*/ 63 h 152"/>
                  <a:gd name="T56" fmla="*/ 2538 w 3058"/>
                  <a:gd name="T57" fmla="*/ 66 h 152"/>
                  <a:gd name="T58" fmla="*/ 2468 w 3058"/>
                  <a:gd name="T59" fmla="*/ 68 h 152"/>
                  <a:gd name="T60" fmla="*/ 2398 w 3058"/>
                  <a:gd name="T61" fmla="*/ 70 h 152"/>
                  <a:gd name="T62" fmla="*/ 2283 w 3058"/>
                  <a:gd name="T63" fmla="*/ 69 h 152"/>
                  <a:gd name="T64" fmla="*/ 2191 w 3058"/>
                  <a:gd name="T65" fmla="*/ 74 h 152"/>
                  <a:gd name="T66" fmla="*/ 2119 w 3058"/>
                  <a:gd name="T67" fmla="*/ 74 h 152"/>
                  <a:gd name="T68" fmla="*/ 2046 w 3058"/>
                  <a:gd name="T69" fmla="*/ 79 h 152"/>
                  <a:gd name="T70" fmla="*/ 1962 w 3058"/>
                  <a:gd name="T71" fmla="*/ 71 h 152"/>
                  <a:gd name="T72" fmla="*/ 1851 w 3058"/>
                  <a:gd name="T73" fmla="*/ 72 h 152"/>
                  <a:gd name="T74" fmla="*/ 1721 w 3058"/>
                  <a:gd name="T75" fmla="*/ 69 h 152"/>
                  <a:gd name="T76" fmla="*/ 1524 w 3058"/>
                  <a:gd name="T77" fmla="*/ 59 h 152"/>
                  <a:gd name="T78" fmla="*/ 1426 w 3058"/>
                  <a:gd name="T79" fmla="*/ 58 h 152"/>
                  <a:gd name="T80" fmla="*/ 1355 w 3058"/>
                  <a:gd name="T81" fmla="*/ 56 h 152"/>
                  <a:gd name="T82" fmla="*/ 1243 w 3058"/>
                  <a:gd name="T83" fmla="*/ 48 h 152"/>
                  <a:gd name="T84" fmla="*/ 1036 w 3058"/>
                  <a:gd name="T85" fmla="*/ 43 h 152"/>
                  <a:gd name="T86" fmla="*/ 845 w 3058"/>
                  <a:gd name="T87" fmla="*/ 35 h 152"/>
                  <a:gd name="T88" fmla="*/ 640 w 3058"/>
                  <a:gd name="T89" fmla="*/ 28 h 152"/>
                  <a:gd name="T90" fmla="*/ 4 w 3058"/>
                  <a:gd name="T91" fmla="*/ 18 h 152"/>
                  <a:gd name="T92" fmla="*/ 48 w 3058"/>
                  <a:gd name="T93" fmla="*/ 29 h 152"/>
                  <a:gd name="T94" fmla="*/ 72 w 3058"/>
                  <a:gd name="T95" fmla="*/ 37 h 152"/>
                  <a:gd name="T96" fmla="*/ 150 w 3058"/>
                  <a:gd name="T97" fmla="*/ 51 h 152"/>
                  <a:gd name="T98" fmla="*/ 400 w 3058"/>
                  <a:gd name="T99" fmla="*/ 90 h 152"/>
                  <a:gd name="T100" fmla="*/ 927 w 3058"/>
                  <a:gd name="T101" fmla="*/ 115 h 152"/>
                  <a:gd name="T102" fmla="*/ 998 w 3058"/>
                  <a:gd name="T103" fmla="*/ 116 h 152"/>
                  <a:gd name="T104" fmla="*/ 1219 w 3058"/>
                  <a:gd name="T105" fmla="*/ 126 h 152"/>
                  <a:gd name="T106" fmla="*/ 1317 w 3058"/>
                  <a:gd name="T107" fmla="*/ 124 h 152"/>
                  <a:gd name="T108" fmla="*/ 1416 w 3058"/>
                  <a:gd name="T109" fmla="*/ 134 h 152"/>
                  <a:gd name="T110" fmla="*/ 1515 w 3058"/>
                  <a:gd name="T111" fmla="*/ 14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58" h="152">
                    <a:moveTo>
                      <a:pt x="1515" y="141"/>
                    </a:moveTo>
                    <a:lnTo>
                      <a:pt x="1515" y="141"/>
                    </a:lnTo>
                    <a:cubicBezTo>
                      <a:pt x="1554" y="141"/>
                      <a:pt x="1604" y="139"/>
                      <a:pt x="1642" y="141"/>
                    </a:cubicBezTo>
                    <a:cubicBezTo>
                      <a:pt x="1650" y="138"/>
                      <a:pt x="1663" y="138"/>
                      <a:pt x="1675" y="137"/>
                    </a:cubicBezTo>
                    <a:lnTo>
                      <a:pt x="1676" y="143"/>
                    </a:lnTo>
                    <a:lnTo>
                      <a:pt x="1686" y="141"/>
                    </a:lnTo>
                    <a:cubicBezTo>
                      <a:pt x="1690" y="143"/>
                      <a:pt x="1678" y="142"/>
                      <a:pt x="1686" y="144"/>
                    </a:cubicBezTo>
                    <a:lnTo>
                      <a:pt x="1690" y="141"/>
                    </a:lnTo>
                    <a:cubicBezTo>
                      <a:pt x="1690" y="143"/>
                      <a:pt x="1716" y="143"/>
                      <a:pt x="1699" y="146"/>
                    </a:cubicBezTo>
                    <a:lnTo>
                      <a:pt x="1738" y="147"/>
                    </a:lnTo>
                    <a:cubicBezTo>
                      <a:pt x="1747" y="148"/>
                      <a:pt x="1743" y="143"/>
                      <a:pt x="1753" y="145"/>
                    </a:cubicBezTo>
                    <a:cubicBezTo>
                      <a:pt x="1755" y="146"/>
                      <a:pt x="1750" y="146"/>
                      <a:pt x="1750" y="148"/>
                    </a:cubicBezTo>
                    <a:cubicBezTo>
                      <a:pt x="1779" y="152"/>
                      <a:pt x="1784" y="138"/>
                      <a:pt x="1811" y="141"/>
                    </a:cubicBezTo>
                    <a:lnTo>
                      <a:pt x="1809" y="142"/>
                    </a:lnTo>
                    <a:cubicBezTo>
                      <a:pt x="1814" y="140"/>
                      <a:pt x="1822" y="140"/>
                      <a:pt x="1822" y="140"/>
                    </a:cubicBezTo>
                    <a:cubicBezTo>
                      <a:pt x="1819" y="134"/>
                      <a:pt x="1818" y="143"/>
                      <a:pt x="1809" y="139"/>
                    </a:cubicBezTo>
                    <a:cubicBezTo>
                      <a:pt x="1810" y="135"/>
                      <a:pt x="1820" y="137"/>
                      <a:pt x="1819" y="133"/>
                    </a:cubicBezTo>
                    <a:cubicBezTo>
                      <a:pt x="1825" y="135"/>
                      <a:pt x="1829" y="132"/>
                      <a:pt x="1835" y="132"/>
                    </a:cubicBezTo>
                    <a:cubicBezTo>
                      <a:pt x="1844" y="135"/>
                      <a:pt x="1858" y="133"/>
                      <a:pt x="1865" y="137"/>
                    </a:cubicBezTo>
                    <a:cubicBezTo>
                      <a:pt x="1869" y="135"/>
                      <a:pt x="1875" y="131"/>
                      <a:pt x="1885" y="131"/>
                    </a:cubicBezTo>
                    <a:cubicBezTo>
                      <a:pt x="1892" y="134"/>
                      <a:pt x="1883" y="134"/>
                      <a:pt x="1893" y="136"/>
                    </a:cubicBezTo>
                    <a:lnTo>
                      <a:pt x="1894" y="133"/>
                    </a:lnTo>
                    <a:cubicBezTo>
                      <a:pt x="1902" y="133"/>
                      <a:pt x="1901" y="134"/>
                      <a:pt x="1900" y="135"/>
                    </a:cubicBezTo>
                    <a:cubicBezTo>
                      <a:pt x="1909" y="136"/>
                      <a:pt x="1908" y="132"/>
                      <a:pt x="1918" y="134"/>
                    </a:cubicBezTo>
                    <a:lnTo>
                      <a:pt x="1912" y="136"/>
                    </a:lnTo>
                    <a:cubicBezTo>
                      <a:pt x="1920" y="135"/>
                      <a:pt x="1923" y="136"/>
                      <a:pt x="1934" y="136"/>
                    </a:cubicBezTo>
                    <a:cubicBezTo>
                      <a:pt x="1934" y="138"/>
                      <a:pt x="1930" y="137"/>
                      <a:pt x="1926" y="137"/>
                    </a:cubicBezTo>
                    <a:cubicBezTo>
                      <a:pt x="1932" y="141"/>
                      <a:pt x="1937" y="135"/>
                      <a:pt x="1940" y="136"/>
                    </a:cubicBezTo>
                    <a:cubicBezTo>
                      <a:pt x="1939" y="135"/>
                      <a:pt x="1931" y="134"/>
                      <a:pt x="1935" y="131"/>
                    </a:cubicBezTo>
                    <a:cubicBezTo>
                      <a:pt x="1941" y="132"/>
                      <a:pt x="1947" y="128"/>
                      <a:pt x="1951" y="131"/>
                    </a:cubicBezTo>
                    <a:lnTo>
                      <a:pt x="1945" y="134"/>
                    </a:lnTo>
                    <a:cubicBezTo>
                      <a:pt x="1956" y="132"/>
                      <a:pt x="1951" y="130"/>
                      <a:pt x="1964" y="131"/>
                    </a:cubicBezTo>
                    <a:cubicBezTo>
                      <a:pt x="1963" y="131"/>
                      <a:pt x="1963" y="132"/>
                      <a:pt x="1963" y="133"/>
                    </a:cubicBezTo>
                    <a:cubicBezTo>
                      <a:pt x="1971" y="129"/>
                      <a:pt x="1982" y="132"/>
                      <a:pt x="1994" y="132"/>
                    </a:cubicBezTo>
                    <a:lnTo>
                      <a:pt x="1992" y="133"/>
                    </a:lnTo>
                    <a:cubicBezTo>
                      <a:pt x="1997" y="132"/>
                      <a:pt x="2000" y="130"/>
                      <a:pt x="2002" y="130"/>
                    </a:cubicBezTo>
                    <a:cubicBezTo>
                      <a:pt x="1995" y="128"/>
                      <a:pt x="1997" y="128"/>
                      <a:pt x="1996" y="125"/>
                    </a:cubicBezTo>
                    <a:cubicBezTo>
                      <a:pt x="2006" y="129"/>
                      <a:pt x="2010" y="120"/>
                      <a:pt x="2025" y="122"/>
                    </a:cubicBezTo>
                    <a:cubicBezTo>
                      <a:pt x="2025" y="124"/>
                      <a:pt x="2022" y="126"/>
                      <a:pt x="2017" y="124"/>
                    </a:cubicBezTo>
                    <a:cubicBezTo>
                      <a:pt x="2012" y="129"/>
                      <a:pt x="2012" y="133"/>
                      <a:pt x="2003" y="135"/>
                    </a:cubicBezTo>
                    <a:cubicBezTo>
                      <a:pt x="2008" y="134"/>
                      <a:pt x="2015" y="133"/>
                      <a:pt x="2014" y="135"/>
                    </a:cubicBezTo>
                    <a:lnTo>
                      <a:pt x="2015" y="131"/>
                    </a:lnTo>
                    <a:cubicBezTo>
                      <a:pt x="2019" y="130"/>
                      <a:pt x="2022" y="131"/>
                      <a:pt x="2024" y="131"/>
                    </a:cubicBezTo>
                    <a:cubicBezTo>
                      <a:pt x="2026" y="128"/>
                      <a:pt x="2017" y="126"/>
                      <a:pt x="2025" y="125"/>
                    </a:cubicBezTo>
                    <a:cubicBezTo>
                      <a:pt x="2034" y="123"/>
                      <a:pt x="2030" y="129"/>
                      <a:pt x="2031" y="127"/>
                    </a:cubicBezTo>
                    <a:cubicBezTo>
                      <a:pt x="2044" y="125"/>
                      <a:pt x="2036" y="122"/>
                      <a:pt x="2048" y="124"/>
                    </a:cubicBezTo>
                    <a:cubicBezTo>
                      <a:pt x="2047" y="124"/>
                      <a:pt x="2045" y="125"/>
                      <a:pt x="2044" y="124"/>
                    </a:cubicBezTo>
                    <a:cubicBezTo>
                      <a:pt x="2052" y="126"/>
                      <a:pt x="2065" y="123"/>
                      <a:pt x="2067" y="128"/>
                    </a:cubicBezTo>
                    <a:cubicBezTo>
                      <a:pt x="2066" y="130"/>
                      <a:pt x="2066" y="131"/>
                      <a:pt x="2063" y="131"/>
                    </a:cubicBezTo>
                    <a:lnTo>
                      <a:pt x="2063" y="130"/>
                    </a:lnTo>
                    <a:cubicBezTo>
                      <a:pt x="2053" y="134"/>
                      <a:pt x="2071" y="129"/>
                      <a:pt x="2068" y="134"/>
                    </a:cubicBezTo>
                    <a:cubicBezTo>
                      <a:pt x="2067" y="131"/>
                      <a:pt x="2079" y="131"/>
                      <a:pt x="2084" y="132"/>
                    </a:cubicBezTo>
                    <a:lnTo>
                      <a:pt x="2083" y="129"/>
                    </a:lnTo>
                    <a:cubicBezTo>
                      <a:pt x="2100" y="119"/>
                      <a:pt x="2082" y="135"/>
                      <a:pt x="2100" y="133"/>
                    </a:cubicBezTo>
                    <a:cubicBezTo>
                      <a:pt x="2111" y="131"/>
                      <a:pt x="2095" y="133"/>
                      <a:pt x="2102" y="130"/>
                    </a:cubicBezTo>
                    <a:cubicBezTo>
                      <a:pt x="2110" y="131"/>
                      <a:pt x="2113" y="133"/>
                      <a:pt x="2124" y="132"/>
                    </a:cubicBezTo>
                    <a:cubicBezTo>
                      <a:pt x="2127" y="133"/>
                      <a:pt x="2133" y="134"/>
                      <a:pt x="2134" y="138"/>
                    </a:cubicBezTo>
                    <a:cubicBezTo>
                      <a:pt x="2141" y="136"/>
                      <a:pt x="2155" y="139"/>
                      <a:pt x="2158" y="135"/>
                    </a:cubicBezTo>
                    <a:cubicBezTo>
                      <a:pt x="2147" y="133"/>
                      <a:pt x="2147" y="139"/>
                      <a:pt x="2133" y="135"/>
                    </a:cubicBezTo>
                    <a:lnTo>
                      <a:pt x="2137" y="132"/>
                    </a:lnTo>
                    <a:cubicBezTo>
                      <a:pt x="2146" y="132"/>
                      <a:pt x="2158" y="130"/>
                      <a:pt x="2165" y="131"/>
                    </a:cubicBezTo>
                    <a:cubicBezTo>
                      <a:pt x="2164" y="130"/>
                      <a:pt x="2163" y="129"/>
                      <a:pt x="2164" y="128"/>
                    </a:cubicBezTo>
                    <a:cubicBezTo>
                      <a:pt x="2177" y="127"/>
                      <a:pt x="2181" y="123"/>
                      <a:pt x="2194" y="124"/>
                    </a:cubicBezTo>
                    <a:cubicBezTo>
                      <a:pt x="2196" y="127"/>
                      <a:pt x="2188" y="127"/>
                      <a:pt x="2183" y="127"/>
                    </a:cubicBezTo>
                    <a:cubicBezTo>
                      <a:pt x="2191" y="129"/>
                      <a:pt x="2191" y="127"/>
                      <a:pt x="2204" y="128"/>
                    </a:cubicBezTo>
                    <a:cubicBezTo>
                      <a:pt x="2205" y="131"/>
                      <a:pt x="2196" y="128"/>
                      <a:pt x="2194" y="131"/>
                    </a:cubicBezTo>
                    <a:lnTo>
                      <a:pt x="2209" y="129"/>
                    </a:lnTo>
                    <a:cubicBezTo>
                      <a:pt x="2208" y="130"/>
                      <a:pt x="2209" y="130"/>
                      <a:pt x="2209" y="130"/>
                    </a:cubicBezTo>
                    <a:cubicBezTo>
                      <a:pt x="2211" y="125"/>
                      <a:pt x="2220" y="130"/>
                      <a:pt x="2228" y="128"/>
                    </a:cubicBezTo>
                    <a:cubicBezTo>
                      <a:pt x="2249" y="128"/>
                      <a:pt x="2252" y="121"/>
                      <a:pt x="2264" y="117"/>
                    </a:cubicBezTo>
                    <a:cubicBezTo>
                      <a:pt x="2267" y="118"/>
                      <a:pt x="2268" y="120"/>
                      <a:pt x="2266" y="121"/>
                    </a:cubicBezTo>
                    <a:cubicBezTo>
                      <a:pt x="2261" y="119"/>
                      <a:pt x="2262" y="120"/>
                      <a:pt x="2260" y="122"/>
                    </a:cubicBezTo>
                    <a:cubicBezTo>
                      <a:pt x="2268" y="121"/>
                      <a:pt x="2276" y="126"/>
                      <a:pt x="2272" y="128"/>
                    </a:cubicBezTo>
                    <a:cubicBezTo>
                      <a:pt x="2283" y="126"/>
                      <a:pt x="2268" y="125"/>
                      <a:pt x="2275" y="124"/>
                    </a:cubicBezTo>
                    <a:lnTo>
                      <a:pt x="2290" y="123"/>
                    </a:lnTo>
                    <a:cubicBezTo>
                      <a:pt x="2288" y="121"/>
                      <a:pt x="2283" y="121"/>
                      <a:pt x="2291" y="119"/>
                    </a:cubicBezTo>
                    <a:cubicBezTo>
                      <a:pt x="2297" y="118"/>
                      <a:pt x="2301" y="118"/>
                      <a:pt x="2309" y="118"/>
                    </a:cubicBezTo>
                    <a:cubicBezTo>
                      <a:pt x="2308" y="119"/>
                      <a:pt x="2312" y="121"/>
                      <a:pt x="2306" y="122"/>
                    </a:cubicBezTo>
                    <a:cubicBezTo>
                      <a:pt x="2310" y="122"/>
                      <a:pt x="2317" y="122"/>
                      <a:pt x="2319" y="120"/>
                    </a:cubicBezTo>
                    <a:cubicBezTo>
                      <a:pt x="2309" y="118"/>
                      <a:pt x="2335" y="117"/>
                      <a:pt x="2327" y="114"/>
                    </a:cubicBezTo>
                    <a:lnTo>
                      <a:pt x="2337" y="116"/>
                    </a:lnTo>
                    <a:cubicBezTo>
                      <a:pt x="2335" y="116"/>
                      <a:pt x="2335" y="117"/>
                      <a:pt x="2331" y="117"/>
                    </a:cubicBezTo>
                    <a:cubicBezTo>
                      <a:pt x="2334" y="120"/>
                      <a:pt x="2339" y="116"/>
                      <a:pt x="2343" y="115"/>
                    </a:cubicBezTo>
                    <a:cubicBezTo>
                      <a:pt x="2346" y="116"/>
                      <a:pt x="2355" y="115"/>
                      <a:pt x="2355" y="117"/>
                    </a:cubicBezTo>
                    <a:cubicBezTo>
                      <a:pt x="2358" y="116"/>
                      <a:pt x="2366" y="116"/>
                      <a:pt x="2367" y="118"/>
                    </a:cubicBezTo>
                    <a:cubicBezTo>
                      <a:pt x="2372" y="117"/>
                      <a:pt x="2368" y="115"/>
                      <a:pt x="2369" y="114"/>
                    </a:cubicBezTo>
                    <a:lnTo>
                      <a:pt x="2384" y="114"/>
                    </a:lnTo>
                    <a:cubicBezTo>
                      <a:pt x="2385" y="116"/>
                      <a:pt x="2387" y="121"/>
                      <a:pt x="2384" y="122"/>
                    </a:cubicBezTo>
                    <a:cubicBezTo>
                      <a:pt x="2390" y="120"/>
                      <a:pt x="2386" y="116"/>
                      <a:pt x="2395" y="116"/>
                    </a:cubicBezTo>
                    <a:cubicBezTo>
                      <a:pt x="2390" y="120"/>
                      <a:pt x="2407" y="118"/>
                      <a:pt x="2400" y="123"/>
                    </a:cubicBezTo>
                    <a:cubicBezTo>
                      <a:pt x="2405" y="126"/>
                      <a:pt x="2419" y="125"/>
                      <a:pt x="2427" y="123"/>
                    </a:cubicBezTo>
                    <a:cubicBezTo>
                      <a:pt x="2432" y="120"/>
                      <a:pt x="2418" y="122"/>
                      <a:pt x="2419" y="119"/>
                    </a:cubicBezTo>
                    <a:cubicBezTo>
                      <a:pt x="2441" y="117"/>
                      <a:pt x="2441" y="108"/>
                      <a:pt x="2458" y="109"/>
                    </a:cubicBezTo>
                    <a:lnTo>
                      <a:pt x="2454" y="108"/>
                    </a:lnTo>
                    <a:cubicBezTo>
                      <a:pt x="2464" y="106"/>
                      <a:pt x="2462" y="106"/>
                      <a:pt x="2468" y="103"/>
                    </a:cubicBezTo>
                    <a:cubicBezTo>
                      <a:pt x="2466" y="107"/>
                      <a:pt x="2480" y="113"/>
                      <a:pt x="2497" y="111"/>
                    </a:cubicBezTo>
                    <a:cubicBezTo>
                      <a:pt x="2498" y="109"/>
                      <a:pt x="2487" y="108"/>
                      <a:pt x="2490" y="104"/>
                    </a:cubicBezTo>
                    <a:lnTo>
                      <a:pt x="2501" y="103"/>
                    </a:lnTo>
                    <a:cubicBezTo>
                      <a:pt x="2502" y="103"/>
                      <a:pt x="2500" y="104"/>
                      <a:pt x="2499" y="105"/>
                    </a:cubicBezTo>
                    <a:cubicBezTo>
                      <a:pt x="2509" y="103"/>
                      <a:pt x="2518" y="109"/>
                      <a:pt x="2520" y="104"/>
                    </a:cubicBezTo>
                    <a:lnTo>
                      <a:pt x="2531" y="109"/>
                    </a:lnTo>
                    <a:lnTo>
                      <a:pt x="2527" y="107"/>
                    </a:lnTo>
                    <a:cubicBezTo>
                      <a:pt x="2528" y="105"/>
                      <a:pt x="2539" y="103"/>
                      <a:pt x="2541" y="103"/>
                    </a:cubicBezTo>
                    <a:cubicBezTo>
                      <a:pt x="2552" y="100"/>
                      <a:pt x="2557" y="101"/>
                      <a:pt x="2563" y="103"/>
                    </a:cubicBezTo>
                    <a:cubicBezTo>
                      <a:pt x="2561" y="102"/>
                      <a:pt x="2556" y="98"/>
                      <a:pt x="2565" y="97"/>
                    </a:cubicBezTo>
                    <a:cubicBezTo>
                      <a:pt x="2565" y="103"/>
                      <a:pt x="2583" y="98"/>
                      <a:pt x="2583" y="101"/>
                    </a:cubicBezTo>
                    <a:cubicBezTo>
                      <a:pt x="2587" y="101"/>
                      <a:pt x="2593" y="102"/>
                      <a:pt x="2594" y="100"/>
                    </a:cubicBezTo>
                    <a:lnTo>
                      <a:pt x="2593" y="104"/>
                    </a:lnTo>
                    <a:cubicBezTo>
                      <a:pt x="2594" y="98"/>
                      <a:pt x="2607" y="98"/>
                      <a:pt x="2617" y="96"/>
                    </a:cubicBezTo>
                    <a:cubicBezTo>
                      <a:pt x="2615" y="103"/>
                      <a:pt x="2628" y="94"/>
                      <a:pt x="2633" y="101"/>
                    </a:cubicBezTo>
                    <a:cubicBezTo>
                      <a:pt x="2634" y="96"/>
                      <a:pt x="2650" y="97"/>
                      <a:pt x="2652" y="93"/>
                    </a:cubicBezTo>
                    <a:cubicBezTo>
                      <a:pt x="2660" y="92"/>
                      <a:pt x="2659" y="97"/>
                      <a:pt x="2661" y="98"/>
                    </a:cubicBezTo>
                    <a:lnTo>
                      <a:pt x="2665" y="96"/>
                    </a:lnTo>
                    <a:cubicBezTo>
                      <a:pt x="2669" y="98"/>
                      <a:pt x="2683" y="97"/>
                      <a:pt x="2692" y="98"/>
                    </a:cubicBezTo>
                    <a:lnTo>
                      <a:pt x="2700" y="93"/>
                    </a:lnTo>
                    <a:lnTo>
                      <a:pt x="2703" y="95"/>
                    </a:lnTo>
                    <a:cubicBezTo>
                      <a:pt x="2704" y="93"/>
                      <a:pt x="2711" y="92"/>
                      <a:pt x="2706" y="91"/>
                    </a:cubicBezTo>
                    <a:lnTo>
                      <a:pt x="2711" y="91"/>
                    </a:lnTo>
                    <a:cubicBezTo>
                      <a:pt x="2711" y="86"/>
                      <a:pt x="2717" y="89"/>
                      <a:pt x="2725" y="86"/>
                    </a:cubicBezTo>
                    <a:cubicBezTo>
                      <a:pt x="2727" y="87"/>
                      <a:pt x="2727" y="88"/>
                      <a:pt x="2725" y="89"/>
                    </a:cubicBezTo>
                    <a:cubicBezTo>
                      <a:pt x="2729" y="88"/>
                      <a:pt x="2728" y="91"/>
                      <a:pt x="2730" y="92"/>
                    </a:cubicBezTo>
                    <a:cubicBezTo>
                      <a:pt x="2727" y="91"/>
                      <a:pt x="2745" y="82"/>
                      <a:pt x="2733" y="81"/>
                    </a:cubicBezTo>
                    <a:cubicBezTo>
                      <a:pt x="2732" y="79"/>
                      <a:pt x="2739" y="77"/>
                      <a:pt x="2743" y="78"/>
                    </a:cubicBezTo>
                    <a:lnTo>
                      <a:pt x="2746" y="82"/>
                    </a:lnTo>
                    <a:lnTo>
                      <a:pt x="2751" y="77"/>
                    </a:lnTo>
                    <a:cubicBezTo>
                      <a:pt x="2757" y="76"/>
                      <a:pt x="2761" y="78"/>
                      <a:pt x="2766" y="78"/>
                    </a:cubicBezTo>
                    <a:cubicBezTo>
                      <a:pt x="2760" y="79"/>
                      <a:pt x="2754" y="88"/>
                      <a:pt x="2769" y="86"/>
                    </a:cubicBezTo>
                    <a:cubicBezTo>
                      <a:pt x="2761" y="87"/>
                      <a:pt x="2758" y="90"/>
                      <a:pt x="2754" y="91"/>
                    </a:cubicBezTo>
                    <a:cubicBezTo>
                      <a:pt x="2757" y="91"/>
                      <a:pt x="2759" y="91"/>
                      <a:pt x="2754" y="94"/>
                    </a:cubicBezTo>
                    <a:cubicBezTo>
                      <a:pt x="2765" y="91"/>
                      <a:pt x="2758" y="91"/>
                      <a:pt x="2769" y="89"/>
                    </a:cubicBezTo>
                    <a:cubicBezTo>
                      <a:pt x="2768" y="93"/>
                      <a:pt x="2772" y="94"/>
                      <a:pt x="2781" y="94"/>
                    </a:cubicBezTo>
                    <a:lnTo>
                      <a:pt x="2774" y="92"/>
                    </a:lnTo>
                    <a:cubicBezTo>
                      <a:pt x="2774" y="92"/>
                      <a:pt x="2775" y="91"/>
                      <a:pt x="2775" y="91"/>
                    </a:cubicBezTo>
                    <a:cubicBezTo>
                      <a:pt x="2772" y="91"/>
                      <a:pt x="2771" y="90"/>
                      <a:pt x="2771" y="89"/>
                    </a:cubicBezTo>
                    <a:cubicBezTo>
                      <a:pt x="2773" y="89"/>
                      <a:pt x="2783" y="83"/>
                      <a:pt x="2785" y="85"/>
                    </a:cubicBezTo>
                    <a:cubicBezTo>
                      <a:pt x="2773" y="80"/>
                      <a:pt x="2804" y="78"/>
                      <a:pt x="2797" y="76"/>
                    </a:cubicBezTo>
                    <a:cubicBezTo>
                      <a:pt x="2798" y="74"/>
                      <a:pt x="2805" y="73"/>
                      <a:pt x="2806" y="75"/>
                    </a:cubicBezTo>
                    <a:cubicBezTo>
                      <a:pt x="2797" y="79"/>
                      <a:pt x="2814" y="79"/>
                      <a:pt x="2812" y="82"/>
                    </a:cubicBezTo>
                    <a:cubicBezTo>
                      <a:pt x="2816" y="80"/>
                      <a:pt x="2805" y="80"/>
                      <a:pt x="2809" y="78"/>
                    </a:cubicBezTo>
                    <a:cubicBezTo>
                      <a:pt x="2815" y="77"/>
                      <a:pt x="2819" y="79"/>
                      <a:pt x="2822" y="80"/>
                    </a:cubicBezTo>
                    <a:lnTo>
                      <a:pt x="2820" y="81"/>
                    </a:lnTo>
                    <a:lnTo>
                      <a:pt x="2829" y="82"/>
                    </a:lnTo>
                    <a:cubicBezTo>
                      <a:pt x="2830" y="79"/>
                      <a:pt x="2820" y="79"/>
                      <a:pt x="2828" y="77"/>
                    </a:cubicBezTo>
                    <a:cubicBezTo>
                      <a:pt x="2830" y="78"/>
                      <a:pt x="2838" y="76"/>
                      <a:pt x="2838" y="78"/>
                    </a:cubicBezTo>
                    <a:cubicBezTo>
                      <a:pt x="2834" y="81"/>
                      <a:pt x="2837" y="84"/>
                      <a:pt x="2831" y="85"/>
                    </a:cubicBezTo>
                    <a:cubicBezTo>
                      <a:pt x="2836" y="84"/>
                      <a:pt x="2854" y="82"/>
                      <a:pt x="2846" y="79"/>
                    </a:cubicBezTo>
                    <a:lnTo>
                      <a:pt x="2853" y="79"/>
                    </a:lnTo>
                    <a:cubicBezTo>
                      <a:pt x="2849" y="77"/>
                      <a:pt x="2837" y="76"/>
                      <a:pt x="2850" y="74"/>
                    </a:cubicBezTo>
                    <a:lnTo>
                      <a:pt x="2850" y="75"/>
                    </a:lnTo>
                    <a:lnTo>
                      <a:pt x="2859" y="71"/>
                    </a:lnTo>
                    <a:lnTo>
                      <a:pt x="2863" y="72"/>
                    </a:lnTo>
                    <a:cubicBezTo>
                      <a:pt x="2863" y="71"/>
                      <a:pt x="2864" y="70"/>
                      <a:pt x="2867" y="70"/>
                    </a:cubicBezTo>
                    <a:cubicBezTo>
                      <a:pt x="2868" y="71"/>
                      <a:pt x="2872" y="71"/>
                      <a:pt x="2872" y="73"/>
                    </a:cubicBezTo>
                    <a:cubicBezTo>
                      <a:pt x="2881" y="71"/>
                      <a:pt x="2880" y="69"/>
                      <a:pt x="2882" y="68"/>
                    </a:cubicBezTo>
                    <a:cubicBezTo>
                      <a:pt x="2887" y="67"/>
                      <a:pt x="2889" y="68"/>
                      <a:pt x="2887" y="70"/>
                    </a:cubicBezTo>
                    <a:cubicBezTo>
                      <a:pt x="2895" y="70"/>
                      <a:pt x="2908" y="68"/>
                      <a:pt x="2913" y="69"/>
                    </a:cubicBezTo>
                    <a:cubicBezTo>
                      <a:pt x="2923" y="66"/>
                      <a:pt x="2911" y="69"/>
                      <a:pt x="2916" y="66"/>
                    </a:cubicBezTo>
                    <a:cubicBezTo>
                      <a:pt x="2926" y="71"/>
                      <a:pt x="2950" y="64"/>
                      <a:pt x="2967" y="61"/>
                    </a:cubicBezTo>
                    <a:cubicBezTo>
                      <a:pt x="2961" y="56"/>
                      <a:pt x="2971" y="60"/>
                      <a:pt x="2973" y="54"/>
                    </a:cubicBezTo>
                    <a:cubicBezTo>
                      <a:pt x="2970" y="56"/>
                      <a:pt x="2990" y="57"/>
                      <a:pt x="2975" y="60"/>
                    </a:cubicBezTo>
                    <a:lnTo>
                      <a:pt x="2984" y="58"/>
                    </a:lnTo>
                    <a:cubicBezTo>
                      <a:pt x="2990" y="61"/>
                      <a:pt x="2970" y="63"/>
                      <a:pt x="2979" y="66"/>
                    </a:cubicBezTo>
                    <a:cubicBezTo>
                      <a:pt x="2989" y="64"/>
                      <a:pt x="2995" y="57"/>
                      <a:pt x="3007" y="58"/>
                    </a:cubicBezTo>
                    <a:cubicBezTo>
                      <a:pt x="3004" y="62"/>
                      <a:pt x="3016" y="55"/>
                      <a:pt x="3013" y="60"/>
                    </a:cubicBezTo>
                    <a:cubicBezTo>
                      <a:pt x="3011" y="62"/>
                      <a:pt x="3008" y="62"/>
                      <a:pt x="3005" y="63"/>
                    </a:cubicBezTo>
                    <a:lnTo>
                      <a:pt x="3007" y="63"/>
                    </a:lnTo>
                    <a:cubicBezTo>
                      <a:pt x="3029" y="61"/>
                      <a:pt x="3012" y="57"/>
                      <a:pt x="3023" y="53"/>
                    </a:cubicBezTo>
                    <a:cubicBezTo>
                      <a:pt x="3036" y="51"/>
                      <a:pt x="3034" y="55"/>
                      <a:pt x="3035" y="57"/>
                    </a:cubicBezTo>
                    <a:cubicBezTo>
                      <a:pt x="3037" y="57"/>
                      <a:pt x="3044" y="55"/>
                      <a:pt x="3047" y="54"/>
                    </a:cubicBezTo>
                    <a:cubicBezTo>
                      <a:pt x="3040" y="58"/>
                      <a:pt x="3032" y="53"/>
                      <a:pt x="3035" y="50"/>
                    </a:cubicBezTo>
                    <a:cubicBezTo>
                      <a:pt x="3042" y="54"/>
                      <a:pt x="3055" y="48"/>
                      <a:pt x="3058" y="45"/>
                    </a:cubicBezTo>
                    <a:cubicBezTo>
                      <a:pt x="3039" y="43"/>
                      <a:pt x="3045" y="47"/>
                      <a:pt x="3027" y="44"/>
                    </a:cubicBezTo>
                    <a:cubicBezTo>
                      <a:pt x="3024" y="46"/>
                      <a:pt x="3026" y="50"/>
                      <a:pt x="3015" y="50"/>
                    </a:cubicBezTo>
                    <a:cubicBezTo>
                      <a:pt x="3021" y="47"/>
                      <a:pt x="3014" y="48"/>
                      <a:pt x="3012" y="47"/>
                    </a:cubicBezTo>
                    <a:cubicBezTo>
                      <a:pt x="3014" y="50"/>
                      <a:pt x="3005" y="49"/>
                      <a:pt x="3002" y="51"/>
                    </a:cubicBezTo>
                    <a:cubicBezTo>
                      <a:pt x="2998" y="49"/>
                      <a:pt x="3007" y="44"/>
                      <a:pt x="2996" y="45"/>
                    </a:cubicBezTo>
                    <a:lnTo>
                      <a:pt x="2995" y="51"/>
                    </a:lnTo>
                    <a:cubicBezTo>
                      <a:pt x="2991" y="51"/>
                      <a:pt x="2996" y="46"/>
                      <a:pt x="2988" y="49"/>
                    </a:cubicBezTo>
                    <a:cubicBezTo>
                      <a:pt x="2992" y="45"/>
                      <a:pt x="2985" y="45"/>
                      <a:pt x="2997" y="42"/>
                    </a:cubicBezTo>
                    <a:cubicBezTo>
                      <a:pt x="2982" y="39"/>
                      <a:pt x="2976" y="48"/>
                      <a:pt x="2965" y="51"/>
                    </a:cubicBezTo>
                    <a:cubicBezTo>
                      <a:pt x="2966" y="51"/>
                      <a:pt x="2966" y="50"/>
                      <a:pt x="2967" y="49"/>
                    </a:cubicBezTo>
                    <a:cubicBezTo>
                      <a:pt x="2965" y="51"/>
                      <a:pt x="2960" y="52"/>
                      <a:pt x="2957" y="52"/>
                    </a:cubicBezTo>
                    <a:cubicBezTo>
                      <a:pt x="2950" y="52"/>
                      <a:pt x="2963" y="49"/>
                      <a:pt x="2960" y="48"/>
                    </a:cubicBezTo>
                    <a:lnTo>
                      <a:pt x="2949" y="49"/>
                    </a:lnTo>
                    <a:cubicBezTo>
                      <a:pt x="2948" y="49"/>
                      <a:pt x="2948" y="49"/>
                      <a:pt x="2948" y="49"/>
                    </a:cubicBezTo>
                    <a:cubicBezTo>
                      <a:pt x="2945" y="50"/>
                      <a:pt x="2942" y="51"/>
                      <a:pt x="2941" y="50"/>
                    </a:cubicBezTo>
                    <a:cubicBezTo>
                      <a:pt x="2944" y="47"/>
                      <a:pt x="2945" y="45"/>
                      <a:pt x="2948" y="44"/>
                    </a:cubicBezTo>
                    <a:lnTo>
                      <a:pt x="2936" y="49"/>
                    </a:lnTo>
                    <a:cubicBezTo>
                      <a:pt x="2937" y="47"/>
                      <a:pt x="2925" y="47"/>
                      <a:pt x="2934" y="45"/>
                    </a:cubicBezTo>
                    <a:lnTo>
                      <a:pt x="2915" y="48"/>
                    </a:lnTo>
                    <a:lnTo>
                      <a:pt x="2913" y="44"/>
                    </a:lnTo>
                    <a:cubicBezTo>
                      <a:pt x="2909" y="45"/>
                      <a:pt x="2909" y="46"/>
                      <a:pt x="2914" y="46"/>
                    </a:cubicBezTo>
                    <a:cubicBezTo>
                      <a:pt x="2907" y="46"/>
                      <a:pt x="2887" y="56"/>
                      <a:pt x="2889" y="48"/>
                    </a:cubicBezTo>
                    <a:cubicBezTo>
                      <a:pt x="2875" y="53"/>
                      <a:pt x="2869" y="52"/>
                      <a:pt x="2852" y="56"/>
                    </a:cubicBezTo>
                    <a:cubicBezTo>
                      <a:pt x="2865" y="51"/>
                      <a:pt x="2836" y="53"/>
                      <a:pt x="2850" y="50"/>
                    </a:cubicBezTo>
                    <a:cubicBezTo>
                      <a:pt x="2841" y="49"/>
                      <a:pt x="2840" y="54"/>
                      <a:pt x="2833" y="55"/>
                    </a:cubicBezTo>
                    <a:cubicBezTo>
                      <a:pt x="2827" y="54"/>
                      <a:pt x="2829" y="50"/>
                      <a:pt x="2836" y="48"/>
                    </a:cubicBezTo>
                    <a:lnTo>
                      <a:pt x="2828" y="50"/>
                    </a:lnTo>
                    <a:lnTo>
                      <a:pt x="2828" y="50"/>
                    </a:lnTo>
                    <a:lnTo>
                      <a:pt x="2822" y="52"/>
                    </a:lnTo>
                    <a:cubicBezTo>
                      <a:pt x="2814" y="51"/>
                      <a:pt x="2820" y="49"/>
                      <a:pt x="2812" y="49"/>
                    </a:cubicBezTo>
                    <a:lnTo>
                      <a:pt x="2811" y="53"/>
                    </a:lnTo>
                    <a:lnTo>
                      <a:pt x="2805" y="51"/>
                    </a:lnTo>
                    <a:cubicBezTo>
                      <a:pt x="2808" y="52"/>
                      <a:pt x="2803" y="54"/>
                      <a:pt x="2798" y="54"/>
                    </a:cubicBezTo>
                    <a:lnTo>
                      <a:pt x="2798" y="54"/>
                    </a:lnTo>
                    <a:lnTo>
                      <a:pt x="2791" y="55"/>
                    </a:lnTo>
                    <a:cubicBezTo>
                      <a:pt x="2798" y="52"/>
                      <a:pt x="2785" y="55"/>
                      <a:pt x="2788" y="52"/>
                    </a:cubicBezTo>
                    <a:cubicBezTo>
                      <a:pt x="2782" y="52"/>
                      <a:pt x="2782" y="53"/>
                      <a:pt x="2772" y="54"/>
                    </a:cubicBezTo>
                    <a:lnTo>
                      <a:pt x="2774" y="56"/>
                    </a:lnTo>
                    <a:cubicBezTo>
                      <a:pt x="2761" y="60"/>
                      <a:pt x="2773" y="53"/>
                      <a:pt x="2762" y="54"/>
                    </a:cubicBezTo>
                    <a:lnTo>
                      <a:pt x="2763" y="56"/>
                    </a:lnTo>
                    <a:cubicBezTo>
                      <a:pt x="2747" y="53"/>
                      <a:pt x="2737" y="62"/>
                      <a:pt x="2725" y="60"/>
                    </a:cubicBezTo>
                    <a:cubicBezTo>
                      <a:pt x="2731" y="58"/>
                      <a:pt x="2729" y="55"/>
                      <a:pt x="2729" y="56"/>
                    </a:cubicBezTo>
                    <a:cubicBezTo>
                      <a:pt x="2719" y="58"/>
                      <a:pt x="2703" y="59"/>
                      <a:pt x="2693" y="63"/>
                    </a:cubicBezTo>
                    <a:cubicBezTo>
                      <a:pt x="2689" y="59"/>
                      <a:pt x="2688" y="58"/>
                      <a:pt x="2677" y="57"/>
                    </a:cubicBezTo>
                    <a:cubicBezTo>
                      <a:pt x="2670" y="58"/>
                      <a:pt x="2669" y="59"/>
                      <a:pt x="2666" y="61"/>
                    </a:cubicBezTo>
                    <a:cubicBezTo>
                      <a:pt x="2659" y="61"/>
                      <a:pt x="2645" y="64"/>
                      <a:pt x="2644" y="61"/>
                    </a:cubicBezTo>
                    <a:cubicBezTo>
                      <a:pt x="2643" y="63"/>
                      <a:pt x="2637" y="61"/>
                      <a:pt x="2634" y="63"/>
                    </a:cubicBezTo>
                    <a:lnTo>
                      <a:pt x="2633" y="62"/>
                    </a:lnTo>
                    <a:lnTo>
                      <a:pt x="2633" y="65"/>
                    </a:lnTo>
                    <a:cubicBezTo>
                      <a:pt x="2620" y="60"/>
                      <a:pt x="2611" y="70"/>
                      <a:pt x="2598" y="66"/>
                    </a:cubicBezTo>
                    <a:lnTo>
                      <a:pt x="2600" y="65"/>
                    </a:lnTo>
                    <a:lnTo>
                      <a:pt x="2594" y="66"/>
                    </a:lnTo>
                    <a:cubicBezTo>
                      <a:pt x="2593" y="65"/>
                      <a:pt x="2596" y="64"/>
                      <a:pt x="2596" y="63"/>
                    </a:cubicBezTo>
                    <a:lnTo>
                      <a:pt x="2570" y="64"/>
                    </a:lnTo>
                    <a:lnTo>
                      <a:pt x="2575" y="66"/>
                    </a:lnTo>
                    <a:cubicBezTo>
                      <a:pt x="2569" y="67"/>
                      <a:pt x="2566" y="70"/>
                      <a:pt x="2559" y="68"/>
                    </a:cubicBezTo>
                    <a:cubicBezTo>
                      <a:pt x="2570" y="64"/>
                      <a:pt x="2551" y="69"/>
                      <a:pt x="2549" y="66"/>
                    </a:cubicBezTo>
                    <a:lnTo>
                      <a:pt x="2554" y="64"/>
                    </a:lnTo>
                    <a:cubicBezTo>
                      <a:pt x="2547" y="65"/>
                      <a:pt x="2547" y="65"/>
                      <a:pt x="2548" y="68"/>
                    </a:cubicBezTo>
                    <a:cubicBezTo>
                      <a:pt x="2538" y="69"/>
                      <a:pt x="2540" y="63"/>
                      <a:pt x="2531" y="66"/>
                    </a:cubicBezTo>
                    <a:lnTo>
                      <a:pt x="2538" y="66"/>
                    </a:lnTo>
                    <a:cubicBezTo>
                      <a:pt x="2540" y="68"/>
                      <a:pt x="2535" y="70"/>
                      <a:pt x="2531" y="70"/>
                    </a:cubicBezTo>
                    <a:cubicBezTo>
                      <a:pt x="2530" y="70"/>
                      <a:pt x="2527" y="69"/>
                      <a:pt x="2530" y="68"/>
                    </a:cubicBezTo>
                    <a:cubicBezTo>
                      <a:pt x="2522" y="70"/>
                      <a:pt x="2511" y="69"/>
                      <a:pt x="2507" y="71"/>
                    </a:cubicBezTo>
                    <a:cubicBezTo>
                      <a:pt x="2503" y="70"/>
                      <a:pt x="2504" y="68"/>
                      <a:pt x="2506" y="67"/>
                    </a:cubicBezTo>
                    <a:cubicBezTo>
                      <a:pt x="2490" y="71"/>
                      <a:pt x="2499" y="67"/>
                      <a:pt x="2482" y="71"/>
                    </a:cubicBezTo>
                    <a:lnTo>
                      <a:pt x="2482" y="69"/>
                    </a:lnTo>
                    <a:lnTo>
                      <a:pt x="2477" y="71"/>
                    </a:lnTo>
                    <a:lnTo>
                      <a:pt x="2468" y="68"/>
                    </a:lnTo>
                    <a:lnTo>
                      <a:pt x="2471" y="70"/>
                    </a:lnTo>
                    <a:cubicBezTo>
                      <a:pt x="2466" y="71"/>
                      <a:pt x="2462" y="72"/>
                      <a:pt x="2456" y="72"/>
                    </a:cubicBezTo>
                    <a:lnTo>
                      <a:pt x="2458" y="69"/>
                    </a:lnTo>
                    <a:cubicBezTo>
                      <a:pt x="2443" y="71"/>
                      <a:pt x="2440" y="66"/>
                      <a:pt x="2426" y="70"/>
                    </a:cubicBezTo>
                    <a:cubicBezTo>
                      <a:pt x="2425" y="70"/>
                      <a:pt x="2427" y="69"/>
                      <a:pt x="2428" y="69"/>
                    </a:cubicBezTo>
                    <a:cubicBezTo>
                      <a:pt x="2415" y="73"/>
                      <a:pt x="2418" y="65"/>
                      <a:pt x="2404" y="70"/>
                    </a:cubicBezTo>
                    <a:cubicBezTo>
                      <a:pt x="2405" y="70"/>
                      <a:pt x="2403" y="69"/>
                      <a:pt x="2404" y="68"/>
                    </a:cubicBezTo>
                    <a:lnTo>
                      <a:pt x="2398" y="70"/>
                    </a:lnTo>
                    <a:lnTo>
                      <a:pt x="2398" y="67"/>
                    </a:lnTo>
                    <a:lnTo>
                      <a:pt x="2393" y="71"/>
                    </a:lnTo>
                    <a:lnTo>
                      <a:pt x="2389" y="68"/>
                    </a:lnTo>
                    <a:lnTo>
                      <a:pt x="2387" y="70"/>
                    </a:lnTo>
                    <a:cubicBezTo>
                      <a:pt x="2380" y="65"/>
                      <a:pt x="2370" y="69"/>
                      <a:pt x="2361" y="65"/>
                    </a:cubicBezTo>
                    <a:lnTo>
                      <a:pt x="2363" y="69"/>
                    </a:lnTo>
                    <a:cubicBezTo>
                      <a:pt x="2340" y="79"/>
                      <a:pt x="2310" y="67"/>
                      <a:pt x="2282" y="72"/>
                    </a:cubicBezTo>
                    <a:lnTo>
                      <a:pt x="2283" y="69"/>
                    </a:lnTo>
                    <a:lnTo>
                      <a:pt x="2271" y="73"/>
                    </a:lnTo>
                    <a:cubicBezTo>
                      <a:pt x="2265" y="71"/>
                      <a:pt x="2275" y="70"/>
                      <a:pt x="2273" y="69"/>
                    </a:cubicBezTo>
                    <a:cubicBezTo>
                      <a:pt x="2261" y="71"/>
                      <a:pt x="2268" y="73"/>
                      <a:pt x="2254" y="75"/>
                    </a:cubicBezTo>
                    <a:cubicBezTo>
                      <a:pt x="2246" y="73"/>
                      <a:pt x="2256" y="72"/>
                      <a:pt x="2259" y="71"/>
                    </a:cubicBezTo>
                    <a:cubicBezTo>
                      <a:pt x="2246" y="73"/>
                      <a:pt x="2226" y="76"/>
                      <a:pt x="2217" y="74"/>
                    </a:cubicBezTo>
                    <a:cubicBezTo>
                      <a:pt x="2217" y="75"/>
                      <a:pt x="2216" y="75"/>
                      <a:pt x="2217" y="75"/>
                    </a:cubicBezTo>
                    <a:cubicBezTo>
                      <a:pt x="2208" y="77"/>
                      <a:pt x="2196" y="76"/>
                      <a:pt x="2186" y="76"/>
                    </a:cubicBezTo>
                    <a:cubicBezTo>
                      <a:pt x="2186" y="75"/>
                      <a:pt x="2189" y="75"/>
                      <a:pt x="2191" y="74"/>
                    </a:cubicBezTo>
                    <a:cubicBezTo>
                      <a:pt x="2187" y="74"/>
                      <a:pt x="2183" y="73"/>
                      <a:pt x="2180" y="75"/>
                    </a:cubicBezTo>
                    <a:lnTo>
                      <a:pt x="2183" y="72"/>
                    </a:lnTo>
                    <a:cubicBezTo>
                      <a:pt x="2176" y="72"/>
                      <a:pt x="2161" y="74"/>
                      <a:pt x="2159" y="71"/>
                    </a:cubicBezTo>
                    <a:cubicBezTo>
                      <a:pt x="2160" y="72"/>
                      <a:pt x="2160" y="75"/>
                      <a:pt x="2153" y="75"/>
                    </a:cubicBezTo>
                    <a:cubicBezTo>
                      <a:pt x="2150" y="70"/>
                      <a:pt x="2136" y="77"/>
                      <a:pt x="2125" y="75"/>
                    </a:cubicBezTo>
                    <a:cubicBezTo>
                      <a:pt x="2126" y="74"/>
                      <a:pt x="2134" y="73"/>
                      <a:pt x="2132" y="73"/>
                    </a:cubicBezTo>
                    <a:cubicBezTo>
                      <a:pt x="2127" y="72"/>
                      <a:pt x="2122" y="75"/>
                      <a:pt x="2117" y="76"/>
                    </a:cubicBezTo>
                    <a:lnTo>
                      <a:pt x="2119" y="74"/>
                    </a:lnTo>
                    <a:lnTo>
                      <a:pt x="2094" y="77"/>
                    </a:lnTo>
                    <a:cubicBezTo>
                      <a:pt x="2091" y="73"/>
                      <a:pt x="2071" y="78"/>
                      <a:pt x="2073" y="75"/>
                    </a:cubicBezTo>
                    <a:cubicBezTo>
                      <a:pt x="2064" y="75"/>
                      <a:pt x="2080" y="77"/>
                      <a:pt x="2069" y="78"/>
                    </a:cubicBezTo>
                    <a:cubicBezTo>
                      <a:pt x="2066" y="76"/>
                      <a:pt x="2059" y="79"/>
                      <a:pt x="2060" y="76"/>
                    </a:cubicBezTo>
                    <a:lnTo>
                      <a:pt x="2061" y="75"/>
                    </a:lnTo>
                    <a:lnTo>
                      <a:pt x="2053" y="75"/>
                    </a:lnTo>
                    <a:lnTo>
                      <a:pt x="2058" y="72"/>
                    </a:lnTo>
                    <a:cubicBezTo>
                      <a:pt x="2051" y="73"/>
                      <a:pt x="2046" y="76"/>
                      <a:pt x="2046" y="79"/>
                    </a:cubicBezTo>
                    <a:cubicBezTo>
                      <a:pt x="2040" y="77"/>
                      <a:pt x="2031" y="78"/>
                      <a:pt x="2028" y="76"/>
                    </a:cubicBezTo>
                    <a:lnTo>
                      <a:pt x="2030" y="75"/>
                    </a:lnTo>
                    <a:cubicBezTo>
                      <a:pt x="2013" y="76"/>
                      <a:pt x="2001" y="67"/>
                      <a:pt x="1987" y="72"/>
                    </a:cubicBezTo>
                    <a:cubicBezTo>
                      <a:pt x="1986" y="72"/>
                      <a:pt x="1986" y="71"/>
                      <a:pt x="1988" y="71"/>
                    </a:cubicBezTo>
                    <a:lnTo>
                      <a:pt x="1977" y="71"/>
                    </a:lnTo>
                    <a:lnTo>
                      <a:pt x="1980" y="68"/>
                    </a:lnTo>
                    <a:lnTo>
                      <a:pt x="1962" y="72"/>
                    </a:lnTo>
                    <a:lnTo>
                      <a:pt x="1962" y="71"/>
                    </a:lnTo>
                    <a:cubicBezTo>
                      <a:pt x="1950" y="70"/>
                      <a:pt x="1932" y="71"/>
                      <a:pt x="1916" y="71"/>
                    </a:cubicBezTo>
                    <a:lnTo>
                      <a:pt x="1919" y="70"/>
                    </a:lnTo>
                    <a:cubicBezTo>
                      <a:pt x="1902" y="73"/>
                      <a:pt x="1902" y="69"/>
                      <a:pt x="1890" y="70"/>
                    </a:cubicBezTo>
                    <a:cubicBezTo>
                      <a:pt x="1891" y="70"/>
                      <a:pt x="1891" y="70"/>
                      <a:pt x="1891" y="70"/>
                    </a:cubicBezTo>
                    <a:lnTo>
                      <a:pt x="1880" y="70"/>
                    </a:lnTo>
                    <a:lnTo>
                      <a:pt x="1883" y="68"/>
                    </a:lnTo>
                    <a:cubicBezTo>
                      <a:pt x="1875" y="71"/>
                      <a:pt x="1860" y="64"/>
                      <a:pt x="1865" y="66"/>
                    </a:cubicBezTo>
                    <a:cubicBezTo>
                      <a:pt x="1860" y="68"/>
                      <a:pt x="1852" y="70"/>
                      <a:pt x="1851" y="72"/>
                    </a:cubicBezTo>
                    <a:cubicBezTo>
                      <a:pt x="1839" y="72"/>
                      <a:pt x="1848" y="70"/>
                      <a:pt x="1840" y="68"/>
                    </a:cubicBezTo>
                    <a:cubicBezTo>
                      <a:pt x="1832" y="68"/>
                      <a:pt x="1830" y="71"/>
                      <a:pt x="1818" y="69"/>
                    </a:cubicBezTo>
                    <a:lnTo>
                      <a:pt x="1819" y="68"/>
                    </a:lnTo>
                    <a:cubicBezTo>
                      <a:pt x="1813" y="68"/>
                      <a:pt x="1810" y="69"/>
                      <a:pt x="1802" y="69"/>
                    </a:cubicBezTo>
                    <a:lnTo>
                      <a:pt x="1804" y="68"/>
                    </a:lnTo>
                    <a:cubicBezTo>
                      <a:pt x="1792" y="71"/>
                      <a:pt x="1789" y="63"/>
                      <a:pt x="1779" y="70"/>
                    </a:cubicBezTo>
                    <a:cubicBezTo>
                      <a:pt x="1773" y="68"/>
                      <a:pt x="1763" y="69"/>
                      <a:pt x="1764" y="66"/>
                    </a:cubicBezTo>
                    <a:cubicBezTo>
                      <a:pt x="1748" y="68"/>
                      <a:pt x="1736" y="68"/>
                      <a:pt x="1721" y="69"/>
                    </a:cubicBezTo>
                    <a:cubicBezTo>
                      <a:pt x="1718" y="64"/>
                      <a:pt x="1717" y="69"/>
                      <a:pt x="1708" y="66"/>
                    </a:cubicBezTo>
                    <a:lnTo>
                      <a:pt x="1709" y="69"/>
                    </a:lnTo>
                    <a:cubicBezTo>
                      <a:pt x="1687" y="69"/>
                      <a:pt x="1662" y="62"/>
                      <a:pt x="1638" y="62"/>
                    </a:cubicBezTo>
                    <a:lnTo>
                      <a:pt x="1637" y="59"/>
                    </a:lnTo>
                    <a:lnTo>
                      <a:pt x="1632" y="62"/>
                    </a:lnTo>
                    <a:cubicBezTo>
                      <a:pt x="1606" y="60"/>
                      <a:pt x="1572" y="58"/>
                      <a:pt x="1551" y="57"/>
                    </a:cubicBezTo>
                    <a:cubicBezTo>
                      <a:pt x="1545" y="58"/>
                      <a:pt x="1534" y="61"/>
                      <a:pt x="1523" y="60"/>
                    </a:cubicBezTo>
                    <a:lnTo>
                      <a:pt x="1524" y="59"/>
                    </a:lnTo>
                    <a:cubicBezTo>
                      <a:pt x="1506" y="60"/>
                      <a:pt x="1486" y="61"/>
                      <a:pt x="1465" y="58"/>
                    </a:cubicBezTo>
                    <a:cubicBezTo>
                      <a:pt x="1466" y="57"/>
                      <a:pt x="1464" y="56"/>
                      <a:pt x="1467" y="56"/>
                    </a:cubicBezTo>
                    <a:cubicBezTo>
                      <a:pt x="1462" y="59"/>
                      <a:pt x="1455" y="55"/>
                      <a:pt x="1450" y="55"/>
                    </a:cubicBezTo>
                    <a:lnTo>
                      <a:pt x="1455" y="57"/>
                    </a:lnTo>
                    <a:cubicBezTo>
                      <a:pt x="1449" y="60"/>
                      <a:pt x="1441" y="57"/>
                      <a:pt x="1438" y="55"/>
                    </a:cubicBezTo>
                    <a:lnTo>
                      <a:pt x="1429" y="58"/>
                    </a:lnTo>
                    <a:cubicBezTo>
                      <a:pt x="1428" y="57"/>
                      <a:pt x="1427" y="57"/>
                      <a:pt x="1427" y="56"/>
                    </a:cubicBezTo>
                    <a:lnTo>
                      <a:pt x="1426" y="58"/>
                    </a:lnTo>
                    <a:lnTo>
                      <a:pt x="1421" y="54"/>
                    </a:lnTo>
                    <a:cubicBezTo>
                      <a:pt x="1418" y="55"/>
                      <a:pt x="1406" y="55"/>
                      <a:pt x="1402" y="58"/>
                    </a:cubicBezTo>
                    <a:cubicBezTo>
                      <a:pt x="1401" y="57"/>
                      <a:pt x="1393" y="56"/>
                      <a:pt x="1399" y="56"/>
                    </a:cubicBezTo>
                    <a:lnTo>
                      <a:pt x="1366" y="53"/>
                    </a:lnTo>
                    <a:lnTo>
                      <a:pt x="1371" y="55"/>
                    </a:lnTo>
                    <a:cubicBezTo>
                      <a:pt x="1372" y="58"/>
                      <a:pt x="1361" y="59"/>
                      <a:pt x="1356" y="58"/>
                    </a:cubicBezTo>
                    <a:cubicBezTo>
                      <a:pt x="1363" y="56"/>
                      <a:pt x="1357" y="54"/>
                      <a:pt x="1354" y="52"/>
                    </a:cubicBezTo>
                    <a:cubicBezTo>
                      <a:pt x="1349" y="53"/>
                      <a:pt x="1358" y="54"/>
                      <a:pt x="1355" y="56"/>
                    </a:cubicBezTo>
                    <a:cubicBezTo>
                      <a:pt x="1350" y="57"/>
                      <a:pt x="1337" y="58"/>
                      <a:pt x="1334" y="56"/>
                    </a:cubicBezTo>
                    <a:lnTo>
                      <a:pt x="1338" y="55"/>
                    </a:lnTo>
                    <a:cubicBezTo>
                      <a:pt x="1330" y="56"/>
                      <a:pt x="1326" y="51"/>
                      <a:pt x="1319" y="51"/>
                    </a:cubicBezTo>
                    <a:cubicBezTo>
                      <a:pt x="1312" y="53"/>
                      <a:pt x="1307" y="51"/>
                      <a:pt x="1308" y="56"/>
                    </a:cubicBezTo>
                    <a:cubicBezTo>
                      <a:pt x="1298" y="56"/>
                      <a:pt x="1304" y="52"/>
                      <a:pt x="1301" y="52"/>
                    </a:cubicBezTo>
                    <a:cubicBezTo>
                      <a:pt x="1296" y="54"/>
                      <a:pt x="1282" y="52"/>
                      <a:pt x="1280" y="50"/>
                    </a:cubicBezTo>
                    <a:cubicBezTo>
                      <a:pt x="1275" y="56"/>
                      <a:pt x="1254" y="46"/>
                      <a:pt x="1251" y="52"/>
                    </a:cubicBezTo>
                    <a:lnTo>
                      <a:pt x="1243" y="48"/>
                    </a:lnTo>
                    <a:cubicBezTo>
                      <a:pt x="1243" y="50"/>
                      <a:pt x="1241" y="53"/>
                      <a:pt x="1234" y="54"/>
                    </a:cubicBezTo>
                    <a:cubicBezTo>
                      <a:pt x="1228" y="52"/>
                      <a:pt x="1230" y="49"/>
                      <a:pt x="1228" y="47"/>
                    </a:cubicBezTo>
                    <a:lnTo>
                      <a:pt x="1223" y="53"/>
                    </a:lnTo>
                    <a:cubicBezTo>
                      <a:pt x="1187" y="46"/>
                      <a:pt x="1140" y="48"/>
                      <a:pt x="1100" y="42"/>
                    </a:cubicBezTo>
                    <a:cubicBezTo>
                      <a:pt x="1082" y="42"/>
                      <a:pt x="1060" y="44"/>
                      <a:pt x="1039" y="43"/>
                    </a:cubicBezTo>
                    <a:lnTo>
                      <a:pt x="1041" y="42"/>
                    </a:lnTo>
                    <a:lnTo>
                      <a:pt x="1021" y="40"/>
                    </a:lnTo>
                    <a:lnTo>
                      <a:pt x="1036" y="43"/>
                    </a:lnTo>
                    <a:cubicBezTo>
                      <a:pt x="1031" y="43"/>
                      <a:pt x="1028" y="44"/>
                      <a:pt x="1023" y="44"/>
                    </a:cubicBezTo>
                    <a:cubicBezTo>
                      <a:pt x="1001" y="41"/>
                      <a:pt x="971" y="37"/>
                      <a:pt x="943" y="39"/>
                    </a:cubicBezTo>
                    <a:cubicBezTo>
                      <a:pt x="925" y="45"/>
                      <a:pt x="931" y="33"/>
                      <a:pt x="914" y="37"/>
                    </a:cubicBezTo>
                    <a:cubicBezTo>
                      <a:pt x="915" y="36"/>
                      <a:pt x="916" y="36"/>
                      <a:pt x="917" y="35"/>
                    </a:cubicBezTo>
                    <a:cubicBezTo>
                      <a:pt x="899" y="36"/>
                      <a:pt x="888" y="37"/>
                      <a:pt x="870" y="41"/>
                    </a:cubicBezTo>
                    <a:cubicBezTo>
                      <a:pt x="872" y="34"/>
                      <a:pt x="858" y="40"/>
                      <a:pt x="859" y="37"/>
                    </a:cubicBezTo>
                    <a:lnTo>
                      <a:pt x="858" y="40"/>
                    </a:lnTo>
                    <a:cubicBezTo>
                      <a:pt x="854" y="38"/>
                      <a:pt x="844" y="37"/>
                      <a:pt x="845" y="35"/>
                    </a:cubicBezTo>
                    <a:lnTo>
                      <a:pt x="837" y="38"/>
                    </a:lnTo>
                    <a:lnTo>
                      <a:pt x="836" y="35"/>
                    </a:lnTo>
                    <a:cubicBezTo>
                      <a:pt x="826" y="35"/>
                      <a:pt x="802" y="36"/>
                      <a:pt x="797" y="30"/>
                    </a:cubicBezTo>
                    <a:cubicBezTo>
                      <a:pt x="770" y="34"/>
                      <a:pt x="727" y="31"/>
                      <a:pt x="693" y="29"/>
                    </a:cubicBezTo>
                    <a:cubicBezTo>
                      <a:pt x="689" y="31"/>
                      <a:pt x="679" y="31"/>
                      <a:pt x="671" y="31"/>
                    </a:cubicBezTo>
                    <a:lnTo>
                      <a:pt x="663" y="27"/>
                    </a:lnTo>
                    <a:cubicBezTo>
                      <a:pt x="655" y="28"/>
                      <a:pt x="646" y="32"/>
                      <a:pt x="639" y="29"/>
                    </a:cubicBezTo>
                    <a:cubicBezTo>
                      <a:pt x="639" y="29"/>
                      <a:pt x="640" y="29"/>
                      <a:pt x="640" y="28"/>
                    </a:cubicBezTo>
                    <a:cubicBezTo>
                      <a:pt x="632" y="29"/>
                      <a:pt x="625" y="27"/>
                      <a:pt x="617" y="30"/>
                    </a:cubicBezTo>
                    <a:cubicBezTo>
                      <a:pt x="608" y="29"/>
                      <a:pt x="600" y="27"/>
                      <a:pt x="603" y="24"/>
                    </a:cubicBezTo>
                    <a:cubicBezTo>
                      <a:pt x="602" y="30"/>
                      <a:pt x="584" y="23"/>
                      <a:pt x="584" y="23"/>
                    </a:cubicBezTo>
                    <a:cubicBezTo>
                      <a:pt x="584" y="23"/>
                      <a:pt x="556" y="21"/>
                      <a:pt x="513" y="18"/>
                    </a:cubicBezTo>
                    <a:cubicBezTo>
                      <a:pt x="469" y="15"/>
                      <a:pt x="410" y="12"/>
                      <a:pt x="347" y="9"/>
                    </a:cubicBezTo>
                    <a:cubicBezTo>
                      <a:pt x="222" y="3"/>
                      <a:pt x="82" y="0"/>
                      <a:pt x="27" y="12"/>
                    </a:cubicBezTo>
                    <a:cubicBezTo>
                      <a:pt x="23" y="15"/>
                      <a:pt x="13" y="16"/>
                      <a:pt x="16" y="19"/>
                    </a:cubicBezTo>
                    <a:cubicBezTo>
                      <a:pt x="9" y="20"/>
                      <a:pt x="5" y="15"/>
                      <a:pt x="4" y="18"/>
                    </a:cubicBezTo>
                    <a:cubicBezTo>
                      <a:pt x="14" y="20"/>
                      <a:pt x="0" y="25"/>
                      <a:pt x="10" y="28"/>
                    </a:cubicBezTo>
                    <a:lnTo>
                      <a:pt x="3" y="29"/>
                    </a:lnTo>
                    <a:cubicBezTo>
                      <a:pt x="2" y="30"/>
                      <a:pt x="13" y="27"/>
                      <a:pt x="11" y="30"/>
                    </a:cubicBezTo>
                    <a:lnTo>
                      <a:pt x="13" y="25"/>
                    </a:lnTo>
                    <a:cubicBezTo>
                      <a:pt x="18" y="26"/>
                      <a:pt x="21" y="28"/>
                      <a:pt x="23" y="29"/>
                    </a:cubicBezTo>
                    <a:cubicBezTo>
                      <a:pt x="28" y="28"/>
                      <a:pt x="32" y="21"/>
                      <a:pt x="44" y="25"/>
                    </a:cubicBezTo>
                    <a:lnTo>
                      <a:pt x="40" y="25"/>
                    </a:lnTo>
                    <a:cubicBezTo>
                      <a:pt x="50" y="25"/>
                      <a:pt x="46" y="28"/>
                      <a:pt x="48" y="29"/>
                    </a:cubicBezTo>
                    <a:lnTo>
                      <a:pt x="46" y="29"/>
                    </a:lnTo>
                    <a:lnTo>
                      <a:pt x="54" y="32"/>
                    </a:lnTo>
                    <a:cubicBezTo>
                      <a:pt x="48" y="30"/>
                      <a:pt x="38" y="34"/>
                      <a:pt x="43" y="34"/>
                    </a:cubicBezTo>
                    <a:cubicBezTo>
                      <a:pt x="55" y="35"/>
                      <a:pt x="40" y="32"/>
                      <a:pt x="49" y="32"/>
                    </a:cubicBezTo>
                    <a:cubicBezTo>
                      <a:pt x="54" y="32"/>
                      <a:pt x="53" y="35"/>
                      <a:pt x="52" y="36"/>
                    </a:cubicBezTo>
                    <a:lnTo>
                      <a:pt x="62" y="36"/>
                    </a:lnTo>
                    <a:cubicBezTo>
                      <a:pt x="62" y="39"/>
                      <a:pt x="56" y="36"/>
                      <a:pt x="60" y="39"/>
                    </a:cubicBezTo>
                    <a:lnTo>
                      <a:pt x="72" y="37"/>
                    </a:lnTo>
                    <a:cubicBezTo>
                      <a:pt x="74" y="43"/>
                      <a:pt x="86" y="35"/>
                      <a:pt x="91" y="40"/>
                    </a:cubicBezTo>
                    <a:cubicBezTo>
                      <a:pt x="82" y="41"/>
                      <a:pt x="92" y="42"/>
                      <a:pt x="91" y="44"/>
                    </a:cubicBezTo>
                    <a:lnTo>
                      <a:pt x="112" y="45"/>
                    </a:lnTo>
                    <a:cubicBezTo>
                      <a:pt x="115" y="46"/>
                      <a:pt x="107" y="46"/>
                      <a:pt x="110" y="46"/>
                    </a:cubicBezTo>
                    <a:cubicBezTo>
                      <a:pt x="114" y="48"/>
                      <a:pt x="117" y="45"/>
                      <a:pt x="119" y="45"/>
                    </a:cubicBezTo>
                    <a:cubicBezTo>
                      <a:pt x="121" y="47"/>
                      <a:pt x="135" y="46"/>
                      <a:pt x="135" y="50"/>
                    </a:cubicBezTo>
                    <a:cubicBezTo>
                      <a:pt x="149" y="53"/>
                      <a:pt x="141" y="45"/>
                      <a:pt x="155" y="48"/>
                    </a:cubicBezTo>
                    <a:cubicBezTo>
                      <a:pt x="157" y="51"/>
                      <a:pt x="144" y="48"/>
                      <a:pt x="150" y="51"/>
                    </a:cubicBezTo>
                    <a:lnTo>
                      <a:pt x="164" y="51"/>
                    </a:lnTo>
                    <a:cubicBezTo>
                      <a:pt x="163" y="52"/>
                      <a:pt x="161" y="55"/>
                      <a:pt x="156" y="54"/>
                    </a:cubicBezTo>
                    <a:cubicBezTo>
                      <a:pt x="195" y="59"/>
                      <a:pt x="215" y="72"/>
                      <a:pt x="251" y="71"/>
                    </a:cubicBezTo>
                    <a:cubicBezTo>
                      <a:pt x="256" y="74"/>
                      <a:pt x="247" y="72"/>
                      <a:pt x="244" y="74"/>
                    </a:cubicBezTo>
                    <a:cubicBezTo>
                      <a:pt x="270" y="72"/>
                      <a:pt x="280" y="82"/>
                      <a:pt x="302" y="83"/>
                    </a:cubicBezTo>
                    <a:lnTo>
                      <a:pt x="302" y="81"/>
                    </a:lnTo>
                    <a:cubicBezTo>
                      <a:pt x="332" y="89"/>
                      <a:pt x="369" y="87"/>
                      <a:pt x="404" y="91"/>
                    </a:cubicBezTo>
                    <a:lnTo>
                      <a:pt x="400" y="90"/>
                    </a:lnTo>
                    <a:cubicBezTo>
                      <a:pt x="405" y="88"/>
                      <a:pt x="412" y="88"/>
                      <a:pt x="418" y="87"/>
                    </a:cubicBezTo>
                    <a:cubicBezTo>
                      <a:pt x="419" y="88"/>
                      <a:pt x="414" y="92"/>
                      <a:pt x="424" y="91"/>
                    </a:cubicBezTo>
                    <a:cubicBezTo>
                      <a:pt x="422" y="90"/>
                      <a:pt x="418" y="89"/>
                      <a:pt x="419" y="88"/>
                    </a:cubicBezTo>
                    <a:cubicBezTo>
                      <a:pt x="449" y="96"/>
                      <a:pt x="511" y="97"/>
                      <a:pt x="560" y="102"/>
                    </a:cubicBezTo>
                    <a:cubicBezTo>
                      <a:pt x="626" y="103"/>
                      <a:pt x="698" y="110"/>
                      <a:pt x="763" y="111"/>
                    </a:cubicBezTo>
                    <a:cubicBezTo>
                      <a:pt x="753" y="110"/>
                      <a:pt x="757" y="105"/>
                      <a:pt x="764" y="106"/>
                    </a:cubicBezTo>
                    <a:cubicBezTo>
                      <a:pt x="784" y="117"/>
                      <a:pt x="800" y="106"/>
                      <a:pt x="820" y="113"/>
                    </a:cubicBezTo>
                    <a:cubicBezTo>
                      <a:pt x="858" y="112"/>
                      <a:pt x="892" y="121"/>
                      <a:pt x="927" y="115"/>
                    </a:cubicBezTo>
                    <a:lnTo>
                      <a:pt x="928" y="118"/>
                    </a:lnTo>
                    <a:cubicBezTo>
                      <a:pt x="933" y="119"/>
                      <a:pt x="934" y="117"/>
                      <a:pt x="940" y="117"/>
                    </a:cubicBezTo>
                    <a:lnTo>
                      <a:pt x="940" y="118"/>
                    </a:lnTo>
                    <a:cubicBezTo>
                      <a:pt x="953" y="119"/>
                      <a:pt x="969" y="117"/>
                      <a:pt x="976" y="119"/>
                    </a:cubicBezTo>
                    <a:lnTo>
                      <a:pt x="977" y="116"/>
                    </a:lnTo>
                    <a:cubicBezTo>
                      <a:pt x="984" y="116"/>
                      <a:pt x="981" y="118"/>
                      <a:pt x="989" y="117"/>
                    </a:cubicBezTo>
                    <a:lnTo>
                      <a:pt x="988" y="118"/>
                    </a:lnTo>
                    <a:lnTo>
                      <a:pt x="998" y="116"/>
                    </a:lnTo>
                    <a:cubicBezTo>
                      <a:pt x="997" y="121"/>
                      <a:pt x="1019" y="117"/>
                      <a:pt x="1025" y="119"/>
                    </a:cubicBezTo>
                    <a:cubicBezTo>
                      <a:pt x="1036" y="119"/>
                      <a:pt x="1055" y="117"/>
                      <a:pt x="1070" y="119"/>
                    </a:cubicBezTo>
                    <a:cubicBezTo>
                      <a:pt x="1072" y="122"/>
                      <a:pt x="1091" y="122"/>
                      <a:pt x="1103" y="124"/>
                    </a:cubicBezTo>
                    <a:cubicBezTo>
                      <a:pt x="1126" y="124"/>
                      <a:pt x="1159" y="124"/>
                      <a:pt x="1188" y="126"/>
                    </a:cubicBezTo>
                    <a:lnTo>
                      <a:pt x="1188" y="123"/>
                    </a:lnTo>
                    <a:lnTo>
                      <a:pt x="1196" y="123"/>
                    </a:lnTo>
                    <a:cubicBezTo>
                      <a:pt x="1196" y="124"/>
                      <a:pt x="1197" y="124"/>
                      <a:pt x="1195" y="124"/>
                    </a:cubicBezTo>
                    <a:cubicBezTo>
                      <a:pt x="1201" y="128"/>
                      <a:pt x="1213" y="124"/>
                      <a:pt x="1219" y="126"/>
                    </a:cubicBezTo>
                    <a:cubicBezTo>
                      <a:pt x="1216" y="123"/>
                      <a:pt x="1214" y="126"/>
                      <a:pt x="1210" y="125"/>
                    </a:cubicBezTo>
                    <a:cubicBezTo>
                      <a:pt x="1203" y="124"/>
                      <a:pt x="1209" y="120"/>
                      <a:pt x="1218" y="122"/>
                    </a:cubicBezTo>
                    <a:lnTo>
                      <a:pt x="1218" y="123"/>
                    </a:lnTo>
                    <a:lnTo>
                      <a:pt x="1224" y="122"/>
                    </a:lnTo>
                    <a:cubicBezTo>
                      <a:pt x="1224" y="124"/>
                      <a:pt x="1229" y="126"/>
                      <a:pt x="1230" y="128"/>
                    </a:cubicBezTo>
                    <a:cubicBezTo>
                      <a:pt x="1255" y="129"/>
                      <a:pt x="1273" y="125"/>
                      <a:pt x="1299" y="127"/>
                    </a:cubicBezTo>
                    <a:cubicBezTo>
                      <a:pt x="1296" y="130"/>
                      <a:pt x="1317" y="127"/>
                      <a:pt x="1312" y="132"/>
                    </a:cubicBezTo>
                    <a:cubicBezTo>
                      <a:pt x="1328" y="130"/>
                      <a:pt x="1310" y="127"/>
                      <a:pt x="1317" y="124"/>
                    </a:cubicBezTo>
                    <a:cubicBezTo>
                      <a:pt x="1321" y="124"/>
                      <a:pt x="1326" y="123"/>
                      <a:pt x="1327" y="125"/>
                    </a:cubicBezTo>
                    <a:cubicBezTo>
                      <a:pt x="1324" y="126"/>
                      <a:pt x="1330" y="128"/>
                      <a:pt x="1326" y="128"/>
                    </a:cubicBezTo>
                    <a:lnTo>
                      <a:pt x="1337" y="128"/>
                    </a:lnTo>
                    <a:cubicBezTo>
                      <a:pt x="1338" y="129"/>
                      <a:pt x="1336" y="130"/>
                      <a:pt x="1334" y="130"/>
                    </a:cubicBezTo>
                    <a:cubicBezTo>
                      <a:pt x="1356" y="128"/>
                      <a:pt x="1372" y="135"/>
                      <a:pt x="1391" y="132"/>
                    </a:cubicBezTo>
                    <a:cubicBezTo>
                      <a:pt x="1393" y="130"/>
                      <a:pt x="1384" y="131"/>
                      <a:pt x="1385" y="129"/>
                    </a:cubicBezTo>
                    <a:cubicBezTo>
                      <a:pt x="1405" y="126"/>
                      <a:pt x="1402" y="134"/>
                      <a:pt x="1420" y="131"/>
                    </a:cubicBezTo>
                    <a:lnTo>
                      <a:pt x="1416" y="134"/>
                    </a:lnTo>
                    <a:cubicBezTo>
                      <a:pt x="1422" y="132"/>
                      <a:pt x="1425" y="130"/>
                      <a:pt x="1434" y="133"/>
                    </a:cubicBezTo>
                    <a:cubicBezTo>
                      <a:pt x="1436" y="136"/>
                      <a:pt x="1426" y="135"/>
                      <a:pt x="1421" y="136"/>
                    </a:cubicBezTo>
                    <a:cubicBezTo>
                      <a:pt x="1428" y="136"/>
                      <a:pt x="1445" y="136"/>
                      <a:pt x="1440" y="133"/>
                    </a:cubicBezTo>
                    <a:cubicBezTo>
                      <a:pt x="1447" y="132"/>
                      <a:pt x="1450" y="135"/>
                      <a:pt x="1454" y="136"/>
                    </a:cubicBezTo>
                    <a:cubicBezTo>
                      <a:pt x="1455" y="136"/>
                      <a:pt x="1447" y="134"/>
                      <a:pt x="1452" y="133"/>
                    </a:cubicBezTo>
                    <a:cubicBezTo>
                      <a:pt x="1462" y="135"/>
                      <a:pt x="1479" y="135"/>
                      <a:pt x="1492" y="136"/>
                    </a:cubicBezTo>
                    <a:cubicBezTo>
                      <a:pt x="1492" y="137"/>
                      <a:pt x="1493" y="138"/>
                      <a:pt x="1492" y="138"/>
                    </a:cubicBezTo>
                    <a:cubicBezTo>
                      <a:pt x="1502" y="135"/>
                      <a:pt x="1501" y="142"/>
                      <a:pt x="1515" y="14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6" name="Freeform 2520"/>
              <p:cNvSpPr>
                <a:spLocks/>
              </p:cNvSpPr>
              <p:nvPr/>
            </p:nvSpPr>
            <p:spPr bwMode="auto">
              <a:xfrm>
                <a:off x="4244976" y="4567238"/>
                <a:ext cx="3175" cy="1588"/>
              </a:xfrm>
              <a:custGeom>
                <a:avLst/>
                <a:gdLst>
                  <a:gd name="T0" fmla="*/ 8 w 8"/>
                  <a:gd name="T1" fmla="*/ 1 h 3"/>
                  <a:gd name="T2" fmla="*/ 8 w 8"/>
                  <a:gd name="T3" fmla="*/ 1 h 3"/>
                  <a:gd name="T4" fmla="*/ 3 w 8"/>
                  <a:gd name="T5" fmla="*/ 0 h 3"/>
                  <a:gd name="T6" fmla="*/ 0 w 8"/>
                  <a:gd name="T7" fmla="*/ 3 h 3"/>
                  <a:gd name="T8" fmla="*/ 8 w 8"/>
                  <a:gd name="T9" fmla="*/ 1 h 3"/>
                </a:gdLst>
                <a:ahLst/>
                <a:cxnLst>
                  <a:cxn ang="0">
                    <a:pos x="T0" y="T1"/>
                  </a:cxn>
                  <a:cxn ang="0">
                    <a:pos x="T2" y="T3"/>
                  </a:cxn>
                  <a:cxn ang="0">
                    <a:pos x="T4" y="T5"/>
                  </a:cxn>
                  <a:cxn ang="0">
                    <a:pos x="T6" y="T7"/>
                  </a:cxn>
                  <a:cxn ang="0">
                    <a:pos x="T8" y="T9"/>
                  </a:cxn>
                </a:cxnLst>
                <a:rect l="0" t="0" r="r" b="b"/>
                <a:pathLst>
                  <a:path w="8" h="3">
                    <a:moveTo>
                      <a:pt x="8" y="1"/>
                    </a:moveTo>
                    <a:lnTo>
                      <a:pt x="8" y="1"/>
                    </a:lnTo>
                    <a:lnTo>
                      <a:pt x="3" y="0"/>
                    </a:lnTo>
                    <a:cubicBezTo>
                      <a:pt x="3" y="1"/>
                      <a:pt x="2" y="2"/>
                      <a:pt x="0" y="3"/>
                    </a:cubicBezTo>
                    <a:lnTo>
                      <a:pt x="8" y="1"/>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7" name="Freeform 2521"/>
              <p:cNvSpPr>
                <a:spLocks/>
              </p:cNvSpPr>
              <p:nvPr/>
            </p:nvSpPr>
            <p:spPr bwMode="auto">
              <a:xfrm>
                <a:off x="4168776" y="4568826"/>
                <a:ext cx="0"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1" y="0"/>
                      <a:pt x="1" y="0"/>
                      <a:pt x="0" y="1"/>
                    </a:cubicBezTo>
                    <a:cubicBezTo>
                      <a:pt x="1" y="0"/>
                      <a:pt x="2" y="0"/>
                      <a:pt x="2"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8" name="Freeform 2522"/>
              <p:cNvSpPr>
                <a:spLocks/>
              </p:cNvSpPr>
              <p:nvPr/>
            </p:nvSpPr>
            <p:spPr bwMode="auto">
              <a:xfrm>
                <a:off x="4149726" y="4568826"/>
                <a:ext cx="1588" cy="1588"/>
              </a:xfrm>
              <a:custGeom>
                <a:avLst/>
                <a:gdLst>
                  <a:gd name="T0" fmla="*/ 2 w 6"/>
                  <a:gd name="T1" fmla="*/ 2 h 2"/>
                  <a:gd name="T2" fmla="*/ 2 w 6"/>
                  <a:gd name="T3" fmla="*/ 2 h 2"/>
                  <a:gd name="T4" fmla="*/ 0 w 6"/>
                  <a:gd name="T5" fmla="*/ 0 h 2"/>
                  <a:gd name="T6" fmla="*/ 2 w 6"/>
                  <a:gd name="T7" fmla="*/ 2 h 2"/>
                </a:gdLst>
                <a:ahLst/>
                <a:cxnLst>
                  <a:cxn ang="0">
                    <a:pos x="T0" y="T1"/>
                  </a:cxn>
                  <a:cxn ang="0">
                    <a:pos x="T2" y="T3"/>
                  </a:cxn>
                  <a:cxn ang="0">
                    <a:pos x="T4" y="T5"/>
                  </a:cxn>
                  <a:cxn ang="0">
                    <a:pos x="T6" y="T7"/>
                  </a:cxn>
                </a:cxnLst>
                <a:rect l="0" t="0" r="r" b="b"/>
                <a:pathLst>
                  <a:path w="6" h="2">
                    <a:moveTo>
                      <a:pt x="2" y="2"/>
                    </a:moveTo>
                    <a:lnTo>
                      <a:pt x="2" y="2"/>
                    </a:lnTo>
                    <a:cubicBezTo>
                      <a:pt x="6" y="1"/>
                      <a:pt x="3" y="0"/>
                      <a:pt x="0" y="0"/>
                    </a:cubicBezTo>
                    <a:cubicBezTo>
                      <a:pt x="0" y="0"/>
                      <a:pt x="0" y="1"/>
                      <a:pt x="2"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9" name="Freeform 2523"/>
              <p:cNvSpPr>
                <a:spLocks/>
              </p:cNvSpPr>
              <p:nvPr/>
            </p:nvSpPr>
            <p:spPr bwMode="auto">
              <a:xfrm>
                <a:off x="4291013" y="4564063"/>
                <a:ext cx="1588" cy="0"/>
              </a:xfrm>
              <a:custGeom>
                <a:avLst/>
                <a:gdLst>
                  <a:gd name="T0" fmla="*/ 1 w 2"/>
                  <a:gd name="T1" fmla="*/ 0 h 1"/>
                  <a:gd name="T2" fmla="*/ 1 w 2"/>
                  <a:gd name="T3" fmla="*/ 0 h 1"/>
                  <a:gd name="T4" fmla="*/ 0 w 2"/>
                  <a:gd name="T5" fmla="*/ 1 h 1"/>
                  <a:gd name="T6" fmla="*/ 1 w 2"/>
                  <a:gd name="T7" fmla="*/ 0 h 1"/>
                </a:gdLst>
                <a:ahLst/>
                <a:cxnLst>
                  <a:cxn ang="0">
                    <a:pos x="T0" y="T1"/>
                  </a:cxn>
                  <a:cxn ang="0">
                    <a:pos x="T2" y="T3"/>
                  </a:cxn>
                  <a:cxn ang="0">
                    <a:pos x="T4" y="T5"/>
                  </a:cxn>
                  <a:cxn ang="0">
                    <a:pos x="T6" y="T7"/>
                  </a:cxn>
                </a:cxnLst>
                <a:rect l="0" t="0" r="r" b="b"/>
                <a:pathLst>
                  <a:path w="2" h="1">
                    <a:moveTo>
                      <a:pt x="1" y="0"/>
                    </a:moveTo>
                    <a:lnTo>
                      <a:pt x="1" y="0"/>
                    </a:lnTo>
                    <a:cubicBezTo>
                      <a:pt x="1" y="0"/>
                      <a:pt x="0" y="1"/>
                      <a:pt x="0" y="1"/>
                    </a:cubicBezTo>
                    <a:cubicBezTo>
                      <a:pt x="1" y="1"/>
                      <a:pt x="2" y="0"/>
                      <a:pt x="1"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0" name="Freeform 2524"/>
              <p:cNvSpPr>
                <a:spLocks/>
              </p:cNvSpPr>
              <p:nvPr/>
            </p:nvSpPr>
            <p:spPr bwMode="auto">
              <a:xfrm>
                <a:off x="4414838" y="4554538"/>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0" y="0"/>
                      <a:pt x="0" y="0"/>
                    </a:cubicBezTo>
                    <a:cubicBezTo>
                      <a:pt x="0" y="0"/>
                      <a:pt x="0" y="1"/>
                      <a:pt x="1"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1" name="Freeform 2525"/>
              <p:cNvSpPr>
                <a:spLocks/>
              </p:cNvSpPr>
              <p:nvPr/>
            </p:nvSpPr>
            <p:spPr bwMode="auto">
              <a:xfrm>
                <a:off x="4406901" y="4554538"/>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2" y="1"/>
                      <a:pt x="3" y="0"/>
                      <a:pt x="4"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2" name="Freeform 2526"/>
              <p:cNvSpPr>
                <a:spLocks/>
              </p:cNvSpPr>
              <p:nvPr/>
            </p:nvSpPr>
            <p:spPr bwMode="auto">
              <a:xfrm>
                <a:off x="4260851" y="4565651"/>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3" y="1"/>
                      <a:pt x="4" y="0"/>
                      <a:pt x="4"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3" name="Freeform 2527"/>
              <p:cNvSpPr>
                <a:spLocks/>
              </p:cNvSpPr>
              <p:nvPr/>
            </p:nvSpPr>
            <p:spPr bwMode="auto">
              <a:xfrm>
                <a:off x="4403726" y="4554538"/>
                <a:ext cx="1588" cy="0"/>
              </a:xfrm>
              <a:custGeom>
                <a:avLst/>
                <a:gdLst>
                  <a:gd name="T0" fmla="*/ 5 w 5"/>
                  <a:gd name="T1" fmla="*/ 5 w 5"/>
                  <a:gd name="T2" fmla="*/ 0 w 5"/>
                  <a:gd name="T3" fmla="*/ 0 w 5"/>
                  <a:gd name="T4" fmla="*/ 5 w 5"/>
                </a:gdLst>
                <a:ahLst/>
                <a:cxnLst>
                  <a:cxn ang="0">
                    <a:pos x="T0" y="0"/>
                  </a:cxn>
                  <a:cxn ang="0">
                    <a:pos x="T1" y="0"/>
                  </a:cxn>
                  <a:cxn ang="0">
                    <a:pos x="T2" y="0"/>
                  </a:cxn>
                  <a:cxn ang="0">
                    <a:pos x="T3" y="0"/>
                  </a:cxn>
                  <a:cxn ang="0">
                    <a:pos x="T4" y="0"/>
                  </a:cxn>
                </a:cxnLst>
                <a:rect l="0" t="0" r="r" b="b"/>
                <a:pathLst>
                  <a:path w="5">
                    <a:moveTo>
                      <a:pt x="5" y="0"/>
                    </a:moveTo>
                    <a:lnTo>
                      <a:pt x="5" y="0"/>
                    </a:lnTo>
                    <a:lnTo>
                      <a:pt x="0" y="0"/>
                    </a:lnTo>
                    <a:cubicBezTo>
                      <a:pt x="0" y="0"/>
                      <a:pt x="0" y="0"/>
                      <a:pt x="0" y="0"/>
                    </a:cubicBezTo>
                    <a:lnTo>
                      <a:pt x="5"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4" name="Freeform 2528"/>
              <p:cNvSpPr>
                <a:spLocks/>
              </p:cNvSpPr>
              <p:nvPr/>
            </p:nvSpPr>
            <p:spPr bwMode="auto">
              <a:xfrm>
                <a:off x="4414838" y="4554538"/>
                <a:ext cx="3175" cy="1588"/>
              </a:xfrm>
              <a:custGeom>
                <a:avLst/>
                <a:gdLst>
                  <a:gd name="T0" fmla="*/ 7 w 7"/>
                  <a:gd name="T1" fmla="*/ 0 h 1"/>
                  <a:gd name="T2" fmla="*/ 7 w 7"/>
                  <a:gd name="T3" fmla="*/ 0 h 1"/>
                  <a:gd name="T4" fmla="*/ 0 w 7"/>
                  <a:gd name="T5" fmla="*/ 1 h 1"/>
                  <a:gd name="T6" fmla="*/ 7 w 7"/>
                  <a:gd name="T7" fmla="*/ 0 h 1"/>
                </a:gdLst>
                <a:ahLst/>
                <a:cxnLst>
                  <a:cxn ang="0">
                    <a:pos x="T0" y="T1"/>
                  </a:cxn>
                  <a:cxn ang="0">
                    <a:pos x="T2" y="T3"/>
                  </a:cxn>
                  <a:cxn ang="0">
                    <a:pos x="T4" y="T5"/>
                  </a:cxn>
                  <a:cxn ang="0">
                    <a:pos x="T6" y="T7"/>
                  </a:cxn>
                </a:cxnLst>
                <a:rect l="0" t="0" r="r" b="b"/>
                <a:pathLst>
                  <a:path w="7" h="1">
                    <a:moveTo>
                      <a:pt x="7" y="0"/>
                    </a:moveTo>
                    <a:lnTo>
                      <a:pt x="7" y="0"/>
                    </a:lnTo>
                    <a:cubicBezTo>
                      <a:pt x="5" y="0"/>
                      <a:pt x="2" y="1"/>
                      <a:pt x="0" y="1"/>
                    </a:cubicBezTo>
                    <a:cubicBezTo>
                      <a:pt x="3" y="1"/>
                      <a:pt x="5" y="1"/>
                      <a:pt x="7"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5" name="Freeform 2529"/>
              <p:cNvSpPr>
                <a:spLocks/>
              </p:cNvSpPr>
              <p:nvPr/>
            </p:nvSpPr>
            <p:spPr bwMode="auto">
              <a:xfrm>
                <a:off x="4335463" y="4559301"/>
                <a:ext cx="1588" cy="0"/>
              </a:xfrm>
              <a:custGeom>
                <a:avLst/>
                <a:gdLst>
                  <a:gd name="T0" fmla="*/ 5 w 5"/>
                  <a:gd name="T1" fmla="*/ 0 h 1"/>
                  <a:gd name="T2" fmla="*/ 5 w 5"/>
                  <a:gd name="T3" fmla="*/ 0 h 1"/>
                  <a:gd name="T4" fmla="*/ 4 w 5"/>
                  <a:gd name="T5" fmla="*/ 0 h 1"/>
                  <a:gd name="T6" fmla="*/ 5 w 5"/>
                  <a:gd name="T7" fmla="*/ 0 h 1"/>
                </a:gdLst>
                <a:ahLst/>
                <a:cxnLst>
                  <a:cxn ang="0">
                    <a:pos x="T0" y="T1"/>
                  </a:cxn>
                  <a:cxn ang="0">
                    <a:pos x="T2" y="T3"/>
                  </a:cxn>
                  <a:cxn ang="0">
                    <a:pos x="T4" y="T5"/>
                  </a:cxn>
                  <a:cxn ang="0">
                    <a:pos x="T6" y="T7"/>
                  </a:cxn>
                </a:cxnLst>
                <a:rect l="0" t="0" r="r" b="b"/>
                <a:pathLst>
                  <a:path w="5" h="1">
                    <a:moveTo>
                      <a:pt x="5" y="0"/>
                    </a:moveTo>
                    <a:lnTo>
                      <a:pt x="5" y="0"/>
                    </a:lnTo>
                    <a:cubicBezTo>
                      <a:pt x="5" y="0"/>
                      <a:pt x="5" y="0"/>
                      <a:pt x="4" y="0"/>
                    </a:cubicBezTo>
                    <a:cubicBezTo>
                      <a:pt x="0" y="1"/>
                      <a:pt x="3" y="1"/>
                      <a:pt x="5"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6" name="Freeform 2530"/>
              <p:cNvSpPr>
                <a:spLocks/>
              </p:cNvSpPr>
              <p:nvPr/>
            </p:nvSpPr>
            <p:spPr bwMode="auto">
              <a:xfrm>
                <a:off x="4397376" y="4557713"/>
                <a:ext cx="0" cy="0"/>
              </a:xfrm>
              <a:custGeom>
                <a:avLst/>
                <a:gdLst>
                  <a:gd name="T0" fmla="*/ 2 w 2"/>
                  <a:gd name="T1" fmla="*/ 0 h 1"/>
                  <a:gd name="T2" fmla="*/ 2 w 2"/>
                  <a:gd name="T3" fmla="*/ 0 h 1"/>
                  <a:gd name="T4" fmla="*/ 1 w 2"/>
                  <a:gd name="T5" fmla="*/ 0 h 1"/>
                  <a:gd name="T6" fmla="*/ 0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lnTo>
                      <a:pt x="2" y="0"/>
                    </a:lnTo>
                    <a:lnTo>
                      <a:pt x="1" y="0"/>
                    </a:lnTo>
                    <a:lnTo>
                      <a:pt x="0" y="1"/>
                    </a:lnTo>
                    <a:lnTo>
                      <a:pt x="2"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7" name="Freeform 2531"/>
              <p:cNvSpPr>
                <a:spLocks/>
              </p:cNvSpPr>
              <p:nvPr/>
            </p:nvSpPr>
            <p:spPr bwMode="auto">
              <a:xfrm>
                <a:off x="4424363" y="4554538"/>
                <a:ext cx="0" cy="0"/>
              </a:xfrm>
              <a:custGeom>
                <a:avLst/>
                <a:gdLst>
                  <a:gd name="T0" fmla="*/ 3 w 3"/>
                  <a:gd name="T1" fmla="*/ 0 h 1"/>
                  <a:gd name="T2" fmla="*/ 3 w 3"/>
                  <a:gd name="T3" fmla="*/ 0 h 1"/>
                  <a:gd name="T4" fmla="*/ 0 w 3"/>
                  <a:gd name="T5" fmla="*/ 1 h 1"/>
                  <a:gd name="T6" fmla="*/ 3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3" y="0"/>
                    </a:lnTo>
                    <a:cubicBezTo>
                      <a:pt x="2" y="0"/>
                      <a:pt x="1" y="1"/>
                      <a:pt x="0" y="1"/>
                    </a:cubicBezTo>
                    <a:cubicBezTo>
                      <a:pt x="1" y="1"/>
                      <a:pt x="2" y="1"/>
                      <a:pt x="3" y="1"/>
                    </a:cubicBezTo>
                    <a:cubicBezTo>
                      <a:pt x="3" y="1"/>
                      <a:pt x="3" y="0"/>
                      <a:pt x="3"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8" name="Freeform 2532"/>
              <p:cNvSpPr>
                <a:spLocks/>
              </p:cNvSpPr>
              <p:nvPr/>
            </p:nvSpPr>
            <p:spPr bwMode="auto">
              <a:xfrm>
                <a:off x="4362451" y="4557713"/>
                <a:ext cx="1588" cy="1588"/>
              </a:xfrm>
              <a:custGeom>
                <a:avLst/>
                <a:gdLst>
                  <a:gd name="T0" fmla="*/ 1 w 3"/>
                  <a:gd name="T1" fmla="*/ 3 h 3"/>
                  <a:gd name="T2" fmla="*/ 1 w 3"/>
                  <a:gd name="T3" fmla="*/ 3 h 3"/>
                  <a:gd name="T4" fmla="*/ 3 w 3"/>
                  <a:gd name="T5" fmla="*/ 0 h 3"/>
                  <a:gd name="T6" fmla="*/ 1 w 3"/>
                  <a:gd name="T7" fmla="*/ 3 h 3"/>
                </a:gdLst>
                <a:ahLst/>
                <a:cxnLst>
                  <a:cxn ang="0">
                    <a:pos x="T0" y="T1"/>
                  </a:cxn>
                  <a:cxn ang="0">
                    <a:pos x="T2" y="T3"/>
                  </a:cxn>
                  <a:cxn ang="0">
                    <a:pos x="T4" y="T5"/>
                  </a:cxn>
                  <a:cxn ang="0">
                    <a:pos x="T6" y="T7"/>
                  </a:cxn>
                </a:cxnLst>
                <a:rect l="0" t="0" r="r" b="b"/>
                <a:pathLst>
                  <a:path w="3" h="3">
                    <a:moveTo>
                      <a:pt x="1" y="3"/>
                    </a:moveTo>
                    <a:lnTo>
                      <a:pt x="1" y="3"/>
                    </a:lnTo>
                    <a:cubicBezTo>
                      <a:pt x="3" y="2"/>
                      <a:pt x="3" y="1"/>
                      <a:pt x="3" y="0"/>
                    </a:cubicBezTo>
                    <a:cubicBezTo>
                      <a:pt x="2" y="1"/>
                      <a:pt x="0" y="1"/>
                      <a:pt x="1" y="3"/>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9" name="Freeform 2533"/>
              <p:cNvSpPr>
                <a:spLocks/>
              </p:cNvSpPr>
              <p:nvPr/>
            </p:nvSpPr>
            <p:spPr bwMode="auto">
              <a:xfrm>
                <a:off x="3551238" y="4464051"/>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cubicBezTo>
                      <a:pt x="1" y="0"/>
                      <a:pt x="1" y="0"/>
                      <a:pt x="2" y="0"/>
                    </a:cubicBezTo>
                    <a:cubicBezTo>
                      <a:pt x="1"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0" name="Freeform 2534"/>
              <p:cNvSpPr>
                <a:spLocks/>
              </p:cNvSpPr>
              <p:nvPr/>
            </p:nvSpPr>
            <p:spPr bwMode="auto">
              <a:xfrm>
                <a:off x="3554413" y="4418013"/>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cubicBezTo>
                      <a:pt x="0" y="0"/>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1" name="Freeform 2535"/>
              <p:cNvSpPr>
                <a:spLocks/>
              </p:cNvSpPr>
              <p:nvPr/>
            </p:nvSpPr>
            <p:spPr bwMode="auto">
              <a:xfrm>
                <a:off x="3551238" y="4492626"/>
                <a:ext cx="0" cy="1588"/>
              </a:xfrm>
              <a:custGeom>
                <a:avLst/>
                <a:gdLst>
                  <a:gd name="T0" fmla="*/ 1 w 1"/>
                  <a:gd name="T1" fmla="*/ 1 h 7"/>
                  <a:gd name="T2" fmla="*/ 1 w 1"/>
                  <a:gd name="T3" fmla="*/ 1 h 7"/>
                  <a:gd name="T4" fmla="*/ 0 w 1"/>
                  <a:gd name="T5" fmla="*/ 0 h 7"/>
                  <a:gd name="T6" fmla="*/ 1 w 1"/>
                  <a:gd name="T7" fmla="*/ 7 h 7"/>
                  <a:gd name="T8" fmla="*/ 1 w 1"/>
                  <a:gd name="T9" fmla="*/ 1 h 7"/>
                </a:gdLst>
                <a:ahLst/>
                <a:cxnLst>
                  <a:cxn ang="0">
                    <a:pos x="T0" y="T1"/>
                  </a:cxn>
                  <a:cxn ang="0">
                    <a:pos x="T2" y="T3"/>
                  </a:cxn>
                  <a:cxn ang="0">
                    <a:pos x="T4" y="T5"/>
                  </a:cxn>
                  <a:cxn ang="0">
                    <a:pos x="T6" y="T7"/>
                  </a:cxn>
                  <a:cxn ang="0">
                    <a:pos x="T8" y="T9"/>
                  </a:cxn>
                </a:cxnLst>
                <a:rect l="0" t="0" r="r" b="b"/>
                <a:pathLst>
                  <a:path w="1" h="7">
                    <a:moveTo>
                      <a:pt x="1" y="1"/>
                    </a:moveTo>
                    <a:lnTo>
                      <a:pt x="1" y="1"/>
                    </a:lnTo>
                    <a:cubicBezTo>
                      <a:pt x="1" y="1"/>
                      <a:pt x="1" y="1"/>
                      <a:pt x="0" y="0"/>
                    </a:cubicBezTo>
                    <a:cubicBezTo>
                      <a:pt x="1" y="2"/>
                      <a:pt x="1" y="4"/>
                      <a:pt x="1" y="7"/>
                    </a:cubicBezTo>
                    <a:lnTo>
                      <a:pt x="1" y="1"/>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2" name="Freeform 2536"/>
              <p:cNvSpPr>
                <a:spLocks/>
              </p:cNvSpPr>
              <p:nvPr/>
            </p:nvSpPr>
            <p:spPr bwMode="auto">
              <a:xfrm>
                <a:off x="3554413" y="4316413"/>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3" name="Freeform 2537"/>
              <p:cNvSpPr>
                <a:spLocks/>
              </p:cNvSpPr>
              <p:nvPr/>
            </p:nvSpPr>
            <p:spPr bwMode="auto">
              <a:xfrm>
                <a:off x="3554413" y="4375151"/>
                <a:ext cx="0" cy="1588"/>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0" y="2"/>
                      <a:pt x="0" y="1"/>
                      <a:pt x="0" y="0"/>
                    </a:cubicBezTo>
                    <a:cubicBezTo>
                      <a:pt x="0" y="1"/>
                      <a:pt x="0" y="2"/>
                      <a:pt x="1"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4" name="Freeform 2538"/>
              <p:cNvSpPr>
                <a:spLocks/>
              </p:cNvSpPr>
              <p:nvPr/>
            </p:nvSpPr>
            <p:spPr bwMode="auto">
              <a:xfrm>
                <a:off x="3543301" y="4506913"/>
                <a:ext cx="0" cy="1588"/>
              </a:xfrm>
              <a:custGeom>
                <a:avLst/>
                <a:gdLst>
                  <a:gd name="T0" fmla="*/ 0 w 2"/>
                  <a:gd name="T1" fmla="*/ 2 h 2"/>
                  <a:gd name="T2" fmla="*/ 0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0" y="2"/>
                    </a:lnTo>
                    <a:lnTo>
                      <a:pt x="2" y="0"/>
                    </a:lnTo>
                    <a:cubicBezTo>
                      <a:pt x="1" y="0"/>
                      <a:pt x="0" y="1"/>
                      <a:pt x="0"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5" name="Freeform 2539"/>
              <p:cNvSpPr>
                <a:spLocks/>
              </p:cNvSpPr>
              <p:nvPr/>
            </p:nvSpPr>
            <p:spPr bwMode="auto">
              <a:xfrm>
                <a:off x="3548063" y="4535488"/>
                <a:ext cx="0" cy="1588"/>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0"/>
                    </a:cubicBezTo>
                    <a:cubicBezTo>
                      <a:pt x="0" y="0"/>
                      <a:pt x="0"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6" name="Freeform 2540"/>
              <p:cNvSpPr>
                <a:spLocks/>
              </p:cNvSpPr>
              <p:nvPr/>
            </p:nvSpPr>
            <p:spPr bwMode="auto">
              <a:xfrm>
                <a:off x="3549651" y="452437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2"/>
                      <a:pt x="0" y="1"/>
                      <a:pt x="0" y="0"/>
                    </a:cubicBezTo>
                    <a:cubicBezTo>
                      <a:pt x="0" y="1"/>
                      <a:pt x="0" y="2"/>
                      <a:pt x="1"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7" name="Freeform 2541"/>
              <p:cNvSpPr>
                <a:spLocks/>
              </p:cNvSpPr>
              <p:nvPr/>
            </p:nvSpPr>
            <p:spPr bwMode="auto">
              <a:xfrm>
                <a:off x="3549651" y="4524376"/>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1" y="0"/>
                      <a:pt x="1"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8" name="Freeform 2542"/>
              <p:cNvSpPr>
                <a:spLocks/>
              </p:cNvSpPr>
              <p:nvPr/>
            </p:nvSpPr>
            <p:spPr bwMode="auto">
              <a:xfrm>
                <a:off x="3557588" y="3951288"/>
                <a:ext cx="1588" cy="1588"/>
              </a:xfrm>
              <a:custGeom>
                <a:avLst/>
                <a:gdLst>
                  <a:gd name="T0" fmla="*/ 2 w 2"/>
                  <a:gd name="T1" fmla="*/ 7 h 7"/>
                  <a:gd name="T2" fmla="*/ 2 w 2"/>
                  <a:gd name="T3" fmla="*/ 7 h 7"/>
                  <a:gd name="T4" fmla="*/ 0 w 2"/>
                  <a:gd name="T5" fmla="*/ 0 h 7"/>
                  <a:gd name="T6" fmla="*/ 2 w 2"/>
                  <a:gd name="T7" fmla="*/ 7 h 7"/>
                </a:gdLst>
                <a:ahLst/>
                <a:cxnLst>
                  <a:cxn ang="0">
                    <a:pos x="T0" y="T1"/>
                  </a:cxn>
                  <a:cxn ang="0">
                    <a:pos x="T2" y="T3"/>
                  </a:cxn>
                  <a:cxn ang="0">
                    <a:pos x="T4" y="T5"/>
                  </a:cxn>
                  <a:cxn ang="0">
                    <a:pos x="T6" y="T7"/>
                  </a:cxn>
                </a:cxnLst>
                <a:rect l="0" t="0" r="r" b="b"/>
                <a:pathLst>
                  <a:path w="2" h="7">
                    <a:moveTo>
                      <a:pt x="2" y="7"/>
                    </a:moveTo>
                    <a:lnTo>
                      <a:pt x="2" y="7"/>
                    </a:lnTo>
                    <a:cubicBezTo>
                      <a:pt x="2" y="4"/>
                      <a:pt x="1" y="2"/>
                      <a:pt x="0" y="0"/>
                    </a:cubicBezTo>
                    <a:lnTo>
                      <a:pt x="2" y="7"/>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9" name="Freeform 2543"/>
              <p:cNvSpPr>
                <a:spLocks/>
              </p:cNvSpPr>
              <p:nvPr/>
            </p:nvSpPr>
            <p:spPr bwMode="auto">
              <a:xfrm>
                <a:off x="3549651" y="4225926"/>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0" y="0"/>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0" name="Freeform 2544"/>
              <p:cNvSpPr>
                <a:spLocks/>
              </p:cNvSpPr>
              <p:nvPr/>
            </p:nvSpPr>
            <p:spPr bwMode="auto">
              <a:xfrm>
                <a:off x="3552826" y="3951288"/>
                <a:ext cx="0" cy="0"/>
              </a:xfrm>
              <a:custGeom>
                <a:avLst/>
                <a:gdLst>
                  <a:gd name="T0" fmla="*/ 0 w 1"/>
                  <a:gd name="T1" fmla="*/ 2 h 2"/>
                  <a:gd name="T2" fmla="*/ 0 w 1"/>
                  <a:gd name="T3" fmla="*/ 2 h 2"/>
                  <a:gd name="T4" fmla="*/ 1 w 1"/>
                  <a:gd name="T5" fmla="*/ 0 h 2"/>
                  <a:gd name="T6" fmla="*/ 0 w 1"/>
                  <a:gd name="T7" fmla="*/ 2 h 2"/>
                </a:gdLst>
                <a:ahLst/>
                <a:cxnLst>
                  <a:cxn ang="0">
                    <a:pos x="T0" y="T1"/>
                  </a:cxn>
                  <a:cxn ang="0">
                    <a:pos x="T2" y="T3"/>
                  </a:cxn>
                  <a:cxn ang="0">
                    <a:pos x="T4" y="T5"/>
                  </a:cxn>
                  <a:cxn ang="0">
                    <a:pos x="T6" y="T7"/>
                  </a:cxn>
                </a:cxnLst>
                <a:rect l="0" t="0" r="r" b="b"/>
                <a:pathLst>
                  <a:path w="1" h="2">
                    <a:moveTo>
                      <a:pt x="0" y="2"/>
                    </a:moveTo>
                    <a:lnTo>
                      <a:pt x="0" y="2"/>
                    </a:lnTo>
                    <a:lnTo>
                      <a:pt x="1" y="0"/>
                    </a:lnTo>
                    <a:cubicBezTo>
                      <a:pt x="1" y="1"/>
                      <a:pt x="0" y="2"/>
                      <a:pt x="0"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1" name="Freeform 2545"/>
              <p:cNvSpPr>
                <a:spLocks/>
              </p:cNvSpPr>
              <p:nvPr/>
            </p:nvSpPr>
            <p:spPr bwMode="auto">
              <a:xfrm>
                <a:off x="3538538" y="4491038"/>
                <a:ext cx="1588" cy="1588"/>
              </a:xfrm>
              <a:custGeom>
                <a:avLst/>
                <a:gdLst>
                  <a:gd name="T0" fmla="*/ 3 w 3"/>
                  <a:gd name="T1" fmla="*/ 8 h 8"/>
                  <a:gd name="T2" fmla="*/ 3 w 3"/>
                  <a:gd name="T3" fmla="*/ 8 h 8"/>
                  <a:gd name="T4" fmla="*/ 1 w 3"/>
                  <a:gd name="T5" fmla="*/ 0 h 8"/>
                  <a:gd name="T6" fmla="*/ 3 w 3"/>
                  <a:gd name="T7" fmla="*/ 8 h 8"/>
                </a:gdLst>
                <a:ahLst/>
                <a:cxnLst>
                  <a:cxn ang="0">
                    <a:pos x="T0" y="T1"/>
                  </a:cxn>
                  <a:cxn ang="0">
                    <a:pos x="T2" y="T3"/>
                  </a:cxn>
                  <a:cxn ang="0">
                    <a:pos x="T4" y="T5"/>
                  </a:cxn>
                  <a:cxn ang="0">
                    <a:pos x="T6" y="T7"/>
                  </a:cxn>
                </a:cxnLst>
                <a:rect l="0" t="0" r="r" b="b"/>
                <a:pathLst>
                  <a:path w="3" h="8">
                    <a:moveTo>
                      <a:pt x="3" y="8"/>
                    </a:moveTo>
                    <a:lnTo>
                      <a:pt x="3" y="8"/>
                    </a:lnTo>
                    <a:cubicBezTo>
                      <a:pt x="1" y="6"/>
                      <a:pt x="3" y="0"/>
                      <a:pt x="1" y="0"/>
                    </a:cubicBezTo>
                    <a:cubicBezTo>
                      <a:pt x="2" y="3"/>
                      <a:pt x="0" y="7"/>
                      <a:pt x="3" y="8"/>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2" name="Freeform 2546"/>
              <p:cNvSpPr>
                <a:spLocks/>
              </p:cNvSpPr>
              <p:nvPr/>
            </p:nvSpPr>
            <p:spPr bwMode="auto">
              <a:xfrm>
                <a:off x="3524251" y="420687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lnTo>
                      <a:pt x="0" y="0"/>
                    </a:lnTo>
                    <a:cubicBezTo>
                      <a:pt x="0" y="1"/>
                      <a:pt x="0" y="1"/>
                      <a:pt x="1"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3" name="Freeform 2547"/>
              <p:cNvSpPr>
                <a:spLocks/>
              </p:cNvSpPr>
              <p:nvPr/>
            </p:nvSpPr>
            <p:spPr bwMode="auto">
              <a:xfrm>
                <a:off x="3552826" y="3951288"/>
                <a:ext cx="0" cy="1588"/>
              </a:xfrm>
              <a:custGeom>
                <a:avLst/>
                <a:gdLst>
                  <a:gd name="T0" fmla="*/ 0 w 1"/>
                  <a:gd name="T1" fmla="*/ 0 h 2"/>
                  <a:gd name="T2" fmla="*/ 0 w 1"/>
                  <a:gd name="T3" fmla="*/ 0 h 2"/>
                  <a:gd name="T4" fmla="*/ 0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0" y="2"/>
                    </a:lnTo>
                    <a:cubicBezTo>
                      <a:pt x="0" y="2"/>
                      <a:pt x="0" y="2"/>
                      <a:pt x="1" y="2"/>
                    </a:cubicBezTo>
                    <a:cubicBezTo>
                      <a:pt x="1" y="1"/>
                      <a:pt x="0" y="1"/>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4" name="Freeform 2548"/>
              <p:cNvSpPr>
                <a:spLocks/>
              </p:cNvSpPr>
              <p:nvPr/>
            </p:nvSpPr>
            <p:spPr bwMode="auto">
              <a:xfrm>
                <a:off x="3548063" y="4132263"/>
                <a:ext cx="0" cy="0"/>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0"/>
                    </a:lnTo>
                    <a:cubicBezTo>
                      <a:pt x="1" y="1"/>
                      <a:pt x="1" y="1"/>
                      <a:pt x="1" y="1"/>
                    </a:cubicBezTo>
                    <a:lnTo>
                      <a:pt x="0"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5" name="Freeform 2549"/>
              <p:cNvSpPr>
                <a:spLocks/>
              </p:cNvSpPr>
              <p:nvPr/>
            </p:nvSpPr>
            <p:spPr bwMode="auto">
              <a:xfrm>
                <a:off x="3549651" y="4127501"/>
                <a:ext cx="0" cy="0"/>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cubicBezTo>
                      <a:pt x="0" y="1"/>
                      <a:pt x="0" y="2"/>
                      <a:pt x="0" y="3"/>
                    </a:cubicBezTo>
                    <a:cubicBezTo>
                      <a:pt x="0" y="1"/>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6" name="Freeform 2550"/>
              <p:cNvSpPr>
                <a:spLocks/>
              </p:cNvSpPr>
              <p:nvPr/>
            </p:nvSpPr>
            <p:spPr bwMode="auto">
              <a:xfrm>
                <a:off x="3557588" y="3949701"/>
                <a:ext cx="0" cy="1588"/>
              </a:xfrm>
              <a:custGeom>
                <a:avLst/>
                <a:gdLst>
                  <a:gd name="T0" fmla="*/ 1 w 1"/>
                  <a:gd name="T1" fmla="*/ 5 h 5"/>
                  <a:gd name="T2" fmla="*/ 1 w 1"/>
                  <a:gd name="T3" fmla="*/ 5 h 5"/>
                  <a:gd name="T4" fmla="*/ 0 w 1"/>
                  <a:gd name="T5" fmla="*/ 0 h 5"/>
                  <a:gd name="T6" fmla="*/ 1 w 1"/>
                  <a:gd name="T7" fmla="*/ 5 h 5"/>
                </a:gdLst>
                <a:ahLst/>
                <a:cxnLst>
                  <a:cxn ang="0">
                    <a:pos x="T0" y="T1"/>
                  </a:cxn>
                  <a:cxn ang="0">
                    <a:pos x="T2" y="T3"/>
                  </a:cxn>
                  <a:cxn ang="0">
                    <a:pos x="T4" y="T5"/>
                  </a:cxn>
                  <a:cxn ang="0">
                    <a:pos x="T6" y="T7"/>
                  </a:cxn>
                </a:cxnLst>
                <a:rect l="0" t="0" r="r" b="b"/>
                <a:pathLst>
                  <a:path w="1" h="5">
                    <a:moveTo>
                      <a:pt x="1" y="5"/>
                    </a:moveTo>
                    <a:lnTo>
                      <a:pt x="1" y="5"/>
                    </a:lnTo>
                    <a:lnTo>
                      <a:pt x="0" y="0"/>
                    </a:lnTo>
                    <a:cubicBezTo>
                      <a:pt x="0" y="2"/>
                      <a:pt x="0" y="3"/>
                      <a:pt x="1" y="5"/>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7" name="Freeform 2551"/>
              <p:cNvSpPr>
                <a:spLocks/>
              </p:cNvSpPr>
              <p:nvPr/>
            </p:nvSpPr>
            <p:spPr bwMode="auto">
              <a:xfrm>
                <a:off x="3552826" y="4073526"/>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cubicBezTo>
                      <a:pt x="0" y="0"/>
                      <a:pt x="0" y="1"/>
                      <a:pt x="0" y="2"/>
                    </a:cubicBezTo>
                    <a:cubicBezTo>
                      <a:pt x="0" y="1"/>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8" name="Freeform 2552"/>
              <p:cNvSpPr>
                <a:spLocks/>
              </p:cNvSpPr>
              <p:nvPr/>
            </p:nvSpPr>
            <p:spPr bwMode="auto">
              <a:xfrm>
                <a:off x="3554413" y="4379913"/>
                <a:ext cx="0" cy="0"/>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1"/>
                      <a:pt x="0" y="1"/>
                      <a:pt x="0" y="2"/>
                    </a:cubicBezTo>
                    <a:cubicBezTo>
                      <a:pt x="0" y="2"/>
                      <a:pt x="1" y="2"/>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9" name="Rectangle 2553"/>
              <p:cNvSpPr>
                <a:spLocks noChangeArrowheads="1"/>
              </p:cNvSpPr>
              <p:nvPr/>
            </p:nvSpPr>
            <p:spPr bwMode="auto">
              <a:xfrm>
                <a:off x="3536951" y="4343401"/>
                <a:ext cx="1588" cy="1588"/>
              </a:xfrm>
              <a:prstGeom prst="rect">
                <a:avLst/>
              </a:prstGeom>
              <a:solidFill>
                <a:srgbClr val="9A9A9A"/>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0" name="Freeform 2554"/>
              <p:cNvSpPr>
                <a:spLocks/>
              </p:cNvSpPr>
              <p:nvPr/>
            </p:nvSpPr>
            <p:spPr bwMode="auto">
              <a:xfrm>
                <a:off x="3536951" y="4343401"/>
                <a:ext cx="0" cy="1588"/>
              </a:xfrm>
              <a:custGeom>
                <a:avLst/>
                <a:gdLst>
                  <a:gd name="T0" fmla="*/ 2 w 3"/>
                  <a:gd name="T1" fmla="*/ 6 h 6"/>
                  <a:gd name="T2" fmla="*/ 2 w 3"/>
                  <a:gd name="T3" fmla="*/ 6 h 6"/>
                  <a:gd name="T4" fmla="*/ 0 w 3"/>
                  <a:gd name="T5" fmla="*/ 0 h 6"/>
                  <a:gd name="T6" fmla="*/ 2 w 3"/>
                  <a:gd name="T7" fmla="*/ 6 h 6"/>
                </a:gdLst>
                <a:ahLst/>
                <a:cxnLst>
                  <a:cxn ang="0">
                    <a:pos x="T0" y="T1"/>
                  </a:cxn>
                  <a:cxn ang="0">
                    <a:pos x="T2" y="T3"/>
                  </a:cxn>
                  <a:cxn ang="0">
                    <a:pos x="T4" y="T5"/>
                  </a:cxn>
                  <a:cxn ang="0">
                    <a:pos x="T6" y="T7"/>
                  </a:cxn>
                </a:cxnLst>
                <a:rect l="0" t="0" r="r" b="b"/>
                <a:pathLst>
                  <a:path w="3" h="6">
                    <a:moveTo>
                      <a:pt x="2" y="6"/>
                    </a:moveTo>
                    <a:lnTo>
                      <a:pt x="2" y="6"/>
                    </a:lnTo>
                    <a:cubicBezTo>
                      <a:pt x="3" y="4"/>
                      <a:pt x="1" y="1"/>
                      <a:pt x="0" y="0"/>
                    </a:cubicBezTo>
                    <a:cubicBezTo>
                      <a:pt x="0" y="2"/>
                      <a:pt x="0" y="3"/>
                      <a:pt x="2" y="6"/>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1" name="Freeform 2555"/>
              <p:cNvSpPr>
                <a:spLocks/>
              </p:cNvSpPr>
              <p:nvPr/>
            </p:nvSpPr>
            <p:spPr bwMode="auto">
              <a:xfrm>
                <a:off x="3536951" y="4338638"/>
                <a:ext cx="0" cy="1588"/>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0"/>
                      <a:pt x="0" y="1"/>
                    </a:cubicBezTo>
                    <a:cubicBezTo>
                      <a:pt x="0" y="0"/>
                      <a:pt x="0"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2" name="Freeform 2556"/>
              <p:cNvSpPr>
                <a:spLocks/>
              </p:cNvSpPr>
              <p:nvPr/>
            </p:nvSpPr>
            <p:spPr bwMode="auto">
              <a:xfrm>
                <a:off x="3536951" y="4379913"/>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3" name="Freeform 2557"/>
              <p:cNvSpPr>
                <a:spLocks/>
              </p:cNvSpPr>
              <p:nvPr/>
            </p:nvSpPr>
            <p:spPr bwMode="auto">
              <a:xfrm>
                <a:off x="3536951" y="437038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0"/>
                      <a:pt x="1" y="0"/>
                    </a:cubicBezTo>
                    <a:cubicBezTo>
                      <a:pt x="0" y="0"/>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4" name="Rectangle 2558"/>
              <p:cNvSpPr>
                <a:spLocks noChangeArrowheads="1"/>
              </p:cNvSpPr>
              <p:nvPr/>
            </p:nvSpPr>
            <p:spPr bwMode="auto">
              <a:xfrm>
                <a:off x="3533776" y="4319588"/>
                <a:ext cx="1588" cy="1588"/>
              </a:xfrm>
              <a:prstGeom prst="rect">
                <a:avLst/>
              </a:prstGeom>
              <a:solidFill>
                <a:srgbClr val="9A9A9A"/>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5" name="Freeform 2559"/>
              <p:cNvSpPr>
                <a:spLocks/>
              </p:cNvSpPr>
              <p:nvPr/>
            </p:nvSpPr>
            <p:spPr bwMode="auto">
              <a:xfrm>
                <a:off x="3522663" y="3948113"/>
                <a:ext cx="39688" cy="596900"/>
              </a:xfrm>
              <a:custGeom>
                <a:avLst/>
                <a:gdLst>
                  <a:gd name="T0" fmla="*/ 17 w 125"/>
                  <a:gd name="T1" fmla="*/ 1053 h 1904"/>
                  <a:gd name="T2" fmla="*/ 26 w 125"/>
                  <a:gd name="T3" fmla="*/ 1127 h 1904"/>
                  <a:gd name="T4" fmla="*/ 36 w 125"/>
                  <a:gd name="T5" fmla="*/ 1194 h 1904"/>
                  <a:gd name="T6" fmla="*/ 41 w 125"/>
                  <a:gd name="T7" fmla="*/ 1222 h 1904"/>
                  <a:gd name="T8" fmla="*/ 38 w 125"/>
                  <a:gd name="T9" fmla="*/ 1246 h 1904"/>
                  <a:gd name="T10" fmla="*/ 46 w 125"/>
                  <a:gd name="T11" fmla="*/ 1286 h 1904"/>
                  <a:gd name="T12" fmla="*/ 43 w 125"/>
                  <a:gd name="T13" fmla="*/ 1321 h 1904"/>
                  <a:gd name="T14" fmla="*/ 48 w 125"/>
                  <a:gd name="T15" fmla="*/ 1357 h 1904"/>
                  <a:gd name="T16" fmla="*/ 53 w 125"/>
                  <a:gd name="T17" fmla="*/ 1406 h 1904"/>
                  <a:gd name="T18" fmla="*/ 58 w 125"/>
                  <a:gd name="T19" fmla="*/ 1447 h 1904"/>
                  <a:gd name="T20" fmla="*/ 47 w 125"/>
                  <a:gd name="T21" fmla="*/ 1480 h 1904"/>
                  <a:gd name="T22" fmla="*/ 49 w 125"/>
                  <a:gd name="T23" fmla="*/ 1552 h 1904"/>
                  <a:gd name="T24" fmla="*/ 53 w 125"/>
                  <a:gd name="T25" fmla="*/ 1594 h 1904"/>
                  <a:gd name="T26" fmla="*/ 52 w 125"/>
                  <a:gd name="T27" fmla="*/ 1655 h 1904"/>
                  <a:gd name="T28" fmla="*/ 58 w 125"/>
                  <a:gd name="T29" fmla="*/ 1695 h 1904"/>
                  <a:gd name="T30" fmla="*/ 54 w 125"/>
                  <a:gd name="T31" fmla="*/ 1714 h 1904"/>
                  <a:gd name="T32" fmla="*/ 68 w 125"/>
                  <a:gd name="T33" fmla="*/ 1740 h 1904"/>
                  <a:gd name="T34" fmla="*/ 63 w 125"/>
                  <a:gd name="T35" fmla="*/ 1766 h 1904"/>
                  <a:gd name="T36" fmla="*/ 69 w 125"/>
                  <a:gd name="T37" fmla="*/ 1784 h 1904"/>
                  <a:gd name="T38" fmla="*/ 71 w 125"/>
                  <a:gd name="T39" fmla="*/ 1852 h 1904"/>
                  <a:gd name="T40" fmla="*/ 70 w 125"/>
                  <a:gd name="T41" fmla="*/ 1889 h 1904"/>
                  <a:gd name="T42" fmla="*/ 85 w 125"/>
                  <a:gd name="T43" fmla="*/ 1865 h 1904"/>
                  <a:gd name="T44" fmla="*/ 84 w 125"/>
                  <a:gd name="T45" fmla="*/ 1835 h 1904"/>
                  <a:gd name="T46" fmla="*/ 90 w 125"/>
                  <a:gd name="T47" fmla="*/ 1813 h 1904"/>
                  <a:gd name="T48" fmla="*/ 89 w 125"/>
                  <a:gd name="T49" fmla="*/ 1756 h 1904"/>
                  <a:gd name="T50" fmla="*/ 90 w 125"/>
                  <a:gd name="T51" fmla="*/ 1724 h 1904"/>
                  <a:gd name="T52" fmla="*/ 89 w 125"/>
                  <a:gd name="T53" fmla="*/ 1659 h 1904"/>
                  <a:gd name="T54" fmla="*/ 91 w 125"/>
                  <a:gd name="T55" fmla="*/ 1615 h 1904"/>
                  <a:gd name="T56" fmla="*/ 91 w 125"/>
                  <a:gd name="T57" fmla="*/ 1579 h 1904"/>
                  <a:gd name="T58" fmla="*/ 93 w 125"/>
                  <a:gd name="T59" fmla="*/ 1536 h 1904"/>
                  <a:gd name="T60" fmla="*/ 97 w 125"/>
                  <a:gd name="T61" fmla="*/ 1494 h 1904"/>
                  <a:gd name="T62" fmla="*/ 102 w 125"/>
                  <a:gd name="T63" fmla="*/ 1419 h 1904"/>
                  <a:gd name="T64" fmla="*/ 99 w 125"/>
                  <a:gd name="T65" fmla="*/ 1358 h 1904"/>
                  <a:gd name="T66" fmla="*/ 99 w 125"/>
                  <a:gd name="T67" fmla="*/ 1315 h 1904"/>
                  <a:gd name="T68" fmla="*/ 102 w 125"/>
                  <a:gd name="T69" fmla="*/ 1278 h 1904"/>
                  <a:gd name="T70" fmla="*/ 100 w 125"/>
                  <a:gd name="T71" fmla="*/ 1218 h 1904"/>
                  <a:gd name="T72" fmla="*/ 101 w 125"/>
                  <a:gd name="T73" fmla="*/ 1157 h 1904"/>
                  <a:gd name="T74" fmla="*/ 96 w 125"/>
                  <a:gd name="T75" fmla="*/ 1094 h 1904"/>
                  <a:gd name="T76" fmla="*/ 87 w 125"/>
                  <a:gd name="T77" fmla="*/ 944 h 1904"/>
                  <a:gd name="T78" fmla="*/ 84 w 125"/>
                  <a:gd name="T79" fmla="*/ 884 h 1904"/>
                  <a:gd name="T80" fmla="*/ 84 w 125"/>
                  <a:gd name="T81" fmla="*/ 839 h 1904"/>
                  <a:gd name="T82" fmla="*/ 78 w 125"/>
                  <a:gd name="T83" fmla="*/ 776 h 1904"/>
                  <a:gd name="T84" fmla="*/ 82 w 125"/>
                  <a:gd name="T85" fmla="*/ 635 h 1904"/>
                  <a:gd name="T86" fmla="*/ 82 w 125"/>
                  <a:gd name="T87" fmla="*/ 534 h 1904"/>
                  <a:gd name="T88" fmla="*/ 94 w 125"/>
                  <a:gd name="T89" fmla="*/ 398 h 1904"/>
                  <a:gd name="T90" fmla="*/ 109 w 125"/>
                  <a:gd name="T91" fmla="*/ 2 h 1904"/>
                  <a:gd name="T92" fmla="*/ 97 w 125"/>
                  <a:gd name="T93" fmla="*/ 30 h 1904"/>
                  <a:gd name="T94" fmla="*/ 89 w 125"/>
                  <a:gd name="T95" fmla="*/ 44 h 1904"/>
                  <a:gd name="T96" fmla="*/ 74 w 125"/>
                  <a:gd name="T97" fmla="*/ 92 h 1904"/>
                  <a:gd name="T98" fmla="*/ 35 w 125"/>
                  <a:gd name="T99" fmla="*/ 246 h 1904"/>
                  <a:gd name="T100" fmla="*/ 7 w 125"/>
                  <a:gd name="T101" fmla="*/ 574 h 1904"/>
                  <a:gd name="T102" fmla="*/ 6 w 125"/>
                  <a:gd name="T103" fmla="*/ 618 h 1904"/>
                  <a:gd name="T104" fmla="*/ 2 w 125"/>
                  <a:gd name="T105" fmla="*/ 759 h 1904"/>
                  <a:gd name="T106" fmla="*/ 10 w 125"/>
                  <a:gd name="T107" fmla="*/ 820 h 1904"/>
                  <a:gd name="T108" fmla="*/ 6 w 125"/>
                  <a:gd name="T109" fmla="*/ 883 h 1904"/>
                  <a:gd name="T110" fmla="*/ 5 w 125"/>
                  <a:gd name="T111" fmla="*/ 94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1904">
                    <a:moveTo>
                      <a:pt x="5" y="945"/>
                    </a:moveTo>
                    <a:lnTo>
                      <a:pt x="5" y="945"/>
                    </a:lnTo>
                    <a:cubicBezTo>
                      <a:pt x="7" y="969"/>
                      <a:pt x="13" y="1000"/>
                      <a:pt x="13" y="1024"/>
                    </a:cubicBezTo>
                    <a:cubicBezTo>
                      <a:pt x="18" y="1029"/>
                      <a:pt x="18" y="1036"/>
                      <a:pt x="20" y="1044"/>
                    </a:cubicBezTo>
                    <a:lnTo>
                      <a:pt x="14" y="1045"/>
                    </a:lnTo>
                    <a:lnTo>
                      <a:pt x="17" y="1051"/>
                    </a:lnTo>
                    <a:cubicBezTo>
                      <a:pt x="15" y="1054"/>
                      <a:pt x="15" y="1046"/>
                      <a:pt x="13" y="1051"/>
                    </a:cubicBezTo>
                    <a:lnTo>
                      <a:pt x="17" y="1053"/>
                    </a:lnTo>
                    <a:cubicBezTo>
                      <a:pt x="15" y="1054"/>
                      <a:pt x="17" y="1070"/>
                      <a:pt x="12" y="1059"/>
                    </a:cubicBezTo>
                    <a:lnTo>
                      <a:pt x="14" y="1084"/>
                    </a:lnTo>
                    <a:cubicBezTo>
                      <a:pt x="14" y="1089"/>
                      <a:pt x="18" y="1087"/>
                      <a:pt x="17" y="1093"/>
                    </a:cubicBezTo>
                    <a:cubicBezTo>
                      <a:pt x="16" y="1094"/>
                      <a:pt x="16" y="1091"/>
                      <a:pt x="14" y="1091"/>
                    </a:cubicBezTo>
                    <a:cubicBezTo>
                      <a:pt x="11" y="1110"/>
                      <a:pt x="26" y="1111"/>
                      <a:pt x="24" y="1128"/>
                    </a:cubicBezTo>
                    <a:lnTo>
                      <a:pt x="24" y="1127"/>
                    </a:lnTo>
                    <a:cubicBezTo>
                      <a:pt x="25" y="1130"/>
                      <a:pt x="25" y="1135"/>
                      <a:pt x="26" y="1135"/>
                    </a:cubicBezTo>
                    <a:cubicBezTo>
                      <a:pt x="32" y="1133"/>
                      <a:pt x="23" y="1132"/>
                      <a:pt x="26" y="1127"/>
                    </a:cubicBezTo>
                    <a:cubicBezTo>
                      <a:pt x="31" y="1127"/>
                      <a:pt x="29" y="1133"/>
                      <a:pt x="32" y="1133"/>
                    </a:cubicBezTo>
                    <a:cubicBezTo>
                      <a:pt x="31" y="1137"/>
                      <a:pt x="34" y="1139"/>
                      <a:pt x="34" y="1142"/>
                    </a:cubicBezTo>
                    <a:cubicBezTo>
                      <a:pt x="32" y="1148"/>
                      <a:pt x="34" y="1157"/>
                      <a:pt x="31" y="1161"/>
                    </a:cubicBezTo>
                    <a:cubicBezTo>
                      <a:pt x="32" y="1164"/>
                      <a:pt x="37" y="1167"/>
                      <a:pt x="38" y="1173"/>
                    </a:cubicBezTo>
                    <a:cubicBezTo>
                      <a:pt x="34" y="1178"/>
                      <a:pt x="34" y="1172"/>
                      <a:pt x="33" y="1178"/>
                    </a:cubicBezTo>
                    <a:lnTo>
                      <a:pt x="36" y="1179"/>
                    </a:lnTo>
                    <a:cubicBezTo>
                      <a:pt x="36" y="1184"/>
                      <a:pt x="35" y="1183"/>
                      <a:pt x="34" y="1183"/>
                    </a:cubicBezTo>
                    <a:cubicBezTo>
                      <a:pt x="34" y="1189"/>
                      <a:pt x="38" y="1187"/>
                      <a:pt x="36" y="1194"/>
                    </a:cubicBezTo>
                    <a:lnTo>
                      <a:pt x="34" y="1191"/>
                    </a:lnTo>
                    <a:cubicBezTo>
                      <a:pt x="35" y="1195"/>
                      <a:pt x="34" y="1197"/>
                      <a:pt x="35" y="1204"/>
                    </a:cubicBezTo>
                    <a:cubicBezTo>
                      <a:pt x="33" y="1204"/>
                      <a:pt x="33" y="1201"/>
                      <a:pt x="33" y="1199"/>
                    </a:cubicBezTo>
                    <a:cubicBezTo>
                      <a:pt x="30" y="1203"/>
                      <a:pt x="35" y="1206"/>
                      <a:pt x="35" y="1208"/>
                    </a:cubicBezTo>
                    <a:cubicBezTo>
                      <a:pt x="36" y="1207"/>
                      <a:pt x="37" y="1202"/>
                      <a:pt x="39" y="1204"/>
                    </a:cubicBezTo>
                    <a:cubicBezTo>
                      <a:pt x="39" y="1208"/>
                      <a:pt x="43" y="1211"/>
                      <a:pt x="40" y="1214"/>
                    </a:cubicBezTo>
                    <a:lnTo>
                      <a:pt x="38" y="1210"/>
                    </a:lnTo>
                    <a:cubicBezTo>
                      <a:pt x="40" y="1217"/>
                      <a:pt x="41" y="1214"/>
                      <a:pt x="41" y="1222"/>
                    </a:cubicBezTo>
                    <a:cubicBezTo>
                      <a:pt x="40" y="1222"/>
                      <a:pt x="40" y="1222"/>
                      <a:pt x="39" y="1222"/>
                    </a:cubicBezTo>
                    <a:cubicBezTo>
                      <a:pt x="43" y="1227"/>
                      <a:pt x="40" y="1234"/>
                      <a:pt x="40" y="1241"/>
                    </a:cubicBezTo>
                    <a:lnTo>
                      <a:pt x="39" y="1240"/>
                    </a:lnTo>
                    <a:cubicBezTo>
                      <a:pt x="41" y="1243"/>
                      <a:pt x="43" y="1244"/>
                      <a:pt x="43" y="1246"/>
                    </a:cubicBezTo>
                    <a:cubicBezTo>
                      <a:pt x="44" y="1242"/>
                      <a:pt x="45" y="1243"/>
                      <a:pt x="48" y="1242"/>
                    </a:cubicBezTo>
                    <a:cubicBezTo>
                      <a:pt x="44" y="1248"/>
                      <a:pt x="53" y="1251"/>
                      <a:pt x="51" y="1260"/>
                    </a:cubicBezTo>
                    <a:cubicBezTo>
                      <a:pt x="50" y="1260"/>
                      <a:pt x="48" y="1258"/>
                      <a:pt x="49" y="1255"/>
                    </a:cubicBezTo>
                    <a:cubicBezTo>
                      <a:pt x="44" y="1252"/>
                      <a:pt x="40" y="1252"/>
                      <a:pt x="38" y="1246"/>
                    </a:cubicBezTo>
                    <a:cubicBezTo>
                      <a:pt x="39" y="1250"/>
                      <a:pt x="40" y="1254"/>
                      <a:pt x="38" y="1253"/>
                    </a:cubicBezTo>
                    <a:lnTo>
                      <a:pt x="42" y="1254"/>
                    </a:lnTo>
                    <a:cubicBezTo>
                      <a:pt x="43" y="1256"/>
                      <a:pt x="43" y="1258"/>
                      <a:pt x="43" y="1260"/>
                    </a:cubicBezTo>
                    <a:cubicBezTo>
                      <a:pt x="45" y="1260"/>
                      <a:pt x="47" y="1255"/>
                      <a:pt x="49" y="1260"/>
                    </a:cubicBezTo>
                    <a:cubicBezTo>
                      <a:pt x="50" y="1265"/>
                      <a:pt x="45" y="1263"/>
                      <a:pt x="47" y="1264"/>
                    </a:cubicBezTo>
                    <a:cubicBezTo>
                      <a:pt x="49" y="1271"/>
                      <a:pt x="51" y="1267"/>
                      <a:pt x="50" y="1274"/>
                    </a:cubicBezTo>
                    <a:cubicBezTo>
                      <a:pt x="50" y="1273"/>
                      <a:pt x="49" y="1272"/>
                      <a:pt x="49" y="1271"/>
                    </a:cubicBezTo>
                    <a:cubicBezTo>
                      <a:pt x="48" y="1277"/>
                      <a:pt x="51" y="1284"/>
                      <a:pt x="46" y="1286"/>
                    </a:cubicBezTo>
                    <a:cubicBezTo>
                      <a:pt x="45" y="1285"/>
                      <a:pt x="43" y="1285"/>
                      <a:pt x="44" y="1283"/>
                    </a:cubicBezTo>
                    <a:lnTo>
                      <a:pt x="44" y="1283"/>
                    </a:lnTo>
                    <a:cubicBezTo>
                      <a:pt x="40" y="1278"/>
                      <a:pt x="46" y="1288"/>
                      <a:pt x="41" y="1287"/>
                    </a:cubicBezTo>
                    <a:cubicBezTo>
                      <a:pt x="44" y="1286"/>
                      <a:pt x="43" y="1294"/>
                      <a:pt x="43" y="1297"/>
                    </a:cubicBezTo>
                    <a:lnTo>
                      <a:pt x="46" y="1296"/>
                    </a:lnTo>
                    <a:cubicBezTo>
                      <a:pt x="56" y="1306"/>
                      <a:pt x="40" y="1295"/>
                      <a:pt x="42" y="1306"/>
                    </a:cubicBezTo>
                    <a:cubicBezTo>
                      <a:pt x="44" y="1313"/>
                      <a:pt x="42" y="1304"/>
                      <a:pt x="45" y="1308"/>
                    </a:cubicBezTo>
                    <a:cubicBezTo>
                      <a:pt x="44" y="1313"/>
                      <a:pt x="42" y="1314"/>
                      <a:pt x="43" y="1321"/>
                    </a:cubicBezTo>
                    <a:cubicBezTo>
                      <a:pt x="42" y="1323"/>
                      <a:pt x="41" y="1327"/>
                      <a:pt x="37" y="1328"/>
                    </a:cubicBezTo>
                    <a:cubicBezTo>
                      <a:pt x="39" y="1332"/>
                      <a:pt x="36" y="1341"/>
                      <a:pt x="40" y="1343"/>
                    </a:cubicBezTo>
                    <a:cubicBezTo>
                      <a:pt x="42" y="1336"/>
                      <a:pt x="36" y="1336"/>
                      <a:pt x="40" y="1327"/>
                    </a:cubicBezTo>
                    <a:lnTo>
                      <a:pt x="43" y="1329"/>
                    </a:lnTo>
                    <a:cubicBezTo>
                      <a:pt x="44" y="1335"/>
                      <a:pt x="46" y="1343"/>
                      <a:pt x="45" y="1347"/>
                    </a:cubicBezTo>
                    <a:cubicBezTo>
                      <a:pt x="45" y="1346"/>
                      <a:pt x="46" y="1345"/>
                      <a:pt x="47" y="1346"/>
                    </a:cubicBezTo>
                    <a:cubicBezTo>
                      <a:pt x="48" y="1354"/>
                      <a:pt x="52" y="1356"/>
                      <a:pt x="51" y="1364"/>
                    </a:cubicBezTo>
                    <a:cubicBezTo>
                      <a:pt x="48" y="1366"/>
                      <a:pt x="48" y="1361"/>
                      <a:pt x="48" y="1357"/>
                    </a:cubicBezTo>
                    <a:cubicBezTo>
                      <a:pt x="46" y="1363"/>
                      <a:pt x="48" y="1363"/>
                      <a:pt x="47" y="1371"/>
                    </a:cubicBezTo>
                    <a:cubicBezTo>
                      <a:pt x="45" y="1371"/>
                      <a:pt x="47" y="1366"/>
                      <a:pt x="45" y="1365"/>
                    </a:cubicBezTo>
                    <a:lnTo>
                      <a:pt x="46" y="1374"/>
                    </a:lnTo>
                    <a:cubicBezTo>
                      <a:pt x="46" y="1374"/>
                      <a:pt x="45" y="1374"/>
                      <a:pt x="45" y="1374"/>
                    </a:cubicBezTo>
                    <a:cubicBezTo>
                      <a:pt x="50" y="1375"/>
                      <a:pt x="45" y="1380"/>
                      <a:pt x="47" y="1386"/>
                    </a:cubicBezTo>
                    <a:cubicBezTo>
                      <a:pt x="47" y="1399"/>
                      <a:pt x="53" y="1400"/>
                      <a:pt x="57" y="1407"/>
                    </a:cubicBezTo>
                    <a:cubicBezTo>
                      <a:pt x="56" y="1409"/>
                      <a:pt x="55" y="1410"/>
                      <a:pt x="53" y="1409"/>
                    </a:cubicBezTo>
                    <a:cubicBezTo>
                      <a:pt x="55" y="1406"/>
                      <a:pt x="54" y="1407"/>
                      <a:pt x="53" y="1406"/>
                    </a:cubicBezTo>
                    <a:cubicBezTo>
                      <a:pt x="53" y="1410"/>
                      <a:pt x="48" y="1415"/>
                      <a:pt x="46" y="1413"/>
                    </a:cubicBezTo>
                    <a:cubicBezTo>
                      <a:pt x="48" y="1420"/>
                      <a:pt x="49" y="1410"/>
                      <a:pt x="50" y="1414"/>
                    </a:cubicBezTo>
                    <a:lnTo>
                      <a:pt x="50" y="1424"/>
                    </a:lnTo>
                    <a:cubicBezTo>
                      <a:pt x="53" y="1423"/>
                      <a:pt x="53" y="1419"/>
                      <a:pt x="55" y="1424"/>
                    </a:cubicBezTo>
                    <a:cubicBezTo>
                      <a:pt x="56" y="1428"/>
                      <a:pt x="55" y="1430"/>
                      <a:pt x="55" y="1436"/>
                    </a:cubicBezTo>
                    <a:cubicBezTo>
                      <a:pt x="54" y="1435"/>
                      <a:pt x="51" y="1437"/>
                      <a:pt x="52" y="1433"/>
                    </a:cubicBezTo>
                    <a:cubicBezTo>
                      <a:pt x="51" y="1436"/>
                      <a:pt x="51" y="1440"/>
                      <a:pt x="53" y="1441"/>
                    </a:cubicBezTo>
                    <a:cubicBezTo>
                      <a:pt x="55" y="1436"/>
                      <a:pt x="55" y="1451"/>
                      <a:pt x="58" y="1447"/>
                    </a:cubicBezTo>
                    <a:lnTo>
                      <a:pt x="56" y="1452"/>
                    </a:lnTo>
                    <a:cubicBezTo>
                      <a:pt x="56" y="1451"/>
                      <a:pt x="55" y="1451"/>
                      <a:pt x="55" y="1449"/>
                    </a:cubicBezTo>
                    <a:cubicBezTo>
                      <a:pt x="52" y="1451"/>
                      <a:pt x="56" y="1454"/>
                      <a:pt x="57" y="1456"/>
                    </a:cubicBezTo>
                    <a:cubicBezTo>
                      <a:pt x="56" y="1458"/>
                      <a:pt x="56" y="1463"/>
                      <a:pt x="54" y="1464"/>
                    </a:cubicBezTo>
                    <a:cubicBezTo>
                      <a:pt x="55" y="1465"/>
                      <a:pt x="54" y="1470"/>
                      <a:pt x="52" y="1470"/>
                    </a:cubicBezTo>
                    <a:cubicBezTo>
                      <a:pt x="53" y="1473"/>
                      <a:pt x="55" y="1471"/>
                      <a:pt x="56" y="1472"/>
                    </a:cubicBezTo>
                    <a:lnTo>
                      <a:pt x="55" y="1481"/>
                    </a:lnTo>
                    <a:cubicBezTo>
                      <a:pt x="53" y="1481"/>
                      <a:pt x="47" y="1481"/>
                      <a:pt x="47" y="1480"/>
                    </a:cubicBezTo>
                    <a:cubicBezTo>
                      <a:pt x="48" y="1483"/>
                      <a:pt x="52" y="1482"/>
                      <a:pt x="52" y="1487"/>
                    </a:cubicBezTo>
                    <a:cubicBezTo>
                      <a:pt x="48" y="1483"/>
                      <a:pt x="49" y="1494"/>
                      <a:pt x="44" y="1489"/>
                    </a:cubicBezTo>
                    <a:cubicBezTo>
                      <a:pt x="41" y="1492"/>
                      <a:pt x="41" y="1501"/>
                      <a:pt x="41" y="1506"/>
                    </a:cubicBezTo>
                    <a:cubicBezTo>
                      <a:pt x="44" y="1510"/>
                      <a:pt x="44" y="1501"/>
                      <a:pt x="47" y="1501"/>
                    </a:cubicBezTo>
                    <a:cubicBezTo>
                      <a:pt x="47" y="1516"/>
                      <a:pt x="56" y="1517"/>
                      <a:pt x="54" y="1527"/>
                    </a:cubicBezTo>
                    <a:lnTo>
                      <a:pt x="55" y="1525"/>
                    </a:lnTo>
                    <a:cubicBezTo>
                      <a:pt x="56" y="1531"/>
                      <a:pt x="56" y="1530"/>
                      <a:pt x="58" y="1534"/>
                    </a:cubicBezTo>
                    <a:cubicBezTo>
                      <a:pt x="55" y="1532"/>
                      <a:pt x="48" y="1541"/>
                      <a:pt x="49" y="1552"/>
                    </a:cubicBezTo>
                    <a:cubicBezTo>
                      <a:pt x="51" y="1553"/>
                      <a:pt x="52" y="1546"/>
                      <a:pt x="55" y="1548"/>
                    </a:cubicBezTo>
                    <a:lnTo>
                      <a:pt x="56" y="1555"/>
                    </a:lnTo>
                    <a:cubicBezTo>
                      <a:pt x="56" y="1555"/>
                      <a:pt x="55" y="1554"/>
                      <a:pt x="55" y="1554"/>
                    </a:cubicBezTo>
                    <a:cubicBezTo>
                      <a:pt x="56" y="1560"/>
                      <a:pt x="50" y="1565"/>
                      <a:pt x="54" y="1567"/>
                    </a:cubicBezTo>
                    <a:lnTo>
                      <a:pt x="49" y="1573"/>
                    </a:lnTo>
                    <a:lnTo>
                      <a:pt x="51" y="1571"/>
                    </a:lnTo>
                    <a:cubicBezTo>
                      <a:pt x="53" y="1572"/>
                      <a:pt x="54" y="1579"/>
                      <a:pt x="54" y="1580"/>
                    </a:cubicBezTo>
                    <a:cubicBezTo>
                      <a:pt x="57" y="1587"/>
                      <a:pt x="55" y="1590"/>
                      <a:pt x="53" y="1594"/>
                    </a:cubicBezTo>
                    <a:cubicBezTo>
                      <a:pt x="54" y="1592"/>
                      <a:pt x="58" y="1589"/>
                      <a:pt x="58" y="1595"/>
                    </a:cubicBezTo>
                    <a:cubicBezTo>
                      <a:pt x="52" y="1595"/>
                      <a:pt x="56" y="1607"/>
                      <a:pt x="53" y="1607"/>
                    </a:cubicBezTo>
                    <a:cubicBezTo>
                      <a:pt x="53" y="1609"/>
                      <a:pt x="52" y="1613"/>
                      <a:pt x="54" y="1613"/>
                    </a:cubicBezTo>
                    <a:lnTo>
                      <a:pt x="50" y="1613"/>
                    </a:lnTo>
                    <a:cubicBezTo>
                      <a:pt x="56" y="1613"/>
                      <a:pt x="56" y="1621"/>
                      <a:pt x="57" y="1628"/>
                    </a:cubicBezTo>
                    <a:cubicBezTo>
                      <a:pt x="50" y="1627"/>
                      <a:pt x="58" y="1635"/>
                      <a:pt x="51" y="1638"/>
                    </a:cubicBezTo>
                    <a:cubicBezTo>
                      <a:pt x="56" y="1639"/>
                      <a:pt x="54" y="1649"/>
                      <a:pt x="58" y="1650"/>
                    </a:cubicBezTo>
                    <a:cubicBezTo>
                      <a:pt x="59" y="1654"/>
                      <a:pt x="54" y="1654"/>
                      <a:pt x="52" y="1655"/>
                    </a:cubicBezTo>
                    <a:lnTo>
                      <a:pt x="54" y="1658"/>
                    </a:lnTo>
                    <a:cubicBezTo>
                      <a:pt x="52" y="1660"/>
                      <a:pt x="52" y="1669"/>
                      <a:pt x="51" y="1675"/>
                    </a:cubicBezTo>
                    <a:lnTo>
                      <a:pt x="56" y="1680"/>
                    </a:lnTo>
                    <a:lnTo>
                      <a:pt x="54" y="1682"/>
                    </a:lnTo>
                    <a:cubicBezTo>
                      <a:pt x="55" y="1682"/>
                      <a:pt x="56" y="1686"/>
                      <a:pt x="57" y="1684"/>
                    </a:cubicBezTo>
                    <a:lnTo>
                      <a:pt x="57" y="1686"/>
                    </a:lnTo>
                    <a:cubicBezTo>
                      <a:pt x="62" y="1686"/>
                      <a:pt x="59" y="1690"/>
                      <a:pt x="61" y="1695"/>
                    </a:cubicBezTo>
                    <a:cubicBezTo>
                      <a:pt x="60" y="1697"/>
                      <a:pt x="59" y="1697"/>
                      <a:pt x="58" y="1695"/>
                    </a:cubicBezTo>
                    <a:cubicBezTo>
                      <a:pt x="59" y="1698"/>
                      <a:pt x="56" y="1697"/>
                      <a:pt x="55" y="1699"/>
                    </a:cubicBezTo>
                    <a:cubicBezTo>
                      <a:pt x="56" y="1697"/>
                      <a:pt x="64" y="1708"/>
                      <a:pt x="65" y="1700"/>
                    </a:cubicBezTo>
                    <a:cubicBezTo>
                      <a:pt x="67" y="1700"/>
                      <a:pt x="69" y="1704"/>
                      <a:pt x="68" y="1707"/>
                    </a:cubicBezTo>
                    <a:lnTo>
                      <a:pt x="64" y="1709"/>
                    </a:lnTo>
                    <a:lnTo>
                      <a:pt x="69" y="1711"/>
                    </a:lnTo>
                    <a:cubicBezTo>
                      <a:pt x="70" y="1716"/>
                      <a:pt x="67" y="1718"/>
                      <a:pt x="67" y="1721"/>
                    </a:cubicBezTo>
                    <a:cubicBezTo>
                      <a:pt x="66" y="1718"/>
                      <a:pt x="58" y="1714"/>
                      <a:pt x="59" y="1723"/>
                    </a:cubicBezTo>
                    <a:cubicBezTo>
                      <a:pt x="58" y="1718"/>
                      <a:pt x="55" y="1716"/>
                      <a:pt x="54" y="1714"/>
                    </a:cubicBezTo>
                    <a:cubicBezTo>
                      <a:pt x="54" y="1715"/>
                      <a:pt x="54" y="1716"/>
                      <a:pt x="52" y="1714"/>
                    </a:cubicBezTo>
                    <a:cubicBezTo>
                      <a:pt x="54" y="1720"/>
                      <a:pt x="55" y="1716"/>
                      <a:pt x="56" y="1723"/>
                    </a:cubicBezTo>
                    <a:cubicBezTo>
                      <a:pt x="52" y="1722"/>
                      <a:pt x="51" y="1725"/>
                      <a:pt x="50" y="1731"/>
                    </a:cubicBezTo>
                    <a:lnTo>
                      <a:pt x="52" y="1726"/>
                    </a:lnTo>
                    <a:cubicBezTo>
                      <a:pt x="53" y="1726"/>
                      <a:pt x="53" y="1726"/>
                      <a:pt x="53" y="1727"/>
                    </a:cubicBezTo>
                    <a:cubicBezTo>
                      <a:pt x="54" y="1725"/>
                      <a:pt x="54" y="1724"/>
                      <a:pt x="56" y="1724"/>
                    </a:cubicBezTo>
                    <a:cubicBezTo>
                      <a:pt x="56" y="1725"/>
                      <a:pt x="61" y="1732"/>
                      <a:pt x="59" y="1733"/>
                    </a:cubicBezTo>
                    <a:cubicBezTo>
                      <a:pt x="64" y="1726"/>
                      <a:pt x="64" y="1745"/>
                      <a:pt x="68" y="1740"/>
                    </a:cubicBezTo>
                    <a:cubicBezTo>
                      <a:pt x="69" y="1741"/>
                      <a:pt x="69" y="1746"/>
                      <a:pt x="67" y="1746"/>
                    </a:cubicBezTo>
                    <a:cubicBezTo>
                      <a:pt x="64" y="1741"/>
                      <a:pt x="63" y="1751"/>
                      <a:pt x="61" y="1750"/>
                    </a:cubicBezTo>
                    <a:cubicBezTo>
                      <a:pt x="62" y="1752"/>
                      <a:pt x="63" y="1745"/>
                      <a:pt x="65" y="1748"/>
                    </a:cubicBezTo>
                    <a:cubicBezTo>
                      <a:pt x="65" y="1752"/>
                      <a:pt x="63" y="1754"/>
                      <a:pt x="62" y="1756"/>
                    </a:cubicBezTo>
                    <a:lnTo>
                      <a:pt x="61" y="1755"/>
                    </a:lnTo>
                    <a:lnTo>
                      <a:pt x="60" y="1760"/>
                    </a:lnTo>
                    <a:cubicBezTo>
                      <a:pt x="62" y="1761"/>
                      <a:pt x="63" y="1755"/>
                      <a:pt x="64" y="1760"/>
                    </a:cubicBezTo>
                    <a:cubicBezTo>
                      <a:pt x="63" y="1761"/>
                      <a:pt x="65" y="1766"/>
                      <a:pt x="63" y="1766"/>
                    </a:cubicBezTo>
                    <a:cubicBezTo>
                      <a:pt x="60" y="1764"/>
                      <a:pt x="57" y="1766"/>
                      <a:pt x="56" y="1762"/>
                    </a:cubicBezTo>
                    <a:cubicBezTo>
                      <a:pt x="57" y="1765"/>
                      <a:pt x="58" y="1776"/>
                      <a:pt x="61" y="1771"/>
                    </a:cubicBezTo>
                    <a:lnTo>
                      <a:pt x="61" y="1775"/>
                    </a:lnTo>
                    <a:cubicBezTo>
                      <a:pt x="63" y="1773"/>
                      <a:pt x="65" y="1765"/>
                      <a:pt x="66" y="1773"/>
                    </a:cubicBezTo>
                    <a:lnTo>
                      <a:pt x="65" y="1773"/>
                    </a:lnTo>
                    <a:lnTo>
                      <a:pt x="69" y="1779"/>
                    </a:lnTo>
                    <a:lnTo>
                      <a:pt x="67" y="1782"/>
                    </a:lnTo>
                    <a:cubicBezTo>
                      <a:pt x="68" y="1781"/>
                      <a:pt x="69" y="1782"/>
                      <a:pt x="69" y="1784"/>
                    </a:cubicBezTo>
                    <a:cubicBezTo>
                      <a:pt x="68" y="1785"/>
                      <a:pt x="68" y="1787"/>
                      <a:pt x="66" y="1787"/>
                    </a:cubicBezTo>
                    <a:cubicBezTo>
                      <a:pt x="67" y="1793"/>
                      <a:pt x="69" y="1793"/>
                      <a:pt x="70" y="1793"/>
                    </a:cubicBezTo>
                    <a:cubicBezTo>
                      <a:pt x="70" y="1797"/>
                      <a:pt x="70" y="1798"/>
                      <a:pt x="67" y="1797"/>
                    </a:cubicBezTo>
                    <a:cubicBezTo>
                      <a:pt x="67" y="1801"/>
                      <a:pt x="68" y="1810"/>
                      <a:pt x="67" y="1813"/>
                    </a:cubicBezTo>
                    <a:cubicBezTo>
                      <a:pt x="69" y="1819"/>
                      <a:pt x="67" y="1812"/>
                      <a:pt x="70" y="1815"/>
                    </a:cubicBezTo>
                    <a:cubicBezTo>
                      <a:pt x="64" y="1821"/>
                      <a:pt x="69" y="1836"/>
                      <a:pt x="71" y="1846"/>
                    </a:cubicBezTo>
                    <a:cubicBezTo>
                      <a:pt x="77" y="1843"/>
                      <a:pt x="72" y="1849"/>
                      <a:pt x="77" y="1851"/>
                    </a:cubicBezTo>
                    <a:cubicBezTo>
                      <a:pt x="75" y="1848"/>
                      <a:pt x="74" y="1861"/>
                      <a:pt x="71" y="1852"/>
                    </a:cubicBezTo>
                    <a:lnTo>
                      <a:pt x="72" y="1857"/>
                    </a:lnTo>
                    <a:cubicBezTo>
                      <a:pt x="70" y="1861"/>
                      <a:pt x="69" y="1848"/>
                      <a:pt x="65" y="1855"/>
                    </a:cubicBezTo>
                    <a:cubicBezTo>
                      <a:pt x="66" y="1861"/>
                      <a:pt x="73" y="1864"/>
                      <a:pt x="71" y="1872"/>
                    </a:cubicBezTo>
                    <a:cubicBezTo>
                      <a:pt x="67" y="1870"/>
                      <a:pt x="73" y="1877"/>
                      <a:pt x="68" y="1876"/>
                    </a:cubicBezTo>
                    <a:cubicBezTo>
                      <a:pt x="67" y="1874"/>
                      <a:pt x="67" y="1872"/>
                      <a:pt x="67" y="1870"/>
                    </a:cubicBezTo>
                    <a:lnTo>
                      <a:pt x="66" y="1872"/>
                    </a:lnTo>
                    <a:cubicBezTo>
                      <a:pt x="66" y="1885"/>
                      <a:pt x="71" y="1875"/>
                      <a:pt x="75" y="1882"/>
                    </a:cubicBezTo>
                    <a:cubicBezTo>
                      <a:pt x="76" y="1890"/>
                      <a:pt x="72" y="1889"/>
                      <a:pt x="70" y="1889"/>
                    </a:cubicBezTo>
                    <a:cubicBezTo>
                      <a:pt x="69" y="1891"/>
                      <a:pt x="70" y="1895"/>
                      <a:pt x="72" y="1897"/>
                    </a:cubicBezTo>
                    <a:cubicBezTo>
                      <a:pt x="69" y="1892"/>
                      <a:pt x="73" y="1887"/>
                      <a:pt x="76" y="1889"/>
                    </a:cubicBezTo>
                    <a:cubicBezTo>
                      <a:pt x="72" y="1893"/>
                      <a:pt x="77" y="1902"/>
                      <a:pt x="79" y="1904"/>
                    </a:cubicBezTo>
                    <a:cubicBezTo>
                      <a:pt x="83" y="1891"/>
                      <a:pt x="79" y="1896"/>
                      <a:pt x="83" y="1884"/>
                    </a:cubicBezTo>
                    <a:cubicBezTo>
                      <a:pt x="81" y="1883"/>
                      <a:pt x="77" y="1883"/>
                      <a:pt x="78" y="1876"/>
                    </a:cubicBezTo>
                    <a:cubicBezTo>
                      <a:pt x="81" y="1880"/>
                      <a:pt x="81" y="1876"/>
                      <a:pt x="81" y="1875"/>
                    </a:cubicBezTo>
                    <a:cubicBezTo>
                      <a:pt x="79" y="1876"/>
                      <a:pt x="80" y="1870"/>
                      <a:pt x="79" y="1868"/>
                    </a:cubicBezTo>
                    <a:cubicBezTo>
                      <a:pt x="80" y="1866"/>
                      <a:pt x="85" y="1872"/>
                      <a:pt x="85" y="1865"/>
                    </a:cubicBezTo>
                    <a:lnTo>
                      <a:pt x="79" y="1864"/>
                    </a:lnTo>
                    <a:cubicBezTo>
                      <a:pt x="80" y="1861"/>
                      <a:pt x="83" y="1865"/>
                      <a:pt x="82" y="1859"/>
                    </a:cubicBezTo>
                    <a:cubicBezTo>
                      <a:pt x="85" y="1862"/>
                      <a:pt x="86" y="1858"/>
                      <a:pt x="88" y="1866"/>
                    </a:cubicBezTo>
                    <a:cubicBezTo>
                      <a:pt x="92" y="1856"/>
                      <a:pt x="84" y="1852"/>
                      <a:pt x="81" y="1845"/>
                    </a:cubicBezTo>
                    <a:cubicBezTo>
                      <a:pt x="82" y="1846"/>
                      <a:pt x="82" y="1846"/>
                      <a:pt x="83" y="1847"/>
                    </a:cubicBezTo>
                    <a:cubicBezTo>
                      <a:pt x="81" y="1845"/>
                      <a:pt x="81" y="1842"/>
                      <a:pt x="80" y="1840"/>
                    </a:cubicBezTo>
                    <a:cubicBezTo>
                      <a:pt x="81" y="1836"/>
                      <a:pt x="83" y="1844"/>
                      <a:pt x="85" y="1842"/>
                    </a:cubicBezTo>
                    <a:lnTo>
                      <a:pt x="84" y="1835"/>
                    </a:lnTo>
                    <a:cubicBezTo>
                      <a:pt x="84" y="1835"/>
                      <a:pt x="84" y="1835"/>
                      <a:pt x="84" y="1835"/>
                    </a:cubicBezTo>
                    <a:cubicBezTo>
                      <a:pt x="83" y="1833"/>
                      <a:pt x="83" y="1831"/>
                      <a:pt x="84" y="1830"/>
                    </a:cubicBezTo>
                    <a:cubicBezTo>
                      <a:pt x="86" y="1832"/>
                      <a:pt x="88" y="1833"/>
                      <a:pt x="90" y="1834"/>
                    </a:cubicBezTo>
                    <a:lnTo>
                      <a:pt x="85" y="1827"/>
                    </a:lnTo>
                    <a:cubicBezTo>
                      <a:pt x="87" y="1828"/>
                      <a:pt x="88" y="1820"/>
                      <a:pt x="90" y="1826"/>
                    </a:cubicBezTo>
                    <a:lnTo>
                      <a:pt x="88" y="1814"/>
                    </a:lnTo>
                    <a:lnTo>
                      <a:pt x="92" y="1813"/>
                    </a:lnTo>
                    <a:cubicBezTo>
                      <a:pt x="91" y="1810"/>
                      <a:pt x="90" y="1810"/>
                      <a:pt x="90" y="1813"/>
                    </a:cubicBezTo>
                    <a:cubicBezTo>
                      <a:pt x="90" y="1809"/>
                      <a:pt x="82" y="1796"/>
                      <a:pt x="89" y="1798"/>
                    </a:cubicBezTo>
                    <a:cubicBezTo>
                      <a:pt x="86" y="1789"/>
                      <a:pt x="87" y="1785"/>
                      <a:pt x="84" y="1774"/>
                    </a:cubicBezTo>
                    <a:cubicBezTo>
                      <a:pt x="88" y="1783"/>
                      <a:pt x="88" y="1764"/>
                      <a:pt x="90" y="1773"/>
                    </a:cubicBezTo>
                    <a:cubicBezTo>
                      <a:pt x="91" y="1768"/>
                      <a:pt x="87" y="1767"/>
                      <a:pt x="86" y="1763"/>
                    </a:cubicBezTo>
                    <a:cubicBezTo>
                      <a:pt x="87" y="1759"/>
                      <a:pt x="91" y="1760"/>
                      <a:pt x="93" y="1765"/>
                    </a:cubicBezTo>
                    <a:lnTo>
                      <a:pt x="91" y="1760"/>
                    </a:lnTo>
                    <a:lnTo>
                      <a:pt x="92" y="1760"/>
                    </a:lnTo>
                    <a:lnTo>
                      <a:pt x="89" y="1756"/>
                    </a:lnTo>
                    <a:cubicBezTo>
                      <a:pt x="91" y="1751"/>
                      <a:pt x="93" y="1754"/>
                      <a:pt x="93" y="1750"/>
                    </a:cubicBezTo>
                    <a:lnTo>
                      <a:pt x="90" y="1749"/>
                    </a:lnTo>
                    <a:lnTo>
                      <a:pt x="91" y="1745"/>
                    </a:lnTo>
                    <a:cubicBezTo>
                      <a:pt x="90" y="1747"/>
                      <a:pt x="89" y="1744"/>
                      <a:pt x="89" y="1741"/>
                    </a:cubicBezTo>
                    <a:lnTo>
                      <a:pt x="89" y="1741"/>
                    </a:lnTo>
                    <a:lnTo>
                      <a:pt x="88" y="1737"/>
                    </a:lnTo>
                    <a:cubicBezTo>
                      <a:pt x="91" y="1741"/>
                      <a:pt x="89" y="1733"/>
                      <a:pt x="91" y="1734"/>
                    </a:cubicBezTo>
                    <a:cubicBezTo>
                      <a:pt x="91" y="1731"/>
                      <a:pt x="91" y="1731"/>
                      <a:pt x="90" y="1724"/>
                    </a:cubicBezTo>
                    <a:lnTo>
                      <a:pt x="88" y="1726"/>
                    </a:lnTo>
                    <a:cubicBezTo>
                      <a:pt x="85" y="1717"/>
                      <a:pt x="92" y="1725"/>
                      <a:pt x="91" y="1718"/>
                    </a:cubicBezTo>
                    <a:lnTo>
                      <a:pt x="89" y="1719"/>
                    </a:lnTo>
                    <a:cubicBezTo>
                      <a:pt x="93" y="1709"/>
                      <a:pt x="85" y="1703"/>
                      <a:pt x="87" y="1695"/>
                    </a:cubicBezTo>
                    <a:cubicBezTo>
                      <a:pt x="88" y="1699"/>
                      <a:pt x="91" y="1698"/>
                      <a:pt x="91" y="1698"/>
                    </a:cubicBezTo>
                    <a:cubicBezTo>
                      <a:pt x="89" y="1692"/>
                      <a:pt x="89" y="1682"/>
                      <a:pt x="86" y="1675"/>
                    </a:cubicBezTo>
                    <a:cubicBezTo>
                      <a:pt x="90" y="1673"/>
                      <a:pt x="91" y="1672"/>
                      <a:pt x="92" y="1666"/>
                    </a:cubicBezTo>
                    <a:cubicBezTo>
                      <a:pt x="92" y="1661"/>
                      <a:pt x="91" y="1660"/>
                      <a:pt x="89" y="1659"/>
                    </a:cubicBezTo>
                    <a:cubicBezTo>
                      <a:pt x="90" y="1654"/>
                      <a:pt x="87" y="1645"/>
                      <a:pt x="90" y="1645"/>
                    </a:cubicBezTo>
                    <a:cubicBezTo>
                      <a:pt x="88" y="1644"/>
                      <a:pt x="91" y="1641"/>
                      <a:pt x="89" y="1638"/>
                    </a:cubicBezTo>
                    <a:lnTo>
                      <a:pt x="90" y="1638"/>
                    </a:lnTo>
                    <a:lnTo>
                      <a:pt x="87" y="1638"/>
                    </a:lnTo>
                    <a:cubicBezTo>
                      <a:pt x="93" y="1630"/>
                      <a:pt x="83" y="1624"/>
                      <a:pt x="88" y="1616"/>
                    </a:cubicBezTo>
                    <a:lnTo>
                      <a:pt x="89" y="1617"/>
                    </a:lnTo>
                    <a:lnTo>
                      <a:pt x="88" y="1614"/>
                    </a:lnTo>
                    <a:cubicBezTo>
                      <a:pt x="89" y="1613"/>
                      <a:pt x="90" y="1615"/>
                      <a:pt x="91" y="1615"/>
                    </a:cubicBezTo>
                    <a:lnTo>
                      <a:pt x="91" y="1599"/>
                    </a:lnTo>
                    <a:lnTo>
                      <a:pt x="89" y="1602"/>
                    </a:lnTo>
                    <a:cubicBezTo>
                      <a:pt x="89" y="1598"/>
                      <a:pt x="86" y="1596"/>
                      <a:pt x="88" y="1592"/>
                    </a:cubicBezTo>
                    <a:cubicBezTo>
                      <a:pt x="92" y="1599"/>
                      <a:pt x="88" y="1587"/>
                      <a:pt x="91" y="1586"/>
                    </a:cubicBezTo>
                    <a:lnTo>
                      <a:pt x="92" y="1589"/>
                    </a:lnTo>
                    <a:cubicBezTo>
                      <a:pt x="92" y="1584"/>
                      <a:pt x="92" y="1584"/>
                      <a:pt x="89" y="1585"/>
                    </a:cubicBezTo>
                    <a:cubicBezTo>
                      <a:pt x="88" y="1579"/>
                      <a:pt x="94" y="1581"/>
                      <a:pt x="91" y="1575"/>
                    </a:cubicBezTo>
                    <a:lnTo>
                      <a:pt x="91" y="1579"/>
                    </a:lnTo>
                    <a:cubicBezTo>
                      <a:pt x="89" y="1580"/>
                      <a:pt x="87" y="1577"/>
                      <a:pt x="87" y="1575"/>
                    </a:cubicBezTo>
                    <a:cubicBezTo>
                      <a:pt x="87" y="1574"/>
                      <a:pt x="89" y="1572"/>
                      <a:pt x="89" y="1574"/>
                    </a:cubicBezTo>
                    <a:cubicBezTo>
                      <a:pt x="88" y="1569"/>
                      <a:pt x="89" y="1562"/>
                      <a:pt x="88" y="1560"/>
                    </a:cubicBezTo>
                    <a:cubicBezTo>
                      <a:pt x="89" y="1557"/>
                      <a:pt x="91" y="1558"/>
                      <a:pt x="92" y="1559"/>
                    </a:cubicBezTo>
                    <a:cubicBezTo>
                      <a:pt x="89" y="1549"/>
                      <a:pt x="92" y="1555"/>
                      <a:pt x="90" y="1544"/>
                    </a:cubicBezTo>
                    <a:lnTo>
                      <a:pt x="91" y="1545"/>
                    </a:lnTo>
                    <a:lnTo>
                      <a:pt x="89" y="1541"/>
                    </a:lnTo>
                    <a:lnTo>
                      <a:pt x="93" y="1536"/>
                    </a:lnTo>
                    <a:lnTo>
                      <a:pt x="91" y="1538"/>
                    </a:lnTo>
                    <a:cubicBezTo>
                      <a:pt x="91" y="1535"/>
                      <a:pt x="90" y="1532"/>
                      <a:pt x="91" y="1529"/>
                    </a:cubicBezTo>
                    <a:lnTo>
                      <a:pt x="93" y="1530"/>
                    </a:lnTo>
                    <a:cubicBezTo>
                      <a:pt x="92" y="1521"/>
                      <a:pt x="97" y="1519"/>
                      <a:pt x="94" y="1510"/>
                    </a:cubicBezTo>
                    <a:cubicBezTo>
                      <a:pt x="95" y="1510"/>
                      <a:pt x="95" y="1511"/>
                      <a:pt x="96" y="1512"/>
                    </a:cubicBezTo>
                    <a:cubicBezTo>
                      <a:pt x="93" y="1504"/>
                      <a:pt x="100" y="1506"/>
                      <a:pt x="96" y="1498"/>
                    </a:cubicBezTo>
                    <a:cubicBezTo>
                      <a:pt x="97" y="1498"/>
                      <a:pt x="98" y="1497"/>
                      <a:pt x="99" y="1498"/>
                    </a:cubicBezTo>
                    <a:lnTo>
                      <a:pt x="97" y="1494"/>
                    </a:lnTo>
                    <a:lnTo>
                      <a:pt x="100" y="1494"/>
                    </a:lnTo>
                    <a:cubicBezTo>
                      <a:pt x="99" y="1493"/>
                      <a:pt x="98" y="1492"/>
                      <a:pt x="96" y="1491"/>
                    </a:cubicBezTo>
                    <a:lnTo>
                      <a:pt x="99" y="1489"/>
                    </a:lnTo>
                    <a:lnTo>
                      <a:pt x="98" y="1487"/>
                    </a:lnTo>
                    <a:cubicBezTo>
                      <a:pt x="104" y="1483"/>
                      <a:pt x="100" y="1476"/>
                      <a:pt x="105" y="1470"/>
                    </a:cubicBezTo>
                    <a:lnTo>
                      <a:pt x="101" y="1471"/>
                    </a:lnTo>
                    <a:cubicBezTo>
                      <a:pt x="97" y="1463"/>
                      <a:pt x="98" y="1455"/>
                      <a:pt x="100" y="1446"/>
                    </a:cubicBezTo>
                    <a:cubicBezTo>
                      <a:pt x="102" y="1437"/>
                      <a:pt x="104" y="1428"/>
                      <a:pt x="102" y="1419"/>
                    </a:cubicBezTo>
                    <a:lnTo>
                      <a:pt x="105" y="1420"/>
                    </a:lnTo>
                    <a:lnTo>
                      <a:pt x="101" y="1412"/>
                    </a:lnTo>
                    <a:cubicBezTo>
                      <a:pt x="104" y="1408"/>
                      <a:pt x="104" y="1415"/>
                      <a:pt x="105" y="1413"/>
                    </a:cubicBezTo>
                    <a:cubicBezTo>
                      <a:pt x="104" y="1406"/>
                      <a:pt x="101" y="1410"/>
                      <a:pt x="100" y="1401"/>
                    </a:cubicBezTo>
                    <a:cubicBezTo>
                      <a:pt x="102" y="1396"/>
                      <a:pt x="102" y="1403"/>
                      <a:pt x="103" y="1405"/>
                    </a:cubicBezTo>
                    <a:cubicBezTo>
                      <a:pt x="102" y="1396"/>
                      <a:pt x="100" y="1384"/>
                      <a:pt x="101" y="1378"/>
                    </a:cubicBezTo>
                    <a:cubicBezTo>
                      <a:pt x="101" y="1378"/>
                      <a:pt x="100" y="1377"/>
                      <a:pt x="100" y="1378"/>
                    </a:cubicBezTo>
                    <a:cubicBezTo>
                      <a:pt x="98" y="1372"/>
                      <a:pt x="99" y="1365"/>
                      <a:pt x="99" y="1358"/>
                    </a:cubicBezTo>
                    <a:cubicBezTo>
                      <a:pt x="100" y="1359"/>
                      <a:pt x="101" y="1360"/>
                      <a:pt x="101" y="1362"/>
                    </a:cubicBezTo>
                    <a:cubicBezTo>
                      <a:pt x="101" y="1359"/>
                      <a:pt x="102" y="1356"/>
                      <a:pt x="100" y="1354"/>
                    </a:cubicBezTo>
                    <a:lnTo>
                      <a:pt x="103" y="1357"/>
                    </a:lnTo>
                    <a:cubicBezTo>
                      <a:pt x="104" y="1352"/>
                      <a:pt x="101" y="1343"/>
                      <a:pt x="104" y="1342"/>
                    </a:cubicBezTo>
                    <a:cubicBezTo>
                      <a:pt x="103" y="1342"/>
                      <a:pt x="100" y="1342"/>
                      <a:pt x="100" y="1338"/>
                    </a:cubicBezTo>
                    <a:cubicBezTo>
                      <a:pt x="105" y="1336"/>
                      <a:pt x="98" y="1327"/>
                      <a:pt x="100" y="1320"/>
                    </a:cubicBezTo>
                    <a:cubicBezTo>
                      <a:pt x="101" y="1321"/>
                      <a:pt x="102" y="1326"/>
                      <a:pt x="102" y="1324"/>
                    </a:cubicBezTo>
                    <a:cubicBezTo>
                      <a:pt x="103" y="1321"/>
                      <a:pt x="100" y="1318"/>
                      <a:pt x="99" y="1315"/>
                    </a:cubicBezTo>
                    <a:lnTo>
                      <a:pt x="101" y="1316"/>
                    </a:lnTo>
                    <a:lnTo>
                      <a:pt x="97" y="1301"/>
                    </a:lnTo>
                    <a:cubicBezTo>
                      <a:pt x="102" y="1298"/>
                      <a:pt x="96" y="1287"/>
                      <a:pt x="100" y="1287"/>
                    </a:cubicBezTo>
                    <a:cubicBezTo>
                      <a:pt x="99" y="1282"/>
                      <a:pt x="98" y="1292"/>
                      <a:pt x="97" y="1285"/>
                    </a:cubicBezTo>
                    <a:cubicBezTo>
                      <a:pt x="99" y="1283"/>
                      <a:pt x="95" y="1279"/>
                      <a:pt x="99" y="1279"/>
                    </a:cubicBezTo>
                    <a:lnTo>
                      <a:pt x="99" y="1280"/>
                    </a:lnTo>
                    <a:lnTo>
                      <a:pt x="98" y="1275"/>
                    </a:lnTo>
                    <a:lnTo>
                      <a:pt x="102" y="1278"/>
                    </a:lnTo>
                    <a:cubicBezTo>
                      <a:pt x="101" y="1274"/>
                      <a:pt x="98" y="1271"/>
                      <a:pt x="95" y="1271"/>
                    </a:cubicBezTo>
                    <a:cubicBezTo>
                      <a:pt x="97" y="1267"/>
                      <a:pt x="95" y="1261"/>
                      <a:pt x="98" y="1259"/>
                    </a:cubicBezTo>
                    <a:lnTo>
                      <a:pt x="99" y="1261"/>
                    </a:lnTo>
                    <a:cubicBezTo>
                      <a:pt x="97" y="1250"/>
                      <a:pt x="106" y="1242"/>
                      <a:pt x="100" y="1234"/>
                    </a:cubicBezTo>
                    <a:cubicBezTo>
                      <a:pt x="101" y="1233"/>
                      <a:pt x="101" y="1233"/>
                      <a:pt x="101" y="1234"/>
                    </a:cubicBezTo>
                    <a:lnTo>
                      <a:pt x="101" y="1227"/>
                    </a:lnTo>
                    <a:lnTo>
                      <a:pt x="104" y="1229"/>
                    </a:lnTo>
                    <a:lnTo>
                      <a:pt x="100" y="1218"/>
                    </a:lnTo>
                    <a:lnTo>
                      <a:pt x="101" y="1218"/>
                    </a:lnTo>
                    <a:cubicBezTo>
                      <a:pt x="101" y="1210"/>
                      <a:pt x="100" y="1199"/>
                      <a:pt x="99" y="1189"/>
                    </a:cubicBezTo>
                    <a:lnTo>
                      <a:pt x="100" y="1191"/>
                    </a:lnTo>
                    <a:cubicBezTo>
                      <a:pt x="97" y="1180"/>
                      <a:pt x="100" y="1180"/>
                      <a:pt x="98" y="1173"/>
                    </a:cubicBezTo>
                    <a:cubicBezTo>
                      <a:pt x="99" y="1173"/>
                      <a:pt x="99" y="1173"/>
                      <a:pt x="99" y="1174"/>
                    </a:cubicBezTo>
                    <a:lnTo>
                      <a:pt x="99" y="1167"/>
                    </a:lnTo>
                    <a:lnTo>
                      <a:pt x="100" y="1168"/>
                    </a:lnTo>
                    <a:cubicBezTo>
                      <a:pt x="97" y="1163"/>
                      <a:pt x="104" y="1153"/>
                      <a:pt x="101" y="1157"/>
                    </a:cubicBezTo>
                    <a:cubicBezTo>
                      <a:pt x="99" y="1154"/>
                      <a:pt x="97" y="1149"/>
                      <a:pt x="95" y="1148"/>
                    </a:cubicBezTo>
                    <a:cubicBezTo>
                      <a:pt x="95" y="1141"/>
                      <a:pt x="97" y="1146"/>
                      <a:pt x="98" y="1142"/>
                    </a:cubicBezTo>
                    <a:cubicBezTo>
                      <a:pt x="98" y="1136"/>
                      <a:pt x="95" y="1135"/>
                      <a:pt x="96" y="1128"/>
                    </a:cubicBezTo>
                    <a:lnTo>
                      <a:pt x="98" y="1128"/>
                    </a:lnTo>
                    <a:cubicBezTo>
                      <a:pt x="97" y="1124"/>
                      <a:pt x="96" y="1122"/>
                      <a:pt x="96" y="1118"/>
                    </a:cubicBezTo>
                    <a:lnTo>
                      <a:pt x="96" y="1119"/>
                    </a:lnTo>
                    <a:cubicBezTo>
                      <a:pt x="93" y="1111"/>
                      <a:pt x="100" y="1109"/>
                      <a:pt x="93" y="1103"/>
                    </a:cubicBezTo>
                    <a:cubicBezTo>
                      <a:pt x="94" y="1100"/>
                      <a:pt x="93" y="1094"/>
                      <a:pt x="96" y="1094"/>
                    </a:cubicBezTo>
                    <a:cubicBezTo>
                      <a:pt x="94" y="1084"/>
                      <a:pt x="92" y="1077"/>
                      <a:pt x="90" y="1067"/>
                    </a:cubicBezTo>
                    <a:cubicBezTo>
                      <a:pt x="95" y="1065"/>
                      <a:pt x="90" y="1065"/>
                      <a:pt x="92" y="1059"/>
                    </a:cubicBezTo>
                    <a:lnTo>
                      <a:pt x="90" y="1060"/>
                    </a:lnTo>
                    <a:cubicBezTo>
                      <a:pt x="89" y="1046"/>
                      <a:pt x="94" y="1030"/>
                      <a:pt x="92" y="1015"/>
                    </a:cubicBezTo>
                    <a:lnTo>
                      <a:pt x="95" y="1014"/>
                    </a:lnTo>
                    <a:lnTo>
                      <a:pt x="92" y="1011"/>
                    </a:lnTo>
                    <a:cubicBezTo>
                      <a:pt x="92" y="995"/>
                      <a:pt x="92" y="974"/>
                      <a:pt x="92" y="961"/>
                    </a:cubicBezTo>
                    <a:cubicBezTo>
                      <a:pt x="90" y="957"/>
                      <a:pt x="86" y="951"/>
                      <a:pt x="87" y="944"/>
                    </a:cubicBezTo>
                    <a:lnTo>
                      <a:pt x="87" y="945"/>
                    </a:lnTo>
                    <a:cubicBezTo>
                      <a:pt x="85" y="933"/>
                      <a:pt x="83" y="921"/>
                      <a:pt x="84" y="908"/>
                    </a:cubicBezTo>
                    <a:cubicBezTo>
                      <a:pt x="85" y="909"/>
                      <a:pt x="86" y="907"/>
                      <a:pt x="87" y="909"/>
                    </a:cubicBezTo>
                    <a:cubicBezTo>
                      <a:pt x="84" y="906"/>
                      <a:pt x="86" y="901"/>
                      <a:pt x="86" y="899"/>
                    </a:cubicBezTo>
                    <a:lnTo>
                      <a:pt x="84" y="902"/>
                    </a:lnTo>
                    <a:cubicBezTo>
                      <a:pt x="82" y="898"/>
                      <a:pt x="84" y="893"/>
                      <a:pt x="86" y="891"/>
                    </a:cubicBezTo>
                    <a:lnTo>
                      <a:pt x="83" y="885"/>
                    </a:lnTo>
                    <a:cubicBezTo>
                      <a:pt x="83" y="885"/>
                      <a:pt x="83" y="884"/>
                      <a:pt x="84" y="884"/>
                    </a:cubicBezTo>
                    <a:lnTo>
                      <a:pt x="82" y="883"/>
                    </a:lnTo>
                    <a:lnTo>
                      <a:pt x="86" y="880"/>
                    </a:lnTo>
                    <a:cubicBezTo>
                      <a:pt x="85" y="879"/>
                      <a:pt x="84" y="871"/>
                      <a:pt x="80" y="869"/>
                    </a:cubicBezTo>
                    <a:cubicBezTo>
                      <a:pt x="81" y="868"/>
                      <a:pt x="82" y="863"/>
                      <a:pt x="83" y="867"/>
                    </a:cubicBezTo>
                    <a:lnTo>
                      <a:pt x="83" y="846"/>
                    </a:lnTo>
                    <a:lnTo>
                      <a:pt x="82" y="850"/>
                    </a:lnTo>
                    <a:cubicBezTo>
                      <a:pt x="79" y="850"/>
                      <a:pt x="77" y="844"/>
                      <a:pt x="78" y="841"/>
                    </a:cubicBezTo>
                    <a:cubicBezTo>
                      <a:pt x="81" y="845"/>
                      <a:pt x="82" y="841"/>
                      <a:pt x="84" y="839"/>
                    </a:cubicBezTo>
                    <a:cubicBezTo>
                      <a:pt x="82" y="836"/>
                      <a:pt x="82" y="841"/>
                      <a:pt x="80" y="840"/>
                    </a:cubicBezTo>
                    <a:cubicBezTo>
                      <a:pt x="78" y="836"/>
                      <a:pt x="77" y="829"/>
                      <a:pt x="78" y="827"/>
                    </a:cubicBezTo>
                    <a:lnTo>
                      <a:pt x="79" y="829"/>
                    </a:lnTo>
                    <a:cubicBezTo>
                      <a:pt x="78" y="824"/>
                      <a:pt x="83" y="822"/>
                      <a:pt x="82" y="817"/>
                    </a:cubicBezTo>
                    <a:cubicBezTo>
                      <a:pt x="80" y="813"/>
                      <a:pt x="82" y="810"/>
                      <a:pt x="77" y="811"/>
                    </a:cubicBezTo>
                    <a:cubicBezTo>
                      <a:pt x="76" y="805"/>
                      <a:pt x="80" y="808"/>
                      <a:pt x="81" y="806"/>
                    </a:cubicBezTo>
                    <a:cubicBezTo>
                      <a:pt x="78" y="803"/>
                      <a:pt x="79" y="795"/>
                      <a:pt x="82" y="793"/>
                    </a:cubicBezTo>
                    <a:cubicBezTo>
                      <a:pt x="75" y="790"/>
                      <a:pt x="84" y="777"/>
                      <a:pt x="78" y="776"/>
                    </a:cubicBezTo>
                    <a:lnTo>
                      <a:pt x="81" y="770"/>
                    </a:lnTo>
                    <a:cubicBezTo>
                      <a:pt x="79" y="770"/>
                      <a:pt x="76" y="769"/>
                      <a:pt x="75" y="765"/>
                    </a:cubicBezTo>
                    <a:cubicBezTo>
                      <a:pt x="77" y="761"/>
                      <a:pt x="79" y="762"/>
                      <a:pt x="81" y="761"/>
                    </a:cubicBezTo>
                    <a:lnTo>
                      <a:pt x="75" y="759"/>
                    </a:lnTo>
                    <a:cubicBezTo>
                      <a:pt x="81" y="736"/>
                      <a:pt x="76" y="707"/>
                      <a:pt x="82" y="683"/>
                    </a:cubicBezTo>
                    <a:cubicBezTo>
                      <a:pt x="80" y="672"/>
                      <a:pt x="78" y="658"/>
                      <a:pt x="79" y="646"/>
                    </a:cubicBezTo>
                    <a:lnTo>
                      <a:pt x="80" y="647"/>
                    </a:lnTo>
                    <a:lnTo>
                      <a:pt x="82" y="635"/>
                    </a:lnTo>
                    <a:lnTo>
                      <a:pt x="79" y="644"/>
                    </a:lnTo>
                    <a:cubicBezTo>
                      <a:pt x="79" y="641"/>
                      <a:pt x="78" y="639"/>
                      <a:pt x="78" y="636"/>
                    </a:cubicBezTo>
                    <a:cubicBezTo>
                      <a:pt x="81" y="622"/>
                      <a:pt x="85" y="604"/>
                      <a:pt x="82" y="586"/>
                    </a:cubicBezTo>
                    <a:cubicBezTo>
                      <a:pt x="76" y="575"/>
                      <a:pt x="89" y="579"/>
                      <a:pt x="84" y="568"/>
                    </a:cubicBezTo>
                    <a:cubicBezTo>
                      <a:pt x="85" y="569"/>
                      <a:pt x="86" y="570"/>
                      <a:pt x="87" y="571"/>
                    </a:cubicBezTo>
                    <a:cubicBezTo>
                      <a:pt x="85" y="559"/>
                      <a:pt x="84" y="553"/>
                      <a:pt x="81" y="541"/>
                    </a:cubicBezTo>
                    <a:cubicBezTo>
                      <a:pt x="87" y="543"/>
                      <a:pt x="81" y="534"/>
                      <a:pt x="85" y="535"/>
                    </a:cubicBezTo>
                    <a:lnTo>
                      <a:pt x="82" y="534"/>
                    </a:lnTo>
                    <a:cubicBezTo>
                      <a:pt x="84" y="531"/>
                      <a:pt x="85" y="525"/>
                      <a:pt x="87" y="526"/>
                    </a:cubicBezTo>
                    <a:lnTo>
                      <a:pt x="84" y="521"/>
                    </a:lnTo>
                    <a:lnTo>
                      <a:pt x="86" y="521"/>
                    </a:lnTo>
                    <a:cubicBezTo>
                      <a:pt x="87" y="514"/>
                      <a:pt x="86" y="499"/>
                      <a:pt x="92" y="496"/>
                    </a:cubicBezTo>
                    <a:cubicBezTo>
                      <a:pt x="88" y="479"/>
                      <a:pt x="92" y="453"/>
                      <a:pt x="94" y="432"/>
                    </a:cubicBezTo>
                    <a:cubicBezTo>
                      <a:pt x="92" y="429"/>
                      <a:pt x="92" y="423"/>
                      <a:pt x="92" y="418"/>
                    </a:cubicBezTo>
                    <a:lnTo>
                      <a:pt x="96" y="413"/>
                    </a:lnTo>
                    <a:cubicBezTo>
                      <a:pt x="95" y="408"/>
                      <a:pt x="92" y="403"/>
                      <a:pt x="94" y="398"/>
                    </a:cubicBezTo>
                    <a:cubicBezTo>
                      <a:pt x="94" y="398"/>
                      <a:pt x="95" y="399"/>
                      <a:pt x="95" y="399"/>
                    </a:cubicBezTo>
                    <a:cubicBezTo>
                      <a:pt x="95" y="394"/>
                      <a:pt x="97" y="389"/>
                      <a:pt x="94" y="384"/>
                    </a:cubicBezTo>
                    <a:cubicBezTo>
                      <a:pt x="95" y="379"/>
                      <a:pt x="97" y="374"/>
                      <a:pt x="100" y="376"/>
                    </a:cubicBezTo>
                    <a:cubicBezTo>
                      <a:pt x="94" y="375"/>
                      <a:pt x="101" y="364"/>
                      <a:pt x="101" y="364"/>
                    </a:cubicBezTo>
                    <a:cubicBezTo>
                      <a:pt x="101" y="364"/>
                      <a:pt x="110" y="295"/>
                      <a:pt x="116" y="217"/>
                    </a:cubicBezTo>
                    <a:cubicBezTo>
                      <a:pt x="122" y="139"/>
                      <a:pt x="125" y="52"/>
                      <a:pt x="114" y="17"/>
                    </a:cubicBezTo>
                    <a:cubicBezTo>
                      <a:pt x="111" y="15"/>
                      <a:pt x="110" y="8"/>
                      <a:pt x="107" y="10"/>
                    </a:cubicBezTo>
                    <a:cubicBezTo>
                      <a:pt x="106" y="5"/>
                      <a:pt x="111" y="3"/>
                      <a:pt x="109" y="2"/>
                    </a:cubicBezTo>
                    <a:cubicBezTo>
                      <a:pt x="106" y="9"/>
                      <a:pt x="102" y="0"/>
                      <a:pt x="98" y="6"/>
                    </a:cubicBezTo>
                    <a:lnTo>
                      <a:pt x="98" y="2"/>
                    </a:lnTo>
                    <a:cubicBezTo>
                      <a:pt x="96" y="1"/>
                      <a:pt x="99" y="7"/>
                      <a:pt x="96" y="6"/>
                    </a:cubicBezTo>
                    <a:lnTo>
                      <a:pt x="101" y="8"/>
                    </a:lnTo>
                    <a:cubicBezTo>
                      <a:pt x="100" y="11"/>
                      <a:pt x="99" y="13"/>
                      <a:pt x="97" y="14"/>
                    </a:cubicBezTo>
                    <a:cubicBezTo>
                      <a:pt x="98" y="17"/>
                      <a:pt x="105" y="20"/>
                      <a:pt x="101" y="27"/>
                    </a:cubicBezTo>
                    <a:lnTo>
                      <a:pt x="101" y="25"/>
                    </a:lnTo>
                    <a:cubicBezTo>
                      <a:pt x="101" y="31"/>
                      <a:pt x="98" y="28"/>
                      <a:pt x="97" y="30"/>
                    </a:cubicBezTo>
                    <a:lnTo>
                      <a:pt x="97" y="28"/>
                    </a:lnTo>
                    <a:lnTo>
                      <a:pt x="94" y="33"/>
                    </a:lnTo>
                    <a:cubicBezTo>
                      <a:pt x="96" y="29"/>
                      <a:pt x="93" y="23"/>
                      <a:pt x="93" y="26"/>
                    </a:cubicBezTo>
                    <a:cubicBezTo>
                      <a:pt x="91" y="33"/>
                      <a:pt x="94" y="24"/>
                      <a:pt x="94" y="30"/>
                    </a:cubicBezTo>
                    <a:cubicBezTo>
                      <a:pt x="94" y="33"/>
                      <a:pt x="91" y="32"/>
                      <a:pt x="90" y="32"/>
                    </a:cubicBezTo>
                    <a:lnTo>
                      <a:pt x="90" y="38"/>
                    </a:lnTo>
                    <a:cubicBezTo>
                      <a:pt x="87" y="37"/>
                      <a:pt x="90" y="34"/>
                      <a:pt x="87" y="36"/>
                    </a:cubicBezTo>
                    <a:lnTo>
                      <a:pt x="89" y="44"/>
                    </a:lnTo>
                    <a:cubicBezTo>
                      <a:pt x="83" y="45"/>
                      <a:pt x="91" y="53"/>
                      <a:pt x="85" y="56"/>
                    </a:cubicBezTo>
                    <a:cubicBezTo>
                      <a:pt x="85" y="50"/>
                      <a:pt x="83" y="56"/>
                      <a:pt x="82" y="55"/>
                    </a:cubicBezTo>
                    <a:lnTo>
                      <a:pt x="81" y="69"/>
                    </a:lnTo>
                    <a:cubicBezTo>
                      <a:pt x="80" y="70"/>
                      <a:pt x="79" y="65"/>
                      <a:pt x="79" y="67"/>
                    </a:cubicBezTo>
                    <a:cubicBezTo>
                      <a:pt x="78" y="70"/>
                      <a:pt x="80" y="71"/>
                      <a:pt x="80" y="73"/>
                    </a:cubicBezTo>
                    <a:cubicBezTo>
                      <a:pt x="79" y="74"/>
                      <a:pt x="79" y="83"/>
                      <a:pt x="76" y="82"/>
                    </a:cubicBezTo>
                    <a:cubicBezTo>
                      <a:pt x="72" y="91"/>
                      <a:pt x="80" y="87"/>
                      <a:pt x="77" y="95"/>
                    </a:cubicBezTo>
                    <a:cubicBezTo>
                      <a:pt x="75" y="96"/>
                      <a:pt x="77" y="88"/>
                      <a:pt x="74" y="92"/>
                    </a:cubicBezTo>
                    <a:lnTo>
                      <a:pt x="75" y="101"/>
                    </a:lnTo>
                    <a:cubicBezTo>
                      <a:pt x="73" y="100"/>
                      <a:pt x="71" y="99"/>
                      <a:pt x="72" y="95"/>
                    </a:cubicBezTo>
                    <a:cubicBezTo>
                      <a:pt x="66" y="119"/>
                      <a:pt x="53" y="131"/>
                      <a:pt x="54" y="154"/>
                    </a:cubicBezTo>
                    <a:cubicBezTo>
                      <a:pt x="51" y="157"/>
                      <a:pt x="53" y="151"/>
                      <a:pt x="51" y="149"/>
                    </a:cubicBezTo>
                    <a:cubicBezTo>
                      <a:pt x="53" y="165"/>
                      <a:pt x="43" y="171"/>
                      <a:pt x="42" y="185"/>
                    </a:cubicBezTo>
                    <a:lnTo>
                      <a:pt x="44" y="185"/>
                    </a:lnTo>
                    <a:cubicBezTo>
                      <a:pt x="36" y="203"/>
                      <a:pt x="38" y="227"/>
                      <a:pt x="33" y="248"/>
                    </a:cubicBezTo>
                    <a:lnTo>
                      <a:pt x="35" y="246"/>
                    </a:lnTo>
                    <a:cubicBezTo>
                      <a:pt x="37" y="249"/>
                      <a:pt x="37" y="254"/>
                      <a:pt x="38" y="257"/>
                    </a:cubicBezTo>
                    <a:cubicBezTo>
                      <a:pt x="36" y="258"/>
                      <a:pt x="33" y="254"/>
                      <a:pt x="33" y="261"/>
                    </a:cubicBezTo>
                    <a:cubicBezTo>
                      <a:pt x="34" y="259"/>
                      <a:pt x="35" y="257"/>
                      <a:pt x="36" y="258"/>
                    </a:cubicBezTo>
                    <a:cubicBezTo>
                      <a:pt x="29" y="276"/>
                      <a:pt x="27" y="315"/>
                      <a:pt x="22" y="345"/>
                    </a:cubicBezTo>
                    <a:cubicBezTo>
                      <a:pt x="21" y="386"/>
                      <a:pt x="13" y="431"/>
                      <a:pt x="12" y="471"/>
                    </a:cubicBezTo>
                    <a:cubicBezTo>
                      <a:pt x="12" y="465"/>
                      <a:pt x="17" y="468"/>
                      <a:pt x="16" y="472"/>
                    </a:cubicBezTo>
                    <a:cubicBezTo>
                      <a:pt x="5" y="485"/>
                      <a:pt x="16" y="495"/>
                      <a:pt x="9" y="507"/>
                    </a:cubicBezTo>
                    <a:cubicBezTo>
                      <a:pt x="10" y="531"/>
                      <a:pt x="1" y="552"/>
                      <a:pt x="7" y="574"/>
                    </a:cubicBezTo>
                    <a:lnTo>
                      <a:pt x="4" y="574"/>
                    </a:lnTo>
                    <a:cubicBezTo>
                      <a:pt x="2" y="578"/>
                      <a:pt x="4" y="579"/>
                      <a:pt x="4" y="582"/>
                    </a:cubicBezTo>
                    <a:lnTo>
                      <a:pt x="4" y="582"/>
                    </a:lnTo>
                    <a:cubicBezTo>
                      <a:pt x="2" y="590"/>
                      <a:pt x="5" y="600"/>
                      <a:pt x="3" y="605"/>
                    </a:cubicBezTo>
                    <a:lnTo>
                      <a:pt x="6" y="605"/>
                    </a:lnTo>
                    <a:cubicBezTo>
                      <a:pt x="6" y="610"/>
                      <a:pt x="4" y="608"/>
                      <a:pt x="5" y="613"/>
                    </a:cubicBezTo>
                    <a:lnTo>
                      <a:pt x="4" y="612"/>
                    </a:lnTo>
                    <a:lnTo>
                      <a:pt x="6" y="618"/>
                    </a:lnTo>
                    <a:cubicBezTo>
                      <a:pt x="1" y="618"/>
                      <a:pt x="5" y="632"/>
                      <a:pt x="3" y="636"/>
                    </a:cubicBezTo>
                    <a:cubicBezTo>
                      <a:pt x="3" y="642"/>
                      <a:pt x="5" y="654"/>
                      <a:pt x="4" y="664"/>
                    </a:cubicBezTo>
                    <a:cubicBezTo>
                      <a:pt x="1" y="666"/>
                      <a:pt x="1" y="678"/>
                      <a:pt x="0" y="685"/>
                    </a:cubicBezTo>
                    <a:cubicBezTo>
                      <a:pt x="0" y="700"/>
                      <a:pt x="1" y="721"/>
                      <a:pt x="0" y="740"/>
                    </a:cubicBezTo>
                    <a:lnTo>
                      <a:pt x="4" y="739"/>
                    </a:lnTo>
                    <a:lnTo>
                      <a:pt x="4" y="744"/>
                    </a:lnTo>
                    <a:cubicBezTo>
                      <a:pt x="3" y="744"/>
                      <a:pt x="3" y="745"/>
                      <a:pt x="3" y="744"/>
                    </a:cubicBezTo>
                    <a:cubicBezTo>
                      <a:pt x="0" y="748"/>
                      <a:pt x="4" y="755"/>
                      <a:pt x="2" y="759"/>
                    </a:cubicBezTo>
                    <a:cubicBezTo>
                      <a:pt x="5" y="757"/>
                      <a:pt x="2" y="756"/>
                      <a:pt x="2" y="753"/>
                    </a:cubicBezTo>
                    <a:cubicBezTo>
                      <a:pt x="4" y="749"/>
                      <a:pt x="7" y="753"/>
                      <a:pt x="6" y="758"/>
                    </a:cubicBezTo>
                    <a:lnTo>
                      <a:pt x="5" y="758"/>
                    </a:lnTo>
                    <a:lnTo>
                      <a:pt x="7" y="762"/>
                    </a:lnTo>
                    <a:cubicBezTo>
                      <a:pt x="4" y="762"/>
                      <a:pt x="3" y="766"/>
                      <a:pt x="0" y="766"/>
                    </a:cubicBezTo>
                    <a:cubicBezTo>
                      <a:pt x="1" y="782"/>
                      <a:pt x="6" y="793"/>
                      <a:pt x="6" y="809"/>
                    </a:cubicBezTo>
                    <a:cubicBezTo>
                      <a:pt x="2" y="807"/>
                      <a:pt x="7" y="821"/>
                      <a:pt x="1" y="818"/>
                    </a:cubicBezTo>
                    <a:cubicBezTo>
                      <a:pt x="4" y="827"/>
                      <a:pt x="6" y="816"/>
                      <a:pt x="10" y="820"/>
                    </a:cubicBezTo>
                    <a:cubicBezTo>
                      <a:pt x="10" y="823"/>
                      <a:pt x="11" y="826"/>
                      <a:pt x="9" y="826"/>
                    </a:cubicBezTo>
                    <a:cubicBezTo>
                      <a:pt x="8" y="825"/>
                      <a:pt x="6" y="829"/>
                      <a:pt x="6" y="827"/>
                    </a:cubicBezTo>
                    <a:lnTo>
                      <a:pt x="6" y="833"/>
                    </a:lnTo>
                    <a:cubicBezTo>
                      <a:pt x="6" y="834"/>
                      <a:pt x="5" y="832"/>
                      <a:pt x="5" y="832"/>
                    </a:cubicBezTo>
                    <a:cubicBezTo>
                      <a:pt x="8" y="845"/>
                      <a:pt x="2" y="855"/>
                      <a:pt x="6" y="867"/>
                    </a:cubicBezTo>
                    <a:cubicBezTo>
                      <a:pt x="8" y="868"/>
                      <a:pt x="6" y="862"/>
                      <a:pt x="8" y="863"/>
                    </a:cubicBezTo>
                    <a:cubicBezTo>
                      <a:pt x="13" y="875"/>
                      <a:pt x="5" y="874"/>
                      <a:pt x="8" y="885"/>
                    </a:cubicBezTo>
                    <a:lnTo>
                      <a:pt x="6" y="883"/>
                    </a:lnTo>
                    <a:cubicBezTo>
                      <a:pt x="8" y="886"/>
                      <a:pt x="10" y="888"/>
                      <a:pt x="8" y="894"/>
                    </a:cubicBezTo>
                    <a:cubicBezTo>
                      <a:pt x="5" y="895"/>
                      <a:pt x="5" y="889"/>
                      <a:pt x="4" y="886"/>
                    </a:cubicBezTo>
                    <a:cubicBezTo>
                      <a:pt x="4" y="890"/>
                      <a:pt x="5" y="901"/>
                      <a:pt x="8" y="897"/>
                    </a:cubicBezTo>
                    <a:cubicBezTo>
                      <a:pt x="9" y="902"/>
                      <a:pt x="6" y="904"/>
                      <a:pt x="6" y="907"/>
                    </a:cubicBezTo>
                    <a:cubicBezTo>
                      <a:pt x="7" y="907"/>
                      <a:pt x="8" y="902"/>
                      <a:pt x="9" y="905"/>
                    </a:cubicBezTo>
                    <a:cubicBezTo>
                      <a:pt x="8" y="912"/>
                      <a:pt x="8" y="922"/>
                      <a:pt x="9" y="930"/>
                    </a:cubicBezTo>
                    <a:cubicBezTo>
                      <a:pt x="8" y="930"/>
                      <a:pt x="7" y="931"/>
                      <a:pt x="6" y="930"/>
                    </a:cubicBezTo>
                    <a:cubicBezTo>
                      <a:pt x="11" y="936"/>
                      <a:pt x="4" y="936"/>
                      <a:pt x="5" y="945"/>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6" name="Freeform 2560"/>
              <p:cNvSpPr>
                <a:spLocks/>
              </p:cNvSpPr>
              <p:nvPr/>
            </p:nvSpPr>
            <p:spPr bwMode="auto">
              <a:xfrm>
                <a:off x="3536951" y="4378326"/>
                <a:ext cx="0" cy="1588"/>
              </a:xfrm>
              <a:custGeom>
                <a:avLst/>
                <a:gdLst>
                  <a:gd name="T0" fmla="*/ 2 w 2"/>
                  <a:gd name="T1" fmla="*/ 5 h 5"/>
                  <a:gd name="T2" fmla="*/ 2 w 2"/>
                  <a:gd name="T3" fmla="*/ 5 h 5"/>
                  <a:gd name="T4" fmla="*/ 2 w 2"/>
                  <a:gd name="T5" fmla="*/ 2 h 5"/>
                  <a:gd name="T6" fmla="*/ 0 w 2"/>
                  <a:gd name="T7" fmla="*/ 0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5"/>
                    </a:lnTo>
                    <a:lnTo>
                      <a:pt x="2" y="2"/>
                    </a:lnTo>
                    <a:cubicBezTo>
                      <a:pt x="1" y="2"/>
                      <a:pt x="1" y="2"/>
                      <a:pt x="0" y="0"/>
                    </a:cubicBezTo>
                    <a:lnTo>
                      <a:pt x="2" y="5"/>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7" name="Freeform 2561"/>
              <p:cNvSpPr>
                <a:spLocks/>
              </p:cNvSpPr>
              <p:nvPr/>
            </p:nvSpPr>
            <p:spPr bwMode="auto">
              <a:xfrm>
                <a:off x="3535363" y="4330701"/>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1" y="0"/>
                      <a:pt x="0" y="0"/>
                    </a:cubicBezTo>
                    <a:cubicBezTo>
                      <a:pt x="0" y="1"/>
                      <a:pt x="1" y="1"/>
                      <a:pt x="1"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8" name="Freeform 2562"/>
              <p:cNvSpPr>
                <a:spLocks/>
              </p:cNvSpPr>
              <p:nvPr/>
            </p:nvSpPr>
            <p:spPr bwMode="auto">
              <a:xfrm>
                <a:off x="3532188" y="4319588"/>
                <a:ext cx="1588" cy="1588"/>
              </a:xfrm>
              <a:custGeom>
                <a:avLst/>
                <a:gdLst>
                  <a:gd name="T0" fmla="*/ 0 w 3"/>
                  <a:gd name="T1" fmla="*/ 1 h 4"/>
                  <a:gd name="T2" fmla="*/ 0 w 3"/>
                  <a:gd name="T3" fmla="*/ 1 h 4"/>
                  <a:gd name="T4" fmla="*/ 3 w 3"/>
                  <a:gd name="T5" fmla="*/ 0 h 4"/>
                  <a:gd name="T6" fmla="*/ 0 w 3"/>
                  <a:gd name="T7" fmla="*/ 1 h 4"/>
                </a:gdLst>
                <a:ahLst/>
                <a:cxnLst>
                  <a:cxn ang="0">
                    <a:pos x="T0" y="T1"/>
                  </a:cxn>
                  <a:cxn ang="0">
                    <a:pos x="T2" y="T3"/>
                  </a:cxn>
                  <a:cxn ang="0">
                    <a:pos x="T4" y="T5"/>
                  </a:cxn>
                  <a:cxn ang="0">
                    <a:pos x="T6" y="T7"/>
                  </a:cxn>
                </a:cxnLst>
                <a:rect l="0" t="0" r="r" b="b"/>
                <a:pathLst>
                  <a:path w="3" h="4">
                    <a:moveTo>
                      <a:pt x="0" y="1"/>
                    </a:moveTo>
                    <a:lnTo>
                      <a:pt x="0" y="1"/>
                    </a:lnTo>
                    <a:cubicBezTo>
                      <a:pt x="1" y="4"/>
                      <a:pt x="2" y="2"/>
                      <a:pt x="3" y="0"/>
                    </a:cubicBezTo>
                    <a:cubicBezTo>
                      <a:pt x="2" y="0"/>
                      <a:pt x="1" y="0"/>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9" name="Freeform 2563"/>
              <p:cNvSpPr>
                <a:spLocks/>
              </p:cNvSpPr>
              <p:nvPr/>
            </p:nvSpPr>
            <p:spPr bwMode="auto">
              <a:xfrm>
                <a:off x="3538538" y="4406901"/>
                <a:ext cx="1588"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0" y="0"/>
                      <a:pt x="0" y="0"/>
                    </a:cubicBezTo>
                    <a:cubicBezTo>
                      <a:pt x="0" y="1"/>
                      <a:pt x="1" y="1"/>
                      <a:pt x="1"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0" name="Freeform 2564"/>
              <p:cNvSpPr>
                <a:spLocks/>
              </p:cNvSpPr>
              <p:nvPr/>
            </p:nvSpPr>
            <p:spPr bwMode="auto">
              <a:xfrm>
                <a:off x="3540126" y="448468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1" y="1"/>
                      <a:pt x="1" y="1"/>
                      <a:pt x="1" y="0"/>
                    </a:cubicBezTo>
                    <a:cubicBezTo>
                      <a:pt x="1" y="0"/>
                      <a:pt x="0" y="1"/>
                      <a:pt x="0"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1" name="Freeform 2565"/>
              <p:cNvSpPr>
                <a:spLocks/>
              </p:cNvSpPr>
              <p:nvPr/>
            </p:nvSpPr>
            <p:spPr bwMode="auto">
              <a:xfrm>
                <a:off x="3540126" y="4479926"/>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2"/>
                      <a:pt x="0" y="1"/>
                      <a:pt x="0" y="0"/>
                    </a:cubicBezTo>
                    <a:cubicBezTo>
                      <a:pt x="0" y="1"/>
                      <a:pt x="0" y="2"/>
                      <a:pt x="0" y="2"/>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2" name="Freeform 2566"/>
              <p:cNvSpPr>
                <a:spLocks/>
              </p:cNvSpPr>
              <p:nvPr/>
            </p:nvSpPr>
            <p:spPr bwMode="auto">
              <a:xfrm>
                <a:off x="3538538" y="4387851"/>
                <a:ext cx="0" cy="158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1" y="2"/>
                      <a:pt x="0" y="1"/>
                      <a:pt x="0" y="0"/>
                    </a:cubicBezTo>
                    <a:cubicBezTo>
                      <a:pt x="0" y="1"/>
                      <a:pt x="0" y="2"/>
                      <a:pt x="1" y="3"/>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3" name="Freeform 2567"/>
              <p:cNvSpPr>
                <a:spLocks/>
              </p:cNvSpPr>
              <p:nvPr/>
            </p:nvSpPr>
            <p:spPr bwMode="auto">
              <a:xfrm>
                <a:off x="3540126" y="4476751"/>
                <a:ext cx="0" cy="1588"/>
              </a:xfrm>
              <a:custGeom>
                <a:avLst/>
                <a:gdLst>
                  <a:gd name="T0" fmla="*/ 4 h 4"/>
                  <a:gd name="T1" fmla="*/ 4 h 4"/>
                  <a:gd name="T2" fmla="*/ 0 h 4"/>
                  <a:gd name="T3" fmla="*/ 0 h 4"/>
                  <a:gd name="T4" fmla="*/ 4 h 4"/>
                </a:gdLst>
                <a:ahLst/>
                <a:cxnLst>
                  <a:cxn ang="0">
                    <a:pos x="0" y="T0"/>
                  </a:cxn>
                  <a:cxn ang="0">
                    <a:pos x="0" y="T1"/>
                  </a:cxn>
                  <a:cxn ang="0">
                    <a:pos x="0" y="T2"/>
                  </a:cxn>
                  <a:cxn ang="0">
                    <a:pos x="0" y="T3"/>
                  </a:cxn>
                  <a:cxn ang="0">
                    <a:pos x="0" y="T4"/>
                  </a:cxn>
                </a:cxnLst>
                <a:rect l="0" t="0" r="r" b="b"/>
                <a:pathLst>
                  <a:path h="4">
                    <a:moveTo>
                      <a:pt x="0" y="4"/>
                    </a:moveTo>
                    <a:lnTo>
                      <a:pt x="0" y="4"/>
                    </a:lnTo>
                    <a:lnTo>
                      <a:pt x="0" y="0"/>
                    </a:lnTo>
                    <a:cubicBezTo>
                      <a:pt x="0" y="0"/>
                      <a:pt x="0" y="0"/>
                      <a:pt x="0" y="0"/>
                    </a:cubicBezTo>
                    <a:lnTo>
                      <a:pt x="0" y="4"/>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4" name="Freeform 2568"/>
              <p:cNvSpPr>
                <a:spLocks/>
              </p:cNvSpPr>
              <p:nvPr/>
            </p:nvSpPr>
            <p:spPr bwMode="auto">
              <a:xfrm>
                <a:off x="3540126" y="4484688"/>
                <a:ext cx="0" cy="1588"/>
              </a:xfrm>
              <a:custGeom>
                <a:avLst/>
                <a:gdLst>
                  <a:gd name="T0" fmla="*/ 5 h 5"/>
                  <a:gd name="T1" fmla="*/ 5 h 5"/>
                  <a:gd name="T2" fmla="*/ 0 h 5"/>
                  <a:gd name="T3" fmla="*/ 5 h 5"/>
                </a:gdLst>
                <a:ahLst/>
                <a:cxnLst>
                  <a:cxn ang="0">
                    <a:pos x="0" y="T0"/>
                  </a:cxn>
                  <a:cxn ang="0">
                    <a:pos x="0" y="T1"/>
                  </a:cxn>
                  <a:cxn ang="0">
                    <a:pos x="0" y="T2"/>
                  </a:cxn>
                  <a:cxn ang="0">
                    <a:pos x="0" y="T3"/>
                  </a:cxn>
                </a:cxnLst>
                <a:rect l="0" t="0" r="r" b="b"/>
                <a:pathLst>
                  <a:path h="5">
                    <a:moveTo>
                      <a:pt x="0" y="5"/>
                    </a:moveTo>
                    <a:lnTo>
                      <a:pt x="0" y="5"/>
                    </a:lnTo>
                    <a:cubicBezTo>
                      <a:pt x="0" y="3"/>
                      <a:pt x="0" y="1"/>
                      <a:pt x="0" y="0"/>
                    </a:cubicBezTo>
                    <a:cubicBezTo>
                      <a:pt x="0" y="2"/>
                      <a:pt x="0" y="3"/>
                      <a:pt x="0" y="5"/>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5" name="Freeform 2569"/>
              <p:cNvSpPr>
                <a:spLocks/>
              </p:cNvSpPr>
              <p:nvPr/>
            </p:nvSpPr>
            <p:spPr bwMode="auto">
              <a:xfrm>
                <a:off x="3538538" y="4435476"/>
                <a:ext cx="1588" cy="0"/>
              </a:xfrm>
              <a:custGeom>
                <a:avLst/>
                <a:gdLst>
                  <a:gd name="T0" fmla="*/ 2 w 2"/>
                  <a:gd name="T1" fmla="*/ 3 h 3"/>
                  <a:gd name="T2" fmla="*/ 2 w 2"/>
                  <a:gd name="T3" fmla="*/ 3 h 3"/>
                  <a:gd name="T4" fmla="*/ 2 w 2"/>
                  <a:gd name="T5" fmla="*/ 2 h 3"/>
                  <a:gd name="T6" fmla="*/ 2 w 2"/>
                  <a:gd name="T7" fmla="*/ 3 h 3"/>
                </a:gdLst>
                <a:ahLst/>
                <a:cxnLst>
                  <a:cxn ang="0">
                    <a:pos x="T0" y="T1"/>
                  </a:cxn>
                  <a:cxn ang="0">
                    <a:pos x="T2" y="T3"/>
                  </a:cxn>
                  <a:cxn ang="0">
                    <a:pos x="T4" y="T5"/>
                  </a:cxn>
                  <a:cxn ang="0">
                    <a:pos x="T6" y="T7"/>
                  </a:cxn>
                </a:cxnLst>
                <a:rect l="0" t="0" r="r" b="b"/>
                <a:pathLst>
                  <a:path w="2" h="3">
                    <a:moveTo>
                      <a:pt x="2" y="3"/>
                    </a:moveTo>
                    <a:lnTo>
                      <a:pt x="2" y="3"/>
                    </a:lnTo>
                    <a:lnTo>
                      <a:pt x="2" y="2"/>
                    </a:lnTo>
                    <a:cubicBezTo>
                      <a:pt x="0" y="0"/>
                      <a:pt x="1" y="1"/>
                      <a:pt x="2" y="3"/>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6" name="Freeform 2570"/>
              <p:cNvSpPr>
                <a:spLocks/>
              </p:cNvSpPr>
              <p:nvPr/>
            </p:nvSpPr>
            <p:spPr bwMode="auto">
              <a:xfrm>
                <a:off x="3538538" y="4473576"/>
                <a:ext cx="0" cy="0"/>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lnTo>
                      <a:pt x="0" y="0"/>
                    </a:lnTo>
                    <a:lnTo>
                      <a:pt x="1" y="1"/>
                    </a:ln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7" name="Freeform 2571"/>
              <p:cNvSpPr>
                <a:spLocks/>
              </p:cNvSpPr>
              <p:nvPr/>
            </p:nvSpPr>
            <p:spPr bwMode="auto">
              <a:xfrm>
                <a:off x="3538538" y="4489451"/>
                <a:ext cx="1588" cy="1588"/>
              </a:xfrm>
              <a:custGeom>
                <a:avLst/>
                <a:gdLst>
                  <a:gd name="T0" fmla="*/ 1 w 1"/>
                  <a:gd name="T1" fmla="*/ 1 h 2"/>
                  <a:gd name="T2" fmla="*/ 1 w 1"/>
                  <a:gd name="T3" fmla="*/ 1 h 2"/>
                  <a:gd name="T4" fmla="*/ 0 w 1"/>
                  <a:gd name="T5" fmla="*/ 0 h 2"/>
                  <a:gd name="T6" fmla="*/ 0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1"/>
                    </a:lnTo>
                    <a:cubicBezTo>
                      <a:pt x="1" y="1"/>
                      <a:pt x="1" y="0"/>
                      <a:pt x="0" y="0"/>
                    </a:cubicBezTo>
                    <a:cubicBezTo>
                      <a:pt x="0" y="0"/>
                      <a:pt x="0" y="1"/>
                      <a:pt x="0" y="2"/>
                    </a:cubicBezTo>
                    <a:cubicBezTo>
                      <a:pt x="1" y="1"/>
                      <a:pt x="1" y="1"/>
                      <a:pt x="1" y="1"/>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8" name="Freeform 2572"/>
              <p:cNvSpPr>
                <a:spLocks/>
              </p:cNvSpPr>
              <p:nvPr/>
            </p:nvSpPr>
            <p:spPr bwMode="auto">
              <a:xfrm>
                <a:off x="3538538" y="4451351"/>
                <a:ext cx="0" cy="1588"/>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cubicBezTo>
                      <a:pt x="1" y="1"/>
                      <a:pt x="2" y="2"/>
                      <a:pt x="2" y="2"/>
                    </a:cubicBezTo>
                    <a:cubicBezTo>
                      <a:pt x="2" y="0"/>
                      <a:pt x="2" y="0"/>
                      <a:pt x="0" y="0"/>
                    </a:cubicBezTo>
                    <a:close/>
                  </a:path>
                </a:pathLst>
              </a:custGeom>
              <a:solidFill>
                <a:srgbClr val="9A9A9A"/>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grpSp>
        <p:sp>
          <p:nvSpPr>
            <p:cNvPr id="9" name="Rectangle 8"/>
            <p:cNvSpPr/>
            <p:nvPr/>
          </p:nvSpPr>
          <p:spPr>
            <a:xfrm>
              <a:off x="2019252" y="2188328"/>
              <a:ext cx="1858631" cy="788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2194" dirty="0">
                  <a:solidFill>
                    <a:srgbClr val="575757"/>
                  </a:solidFill>
                  <a:latin typeface="MV Boli" panose="02000500030200090000" pitchFamily="2" charset="0"/>
                  <a:cs typeface="MV Boli" panose="02000500030200090000" pitchFamily="2" charset="0"/>
                </a:rPr>
                <a:t>OPEN</a:t>
              </a:r>
            </a:p>
            <a:p>
              <a:pPr algn="ctr"/>
              <a:r>
                <a:rPr lang="en-US" sz="2194" dirty="0">
                  <a:solidFill>
                    <a:srgbClr val="575757"/>
                  </a:solidFill>
                  <a:latin typeface="MV Boli" panose="02000500030200090000" pitchFamily="2" charset="0"/>
                  <a:cs typeface="MV Boli" panose="02000500030200090000" pitchFamily="2" charset="0"/>
                </a:rPr>
                <a:t>MARKET</a:t>
              </a:r>
            </a:p>
          </p:txBody>
        </p:sp>
        <p:sp>
          <p:nvSpPr>
            <p:cNvPr id="10" name="Rectangle 9"/>
            <p:cNvSpPr/>
            <p:nvPr/>
          </p:nvSpPr>
          <p:spPr>
            <a:xfrm>
              <a:off x="3849612" y="2244962"/>
              <a:ext cx="1858631" cy="788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2194" dirty="0">
                  <a:solidFill>
                    <a:schemeClr val="bg1">
                      <a:lumMod val="65000"/>
                    </a:schemeClr>
                  </a:solidFill>
                  <a:latin typeface="MV Boli" panose="02000500030200090000" pitchFamily="2" charset="0"/>
                  <a:cs typeface="MV Boli" panose="02000500030200090000" pitchFamily="2" charset="0"/>
                </a:rPr>
                <a:t>ECOSYSTEM</a:t>
              </a:r>
            </a:p>
          </p:txBody>
        </p:sp>
        <p:sp>
          <p:nvSpPr>
            <p:cNvPr id="11" name="Rectangle 10"/>
            <p:cNvSpPr/>
            <p:nvPr/>
          </p:nvSpPr>
          <p:spPr>
            <a:xfrm>
              <a:off x="2025429" y="3973689"/>
              <a:ext cx="1858631" cy="788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2194" dirty="0">
                  <a:solidFill>
                    <a:srgbClr val="A8B21C"/>
                  </a:solidFill>
                  <a:latin typeface="MV Boli" panose="02000500030200090000" pitchFamily="2" charset="0"/>
                  <a:cs typeface="MV Boli" panose="02000500030200090000" pitchFamily="2" charset="0"/>
                </a:rPr>
                <a:t>HIERARCHICAL</a:t>
              </a:r>
            </a:p>
            <a:p>
              <a:pPr algn="ctr"/>
              <a:r>
                <a:rPr lang="en-US" sz="2194" dirty="0">
                  <a:solidFill>
                    <a:srgbClr val="A8B21C"/>
                  </a:solidFill>
                  <a:latin typeface="MV Boli" panose="02000500030200090000" pitchFamily="2" charset="0"/>
                  <a:cs typeface="MV Boli" panose="02000500030200090000" pitchFamily="2" charset="0"/>
                </a:rPr>
                <a:t>SUPPLY CHAIN</a:t>
              </a:r>
            </a:p>
          </p:txBody>
        </p:sp>
        <p:sp>
          <p:nvSpPr>
            <p:cNvPr id="12" name="Rectangle 11"/>
            <p:cNvSpPr/>
            <p:nvPr/>
          </p:nvSpPr>
          <p:spPr>
            <a:xfrm>
              <a:off x="3849016" y="4033203"/>
              <a:ext cx="1858631" cy="788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2194" dirty="0">
                  <a:solidFill>
                    <a:srgbClr val="29BA74"/>
                  </a:solidFill>
                  <a:latin typeface="MV Boli" panose="02000500030200090000" pitchFamily="2" charset="0"/>
                  <a:cs typeface="MV Boli" panose="02000500030200090000" pitchFamily="2" charset="0"/>
                </a:rPr>
                <a:t>VERTICALLY INTEGRATED</a:t>
              </a:r>
            </a:p>
          </p:txBody>
        </p:sp>
        <p:grpSp>
          <p:nvGrpSpPr>
            <p:cNvPr id="13" name="Group 12"/>
            <p:cNvGrpSpPr/>
            <p:nvPr/>
          </p:nvGrpSpPr>
          <p:grpSpPr>
            <a:xfrm>
              <a:off x="3856780" y="3498019"/>
              <a:ext cx="1843104" cy="1858632"/>
              <a:chOff x="3522663" y="3930651"/>
              <a:chExt cx="1004888" cy="644525"/>
            </a:xfrm>
          </p:grpSpPr>
          <p:sp>
            <p:nvSpPr>
              <p:cNvPr id="339" name="Freeform 2413"/>
              <p:cNvSpPr>
                <a:spLocks/>
              </p:cNvSpPr>
              <p:nvPr/>
            </p:nvSpPr>
            <p:spPr bwMode="auto">
              <a:xfrm>
                <a:off x="4395788" y="3935413"/>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1"/>
                      <a:pt x="0" y="1"/>
                      <a:pt x="0" y="0"/>
                    </a:cubicBezTo>
                    <a:cubicBezTo>
                      <a:pt x="0" y="1"/>
                      <a:pt x="0" y="1"/>
                      <a:pt x="0"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0" name="Freeform 2414"/>
              <p:cNvSpPr>
                <a:spLocks/>
              </p:cNvSpPr>
              <p:nvPr/>
            </p:nvSpPr>
            <p:spPr bwMode="auto">
              <a:xfrm>
                <a:off x="4319588" y="3937001"/>
                <a:ext cx="0" cy="1588"/>
              </a:xfrm>
              <a:custGeom>
                <a:avLst/>
                <a:gdLst>
                  <a:gd name="T0" fmla="*/ 0 w 2"/>
                  <a:gd name="T1" fmla="*/ 1 h 1"/>
                  <a:gd name="T2" fmla="*/ 0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0" y="1"/>
                    </a:lnTo>
                    <a:lnTo>
                      <a:pt x="2" y="0"/>
                    </a:lnTo>
                    <a:cubicBezTo>
                      <a:pt x="0" y="1"/>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1" name="Freeform 2415"/>
              <p:cNvSpPr>
                <a:spLocks/>
              </p:cNvSpPr>
              <p:nvPr/>
            </p:nvSpPr>
            <p:spPr bwMode="auto">
              <a:xfrm>
                <a:off x="4441826" y="3932238"/>
                <a:ext cx="3175" cy="1588"/>
              </a:xfrm>
              <a:custGeom>
                <a:avLst/>
                <a:gdLst>
                  <a:gd name="T0" fmla="*/ 0 w 10"/>
                  <a:gd name="T1" fmla="*/ 0 h 1"/>
                  <a:gd name="T2" fmla="*/ 0 w 10"/>
                  <a:gd name="T3" fmla="*/ 0 h 1"/>
                  <a:gd name="T4" fmla="*/ 0 w 10"/>
                  <a:gd name="T5" fmla="*/ 1 h 1"/>
                  <a:gd name="T6" fmla="*/ 10 w 10"/>
                  <a:gd name="T7" fmla="*/ 0 h 1"/>
                  <a:gd name="T8" fmla="*/ 0 w 10"/>
                  <a:gd name="T9" fmla="*/ 0 h 1"/>
                </a:gdLst>
                <a:ahLst/>
                <a:cxnLst>
                  <a:cxn ang="0">
                    <a:pos x="T0" y="T1"/>
                  </a:cxn>
                  <a:cxn ang="0">
                    <a:pos x="T2" y="T3"/>
                  </a:cxn>
                  <a:cxn ang="0">
                    <a:pos x="T4" y="T5"/>
                  </a:cxn>
                  <a:cxn ang="0">
                    <a:pos x="T6" y="T7"/>
                  </a:cxn>
                  <a:cxn ang="0">
                    <a:pos x="T8" y="T9"/>
                  </a:cxn>
                </a:cxnLst>
                <a:rect l="0" t="0" r="r" b="b"/>
                <a:pathLst>
                  <a:path w="10" h="1">
                    <a:moveTo>
                      <a:pt x="0" y="0"/>
                    </a:moveTo>
                    <a:lnTo>
                      <a:pt x="0" y="0"/>
                    </a:lnTo>
                    <a:cubicBezTo>
                      <a:pt x="0" y="0"/>
                      <a:pt x="0" y="0"/>
                      <a:pt x="0" y="1"/>
                    </a:cubicBezTo>
                    <a:cubicBezTo>
                      <a:pt x="2" y="0"/>
                      <a:pt x="5" y="0"/>
                      <a:pt x="10" y="0"/>
                    </a:cubicBezTo>
                    <a:lnTo>
                      <a:pt x="0"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2" name="Freeform 2416"/>
              <p:cNvSpPr>
                <a:spLocks/>
              </p:cNvSpPr>
              <p:nvPr/>
            </p:nvSpPr>
            <p:spPr bwMode="auto">
              <a:xfrm>
                <a:off x="4156076" y="3943351"/>
                <a:ext cx="1588"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cubicBezTo>
                      <a:pt x="2"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3" name="Freeform 2417"/>
              <p:cNvSpPr>
                <a:spLocks/>
              </p:cNvSpPr>
              <p:nvPr/>
            </p:nvSpPr>
            <p:spPr bwMode="auto">
              <a:xfrm>
                <a:off x="4251326" y="3941763"/>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1"/>
                      <a:pt x="1" y="1"/>
                      <a:pt x="0" y="1"/>
                    </a:cubicBezTo>
                    <a:cubicBezTo>
                      <a:pt x="2" y="1"/>
                      <a:pt x="3" y="1"/>
                      <a:pt x="4"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4" name="Freeform 2418"/>
              <p:cNvSpPr>
                <a:spLocks/>
              </p:cNvSpPr>
              <p:nvPr/>
            </p:nvSpPr>
            <p:spPr bwMode="auto">
              <a:xfrm>
                <a:off x="4465638" y="3940176"/>
                <a:ext cx="1588" cy="0"/>
              </a:xfrm>
              <a:custGeom>
                <a:avLst/>
                <a:gdLst>
                  <a:gd name="T0" fmla="*/ 4 w 4"/>
                  <a:gd name="T1" fmla="*/ 1 h 1"/>
                  <a:gd name="T2" fmla="*/ 4 w 4"/>
                  <a:gd name="T3" fmla="*/ 1 h 1"/>
                  <a:gd name="T4" fmla="*/ 0 w 4"/>
                  <a:gd name="T5" fmla="*/ 0 h 1"/>
                  <a:gd name="T6" fmla="*/ 4 w 4"/>
                  <a:gd name="T7" fmla="*/ 1 h 1"/>
                </a:gdLst>
                <a:ahLst/>
                <a:cxnLst>
                  <a:cxn ang="0">
                    <a:pos x="T0" y="T1"/>
                  </a:cxn>
                  <a:cxn ang="0">
                    <a:pos x="T2" y="T3"/>
                  </a:cxn>
                  <a:cxn ang="0">
                    <a:pos x="T4" y="T5"/>
                  </a:cxn>
                  <a:cxn ang="0">
                    <a:pos x="T6" y="T7"/>
                  </a:cxn>
                </a:cxnLst>
                <a:rect l="0" t="0" r="r" b="b"/>
                <a:pathLst>
                  <a:path w="4" h="1">
                    <a:moveTo>
                      <a:pt x="4" y="1"/>
                    </a:moveTo>
                    <a:lnTo>
                      <a:pt x="4" y="1"/>
                    </a:lnTo>
                    <a:lnTo>
                      <a:pt x="0" y="0"/>
                    </a:lnTo>
                    <a:cubicBezTo>
                      <a:pt x="0" y="0"/>
                      <a:pt x="2" y="1"/>
                      <a:pt x="4"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5" name="Freeform 2419"/>
              <p:cNvSpPr>
                <a:spLocks/>
              </p:cNvSpPr>
              <p:nvPr/>
            </p:nvSpPr>
            <p:spPr bwMode="auto">
              <a:xfrm>
                <a:off x="4513263" y="3933826"/>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0" y="1"/>
                      <a:pt x="0" y="0"/>
                    </a:cubicBezTo>
                    <a:cubicBezTo>
                      <a:pt x="0" y="1"/>
                      <a:pt x="0" y="1"/>
                      <a:pt x="1"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6" name="Freeform 2420"/>
              <p:cNvSpPr>
                <a:spLocks/>
              </p:cNvSpPr>
              <p:nvPr/>
            </p:nvSpPr>
            <p:spPr bwMode="auto">
              <a:xfrm>
                <a:off x="4492626" y="3932238"/>
                <a:ext cx="1588" cy="1588"/>
              </a:xfrm>
              <a:custGeom>
                <a:avLst/>
                <a:gdLst>
                  <a:gd name="T0" fmla="*/ 4 w 4"/>
                  <a:gd name="T1" fmla="*/ 0 h 2"/>
                  <a:gd name="T2" fmla="*/ 4 w 4"/>
                  <a:gd name="T3" fmla="*/ 0 h 2"/>
                  <a:gd name="T4" fmla="*/ 0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4" y="0"/>
                    </a:lnTo>
                    <a:cubicBezTo>
                      <a:pt x="3" y="1"/>
                      <a:pt x="2" y="1"/>
                      <a:pt x="0" y="2"/>
                    </a:cubicBezTo>
                    <a:cubicBezTo>
                      <a:pt x="2" y="2"/>
                      <a:pt x="4" y="1"/>
                      <a:pt x="4"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7" name="Freeform 2421"/>
              <p:cNvSpPr>
                <a:spLocks/>
              </p:cNvSpPr>
              <p:nvPr/>
            </p:nvSpPr>
            <p:spPr bwMode="auto">
              <a:xfrm>
                <a:off x="4492626" y="3933826"/>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cubicBezTo>
                      <a:pt x="1" y="0"/>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8" name="Freeform 2422"/>
              <p:cNvSpPr>
                <a:spLocks/>
              </p:cNvSpPr>
              <p:nvPr/>
            </p:nvSpPr>
            <p:spPr bwMode="auto">
              <a:xfrm>
                <a:off x="3559176" y="3941763"/>
                <a:ext cx="3175" cy="1588"/>
              </a:xfrm>
              <a:custGeom>
                <a:avLst/>
                <a:gdLst>
                  <a:gd name="T0" fmla="*/ 11 w 11"/>
                  <a:gd name="T1" fmla="*/ 1 h 3"/>
                  <a:gd name="T2" fmla="*/ 11 w 11"/>
                  <a:gd name="T3" fmla="*/ 1 h 3"/>
                  <a:gd name="T4" fmla="*/ 0 w 11"/>
                  <a:gd name="T5" fmla="*/ 3 h 3"/>
                  <a:gd name="T6" fmla="*/ 11 w 11"/>
                  <a:gd name="T7" fmla="*/ 1 h 3"/>
                </a:gdLst>
                <a:ahLst/>
                <a:cxnLst>
                  <a:cxn ang="0">
                    <a:pos x="T0" y="T1"/>
                  </a:cxn>
                  <a:cxn ang="0">
                    <a:pos x="T2" y="T3"/>
                  </a:cxn>
                  <a:cxn ang="0">
                    <a:pos x="T4" y="T5"/>
                  </a:cxn>
                  <a:cxn ang="0">
                    <a:pos x="T6" y="T7"/>
                  </a:cxn>
                </a:cxnLst>
                <a:rect l="0" t="0" r="r" b="b"/>
                <a:pathLst>
                  <a:path w="11" h="3">
                    <a:moveTo>
                      <a:pt x="11" y="1"/>
                    </a:moveTo>
                    <a:lnTo>
                      <a:pt x="11" y="1"/>
                    </a:lnTo>
                    <a:cubicBezTo>
                      <a:pt x="7" y="0"/>
                      <a:pt x="3" y="2"/>
                      <a:pt x="0" y="3"/>
                    </a:cubicBezTo>
                    <a:lnTo>
                      <a:pt x="11" y="1"/>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9" name="Freeform 2423"/>
              <p:cNvSpPr>
                <a:spLocks/>
              </p:cNvSpPr>
              <p:nvPr/>
            </p:nvSpPr>
            <p:spPr bwMode="auto">
              <a:xfrm>
                <a:off x="4008438" y="3944938"/>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0" y="0"/>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0" name="Freeform 2424"/>
              <p:cNvSpPr>
                <a:spLocks/>
              </p:cNvSpPr>
              <p:nvPr/>
            </p:nvSpPr>
            <p:spPr bwMode="auto">
              <a:xfrm>
                <a:off x="3560763" y="3948113"/>
                <a:ext cx="0"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cubicBezTo>
                      <a:pt x="1" y="0"/>
                      <a:pt x="2" y="0"/>
                      <a:pt x="3"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1" name="Freeform 2425"/>
              <p:cNvSpPr>
                <a:spLocks/>
              </p:cNvSpPr>
              <p:nvPr/>
            </p:nvSpPr>
            <p:spPr bwMode="auto">
              <a:xfrm>
                <a:off x="4438651" y="3943351"/>
                <a:ext cx="3175" cy="1588"/>
              </a:xfrm>
              <a:custGeom>
                <a:avLst/>
                <a:gdLst>
                  <a:gd name="T0" fmla="*/ 13 w 13"/>
                  <a:gd name="T1" fmla="*/ 0 h 3"/>
                  <a:gd name="T2" fmla="*/ 13 w 13"/>
                  <a:gd name="T3" fmla="*/ 0 h 3"/>
                  <a:gd name="T4" fmla="*/ 0 w 13"/>
                  <a:gd name="T5" fmla="*/ 2 h 3"/>
                  <a:gd name="T6" fmla="*/ 13 w 13"/>
                  <a:gd name="T7" fmla="*/ 0 h 3"/>
                </a:gdLst>
                <a:ahLst/>
                <a:cxnLst>
                  <a:cxn ang="0">
                    <a:pos x="T0" y="T1"/>
                  </a:cxn>
                  <a:cxn ang="0">
                    <a:pos x="T2" y="T3"/>
                  </a:cxn>
                  <a:cxn ang="0">
                    <a:pos x="T4" y="T5"/>
                  </a:cxn>
                  <a:cxn ang="0">
                    <a:pos x="T6" y="T7"/>
                  </a:cxn>
                </a:cxnLst>
                <a:rect l="0" t="0" r="r" b="b"/>
                <a:pathLst>
                  <a:path w="13" h="3">
                    <a:moveTo>
                      <a:pt x="13" y="0"/>
                    </a:moveTo>
                    <a:lnTo>
                      <a:pt x="13" y="0"/>
                    </a:lnTo>
                    <a:cubicBezTo>
                      <a:pt x="9" y="2"/>
                      <a:pt x="0" y="1"/>
                      <a:pt x="0" y="2"/>
                    </a:cubicBezTo>
                    <a:cubicBezTo>
                      <a:pt x="5" y="2"/>
                      <a:pt x="12" y="3"/>
                      <a:pt x="13"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2" name="Freeform 2426"/>
              <p:cNvSpPr>
                <a:spLocks/>
              </p:cNvSpPr>
              <p:nvPr/>
            </p:nvSpPr>
            <p:spPr bwMode="auto">
              <a:xfrm>
                <a:off x="3976688" y="3968751"/>
                <a:ext cx="0"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cubicBezTo>
                      <a:pt x="1" y="0"/>
                      <a:pt x="2" y="0"/>
                      <a:pt x="2"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3" name="Freeform 2427"/>
              <p:cNvSpPr>
                <a:spLocks/>
              </p:cNvSpPr>
              <p:nvPr/>
            </p:nvSpPr>
            <p:spPr bwMode="auto">
              <a:xfrm>
                <a:off x="3560763" y="3948113"/>
                <a:ext cx="1588" cy="0"/>
              </a:xfrm>
              <a:custGeom>
                <a:avLst/>
                <a:gdLst>
                  <a:gd name="T0" fmla="*/ 0 w 3"/>
                  <a:gd name="T1" fmla="*/ 0 h 1"/>
                  <a:gd name="T2" fmla="*/ 0 w 3"/>
                  <a:gd name="T3" fmla="*/ 0 h 1"/>
                  <a:gd name="T4" fmla="*/ 3 w 3"/>
                  <a:gd name="T5" fmla="*/ 1 h 1"/>
                  <a:gd name="T6" fmla="*/ 2 w 3"/>
                  <a:gd name="T7" fmla="*/ 0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lnTo>
                      <a:pt x="0" y="0"/>
                    </a:lnTo>
                    <a:lnTo>
                      <a:pt x="3" y="1"/>
                    </a:lnTo>
                    <a:cubicBezTo>
                      <a:pt x="3" y="0"/>
                      <a:pt x="3" y="0"/>
                      <a:pt x="2" y="0"/>
                    </a:cubicBezTo>
                    <a:cubicBezTo>
                      <a:pt x="2"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4" name="Freeform 2428"/>
              <p:cNvSpPr>
                <a:spLocks/>
              </p:cNvSpPr>
              <p:nvPr/>
            </p:nvSpPr>
            <p:spPr bwMode="auto">
              <a:xfrm>
                <a:off x="3854451" y="3943351"/>
                <a:ext cx="0"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0" y="0"/>
                      <a:pt x="0" y="0"/>
                    </a:cubicBezTo>
                    <a:cubicBezTo>
                      <a:pt x="1" y="0"/>
                      <a:pt x="1" y="0"/>
                      <a:pt x="1" y="0"/>
                    </a:cubicBezTo>
                    <a:lnTo>
                      <a:pt x="0"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5" name="Freeform 2429"/>
              <p:cNvSpPr>
                <a:spLocks/>
              </p:cNvSpPr>
              <p:nvPr/>
            </p:nvSpPr>
            <p:spPr bwMode="auto">
              <a:xfrm>
                <a:off x="3846513" y="3941763"/>
                <a:ext cx="1588" cy="0"/>
              </a:xfrm>
              <a:custGeom>
                <a:avLst/>
                <a:gdLst>
                  <a:gd name="T0" fmla="*/ 0 w 6"/>
                  <a:gd name="T1" fmla="*/ 1 h 1"/>
                  <a:gd name="T2" fmla="*/ 0 w 6"/>
                  <a:gd name="T3" fmla="*/ 1 h 1"/>
                  <a:gd name="T4" fmla="*/ 6 w 6"/>
                  <a:gd name="T5" fmla="*/ 1 h 1"/>
                  <a:gd name="T6" fmla="*/ 0 w 6"/>
                  <a:gd name="T7" fmla="*/ 1 h 1"/>
                </a:gdLst>
                <a:ahLst/>
                <a:cxnLst>
                  <a:cxn ang="0">
                    <a:pos x="T0" y="T1"/>
                  </a:cxn>
                  <a:cxn ang="0">
                    <a:pos x="T2" y="T3"/>
                  </a:cxn>
                  <a:cxn ang="0">
                    <a:pos x="T4" y="T5"/>
                  </a:cxn>
                  <a:cxn ang="0">
                    <a:pos x="T6" y="T7"/>
                  </a:cxn>
                </a:cxnLst>
                <a:rect l="0" t="0" r="r" b="b"/>
                <a:pathLst>
                  <a:path w="6" h="1">
                    <a:moveTo>
                      <a:pt x="0" y="1"/>
                    </a:moveTo>
                    <a:lnTo>
                      <a:pt x="0" y="1"/>
                    </a:lnTo>
                    <a:cubicBezTo>
                      <a:pt x="2" y="1"/>
                      <a:pt x="4" y="1"/>
                      <a:pt x="6" y="1"/>
                    </a:cubicBezTo>
                    <a:cubicBezTo>
                      <a:pt x="3" y="0"/>
                      <a:pt x="1"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6" name="Freeform 2430"/>
              <p:cNvSpPr>
                <a:spLocks/>
              </p:cNvSpPr>
              <p:nvPr/>
            </p:nvSpPr>
            <p:spPr bwMode="auto">
              <a:xfrm>
                <a:off x="3557588" y="3943351"/>
                <a:ext cx="1588" cy="0"/>
              </a:xfrm>
              <a:custGeom>
                <a:avLst/>
                <a:gdLst>
                  <a:gd name="T0" fmla="*/ 7 w 7"/>
                  <a:gd name="T1" fmla="*/ 0 h 2"/>
                  <a:gd name="T2" fmla="*/ 7 w 7"/>
                  <a:gd name="T3" fmla="*/ 0 h 2"/>
                  <a:gd name="T4" fmla="*/ 0 w 7"/>
                  <a:gd name="T5" fmla="*/ 2 h 2"/>
                  <a:gd name="T6" fmla="*/ 7 w 7"/>
                  <a:gd name="T7" fmla="*/ 0 h 2"/>
                </a:gdLst>
                <a:ahLst/>
                <a:cxnLst>
                  <a:cxn ang="0">
                    <a:pos x="T0" y="T1"/>
                  </a:cxn>
                  <a:cxn ang="0">
                    <a:pos x="T2" y="T3"/>
                  </a:cxn>
                  <a:cxn ang="0">
                    <a:pos x="T4" y="T5"/>
                  </a:cxn>
                  <a:cxn ang="0">
                    <a:pos x="T6" y="T7"/>
                  </a:cxn>
                </a:cxnLst>
                <a:rect l="0" t="0" r="r" b="b"/>
                <a:pathLst>
                  <a:path w="7" h="2">
                    <a:moveTo>
                      <a:pt x="7" y="0"/>
                    </a:moveTo>
                    <a:lnTo>
                      <a:pt x="7" y="0"/>
                    </a:lnTo>
                    <a:lnTo>
                      <a:pt x="0" y="2"/>
                    </a:lnTo>
                    <a:cubicBezTo>
                      <a:pt x="2" y="1"/>
                      <a:pt x="4" y="1"/>
                      <a:pt x="7"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7" name="Freeform 2431"/>
              <p:cNvSpPr>
                <a:spLocks/>
              </p:cNvSpPr>
              <p:nvPr/>
            </p:nvSpPr>
            <p:spPr bwMode="auto">
              <a:xfrm>
                <a:off x="3757613" y="3940176"/>
                <a:ext cx="1588" cy="1588"/>
              </a:xfrm>
              <a:custGeom>
                <a:avLst/>
                <a:gdLst>
                  <a:gd name="T0" fmla="*/ 0 w 3"/>
                  <a:gd name="T1" fmla="*/ 1 h 1"/>
                  <a:gd name="T2" fmla="*/ 0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lnTo>
                      <a:pt x="0" y="1"/>
                    </a:lnTo>
                    <a:cubicBezTo>
                      <a:pt x="1" y="1"/>
                      <a:pt x="2" y="1"/>
                      <a:pt x="3" y="1"/>
                    </a:cubicBezTo>
                    <a:cubicBezTo>
                      <a:pt x="2" y="0"/>
                      <a:pt x="1"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8" name="Freeform 2432"/>
              <p:cNvSpPr>
                <a:spLocks/>
              </p:cNvSpPr>
              <p:nvPr/>
            </p:nvSpPr>
            <p:spPr bwMode="auto">
              <a:xfrm>
                <a:off x="4259263" y="3941763"/>
                <a:ext cx="0" cy="0"/>
              </a:xfrm>
              <a:custGeom>
                <a:avLst/>
                <a:gdLst>
                  <a:gd name="T0" fmla="*/ 0 w 2"/>
                  <a:gd name="T1" fmla="*/ 1 h 1"/>
                  <a:gd name="T2" fmla="*/ 0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0" y="1"/>
                    </a:lnTo>
                    <a:cubicBezTo>
                      <a:pt x="0" y="1"/>
                      <a:pt x="1" y="1"/>
                      <a:pt x="2" y="1"/>
                    </a:cubicBezTo>
                    <a:cubicBezTo>
                      <a:pt x="2" y="1"/>
                      <a:pt x="2"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9" name="Rectangle 2433"/>
              <p:cNvSpPr>
                <a:spLocks noChangeArrowheads="1"/>
              </p:cNvSpPr>
              <p:nvPr/>
            </p:nvSpPr>
            <p:spPr bwMode="auto">
              <a:xfrm>
                <a:off x="4198938" y="3960813"/>
                <a:ext cx="1588" cy="1588"/>
              </a:xfrm>
              <a:prstGeom prst="rect">
                <a:avLst/>
              </a:prstGeom>
              <a:solidFill>
                <a:srgbClr val="29BA74"/>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0" name="Freeform 2434"/>
              <p:cNvSpPr>
                <a:spLocks/>
              </p:cNvSpPr>
              <p:nvPr/>
            </p:nvSpPr>
            <p:spPr bwMode="auto">
              <a:xfrm>
                <a:off x="4198938" y="3960813"/>
                <a:ext cx="3175" cy="0"/>
              </a:xfrm>
              <a:custGeom>
                <a:avLst/>
                <a:gdLst>
                  <a:gd name="T0" fmla="*/ 10 w 10"/>
                  <a:gd name="T1" fmla="*/ 0 h 3"/>
                  <a:gd name="T2" fmla="*/ 10 w 10"/>
                  <a:gd name="T3" fmla="*/ 0 h 3"/>
                  <a:gd name="T4" fmla="*/ 0 w 10"/>
                  <a:gd name="T5" fmla="*/ 3 h 3"/>
                  <a:gd name="T6" fmla="*/ 10 w 10"/>
                  <a:gd name="T7" fmla="*/ 0 h 3"/>
                </a:gdLst>
                <a:ahLst/>
                <a:cxnLst>
                  <a:cxn ang="0">
                    <a:pos x="T0" y="T1"/>
                  </a:cxn>
                  <a:cxn ang="0">
                    <a:pos x="T2" y="T3"/>
                  </a:cxn>
                  <a:cxn ang="0">
                    <a:pos x="T4" y="T5"/>
                  </a:cxn>
                  <a:cxn ang="0">
                    <a:pos x="T6" y="T7"/>
                  </a:cxn>
                </a:cxnLst>
                <a:rect l="0" t="0" r="r" b="b"/>
                <a:pathLst>
                  <a:path w="10" h="3">
                    <a:moveTo>
                      <a:pt x="10" y="0"/>
                    </a:moveTo>
                    <a:lnTo>
                      <a:pt x="10" y="0"/>
                    </a:lnTo>
                    <a:cubicBezTo>
                      <a:pt x="7" y="0"/>
                      <a:pt x="2" y="2"/>
                      <a:pt x="0" y="3"/>
                    </a:cubicBezTo>
                    <a:cubicBezTo>
                      <a:pt x="3" y="3"/>
                      <a:pt x="6" y="3"/>
                      <a:pt x="1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1" name="Freeform 2435"/>
              <p:cNvSpPr>
                <a:spLocks/>
              </p:cNvSpPr>
              <p:nvPr/>
            </p:nvSpPr>
            <p:spPr bwMode="auto">
              <a:xfrm>
                <a:off x="4192588" y="3960813"/>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cubicBezTo>
                      <a:pt x="1" y="0"/>
                      <a:pt x="1" y="0"/>
                      <a:pt x="2" y="0"/>
                    </a:cubicBezTo>
                    <a:cubicBezTo>
                      <a:pt x="1"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2" name="Freeform 2436"/>
              <p:cNvSpPr>
                <a:spLocks/>
              </p:cNvSpPr>
              <p:nvPr/>
            </p:nvSpPr>
            <p:spPr bwMode="auto">
              <a:xfrm>
                <a:off x="4257676" y="3959226"/>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3" name="Freeform 2437"/>
              <p:cNvSpPr>
                <a:spLocks/>
              </p:cNvSpPr>
              <p:nvPr/>
            </p:nvSpPr>
            <p:spPr bwMode="auto">
              <a:xfrm>
                <a:off x="4243388" y="3959226"/>
                <a:ext cx="1588"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cubicBezTo>
                      <a:pt x="2" y="0"/>
                      <a:pt x="1" y="0"/>
                      <a:pt x="0" y="0"/>
                    </a:cubicBezTo>
                    <a:cubicBezTo>
                      <a:pt x="1" y="0"/>
                      <a:pt x="2" y="0"/>
                      <a:pt x="3"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4" name="Freeform 2438"/>
              <p:cNvSpPr>
                <a:spLocks/>
              </p:cNvSpPr>
              <p:nvPr/>
            </p:nvSpPr>
            <p:spPr bwMode="auto">
              <a:xfrm>
                <a:off x="4159251" y="3963988"/>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lnTo>
                      <a:pt x="1" y="0"/>
                    </a:lnTo>
                    <a:lnTo>
                      <a:pt x="1" y="0"/>
                    </a:lnTo>
                    <a:cubicBezTo>
                      <a:pt x="1" y="0"/>
                      <a:pt x="1" y="0"/>
                      <a:pt x="0" y="0"/>
                    </a:cubicBezTo>
                    <a:cubicBezTo>
                      <a:pt x="1" y="0"/>
                      <a:pt x="1" y="0"/>
                      <a:pt x="1"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5" name="Freeform 2439"/>
              <p:cNvSpPr>
                <a:spLocks/>
              </p:cNvSpPr>
              <p:nvPr/>
            </p:nvSpPr>
            <p:spPr bwMode="auto">
              <a:xfrm>
                <a:off x="3554413" y="3930651"/>
                <a:ext cx="973138" cy="41275"/>
              </a:xfrm>
              <a:custGeom>
                <a:avLst/>
                <a:gdLst>
                  <a:gd name="T0" fmla="*/ 1712 w 3100"/>
                  <a:gd name="T1" fmla="*/ 124 h 129"/>
                  <a:gd name="T2" fmla="*/ 1836 w 3100"/>
                  <a:gd name="T3" fmla="*/ 116 h 129"/>
                  <a:gd name="T4" fmla="*/ 1921 w 3100"/>
                  <a:gd name="T5" fmla="*/ 107 h 129"/>
                  <a:gd name="T6" fmla="*/ 1969 w 3100"/>
                  <a:gd name="T7" fmla="*/ 106 h 129"/>
                  <a:gd name="T8" fmla="*/ 2021 w 3100"/>
                  <a:gd name="T9" fmla="*/ 101 h 129"/>
                  <a:gd name="T10" fmla="*/ 2045 w 3100"/>
                  <a:gd name="T11" fmla="*/ 98 h 129"/>
                  <a:gd name="T12" fmla="*/ 2093 w 3100"/>
                  <a:gd name="T13" fmla="*/ 96 h 129"/>
                  <a:gd name="T14" fmla="*/ 2155 w 3100"/>
                  <a:gd name="T15" fmla="*/ 94 h 129"/>
                  <a:gd name="T16" fmla="*/ 2225 w 3100"/>
                  <a:gd name="T17" fmla="*/ 84 h 129"/>
                  <a:gd name="T18" fmla="*/ 2296 w 3100"/>
                  <a:gd name="T19" fmla="*/ 75 h 129"/>
                  <a:gd name="T20" fmla="*/ 2342 w 3100"/>
                  <a:gd name="T21" fmla="*/ 74 h 129"/>
                  <a:gd name="T22" fmla="*/ 2388 w 3100"/>
                  <a:gd name="T23" fmla="*/ 72 h 129"/>
                  <a:gd name="T24" fmla="*/ 2461 w 3100"/>
                  <a:gd name="T25" fmla="*/ 77 h 129"/>
                  <a:gd name="T26" fmla="*/ 2535 w 3100"/>
                  <a:gd name="T27" fmla="*/ 56 h 129"/>
                  <a:gd name="T28" fmla="*/ 2600 w 3100"/>
                  <a:gd name="T29" fmla="*/ 50 h 129"/>
                  <a:gd name="T30" fmla="*/ 2698 w 3100"/>
                  <a:gd name="T31" fmla="*/ 51 h 129"/>
                  <a:gd name="T32" fmla="*/ 2762 w 3100"/>
                  <a:gd name="T33" fmla="*/ 40 h 129"/>
                  <a:gd name="T34" fmla="*/ 2804 w 3100"/>
                  <a:gd name="T35" fmla="*/ 32 h 129"/>
                  <a:gd name="T36" fmla="*/ 2813 w 3100"/>
                  <a:gd name="T37" fmla="*/ 45 h 129"/>
                  <a:gd name="T38" fmla="*/ 2861 w 3100"/>
                  <a:gd name="T39" fmla="*/ 35 h 129"/>
                  <a:gd name="T40" fmla="*/ 2892 w 3100"/>
                  <a:gd name="T41" fmla="*/ 35 h 129"/>
                  <a:gd name="T42" fmla="*/ 2921 w 3100"/>
                  <a:gd name="T43" fmla="*/ 25 h 129"/>
                  <a:gd name="T44" fmla="*/ 3025 w 3100"/>
                  <a:gd name="T45" fmla="*/ 19 h 129"/>
                  <a:gd name="T46" fmla="*/ 3077 w 3100"/>
                  <a:gd name="T47" fmla="*/ 20 h 129"/>
                  <a:gd name="T48" fmla="*/ 3043 w 3100"/>
                  <a:gd name="T49" fmla="*/ 13 h 129"/>
                  <a:gd name="T50" fmla="*/ 2998 w 3100"/>
                  <a:gd name="T51" fmla="*/ 12 h 129"/>
                  <a:gd name="T52" fmla="*/ 2974 w 3100"/>
                  <a:gd name="T53" fmla="*/ 3 h 129"/>
                  <a:gd name="T54" fmla="*/ 2873 w 3100"/>
                  <a:gd name="T55" fmla="*/ 10 h 129"/>
                  <a:gd name="T56" fmla="*/ 2844 w 3100"/>
                  <a:gd name="T57" fmla="*/ 6 h 129"/>
                  <a:gd name="T58" fmla="*/ 2800 w 3100"/>
                  <a:gd name="T59" fmla="*/ 8 h 129"/>
                  <a:gd name="T60" fmla="*/ 2681 w 3100"/>
                  <a:gd name="T61" fmla="*/ 14 h 129"/>
                  <a:gd name="T62" fmla="*/ 2631 w 3100"/>
                  <a:gd name="T63" fmla="*/ 15 h 129"/>
                  <a:gd name="T64" fmla="*/ 2566 w 3100"/>
                  <a:gd name="T65" fmla="*/ 19 h 129"/>
                  <a:gd name="T66" fmla="*/ 2516 w 3100"/>
                  <a:gd name="T67" fmla="*/ 22 h 129"/>
                  <a:gd name="T68" fmla="*/ 2461 w 3100"/>
                  <a:gd name="T69" fmla="*/ 23 h 129"/>
                  <a:gd name="T70" fmla="*/ 2419 w 3100"/>
                  <a:gd name="T71" fmla="*/ 25 h 129"/>
                  <a:gd name="T72" fmla="*/ 2284 w 3100"/>
                  <a:gd name="T73" fmla="*/ 33 h 129"/>
                  <a:gd name="T74" fmla="*/ 2213 w 3100"/>
                  <a:gd name="T75" fmla="*/ 32 h 129"/>
                  <a:gd name="T76" fmla="*/ 2123 w 3100"/>
                  <a:gd name="T77" fmla="*/ 41 h 129"/>
                  <a:gd name="T78" fmla="*/ 2074 w 3100"/>
                  <a:gd name="T79" fmla="*/ 44 h 129"/>
                  <a:gd name="T80" fmla="*/ 1989 w 3100"/>
                  <a:gd name="T81" fmla="*/ 41 h 129"/>
                  <a:gd name="T82" fmla="*/ 1908 w 3100"/>
                  <a:gd name="T83" fmla="*/ 40 h 129"/>
                  <a:gd name="T84" fmla="*/ 1828 w 3100"/>
                  <a:gd name="T85" fmla="*/ 43 h 129"/>
                  <a:gd name="T86" fmla="*/ 1659 w 3100"/>
                  <a:gd name="T87" fmla="*/ 41 h 129"/>
                  <a:gd name="T88" fmla="*/ 1470 w 3100"/>
                  <a:gd name="T89" fmla="*/ 45 h 129"/>
                  <a:gd name="T90" fmla="*/ 1421 w 3100"/>
                  <a:gd name="T91" fmla="*/ 49 h 129"/>
                  <a:gd name="T92" fmla="*/ 1353 w 3100"/>
                  <a:gd name="T93" fmla="*/ 49 h 129"/>
                  <a:gd name="T94" fmla="*/ 1260 w 3100"/>
                  <a:gd name="T95" fmla="*/ 43 h 129"/>
                  <a:gd name="T96" fmla="*/ 1035 w 3100"/>
                  <a:gd name="T97" fmla="*/ 38 h 129"/>
                  <a:gd name="T98" fmla="*/ 872 w 3100"/>
                  <a:gd name="T99" fmla="*/ 37 h 129"/>
                  <a:gd name="T100" fmla="*/ 680 w 3100"/>
                  <a:gd name="T101" fmla="*/ 33 h 129"/>
                  <a:gd name="T102" fmla="*/ 26 w 3100"/>
                  <a:gd name="T103" fmla="*/ 36 h 129"/>
                  <a:gd name="T104" fmla="*/ 23 w 3100"/>
                  <a:gd name="T105" fmla="*/ 53 h 129"/>
                  <a:gd name="T106" fmla="*/ 50 w 3100"/>
                  <a:gd name="T107" fmla="*/ 54 h 129"/>
                  <a:gd name="T108" fmla="*/ 115 w 3100"/>
                  <a:gd name="T109" fmla="*/ 65 h 129"/>
                  <a:gd name="T110" fmla="*/ 159 w 3100"/>
                  <a:gd name="T111" fmla="*/ 72 h 129"/>
                  <a:gd name="T112" fmla="*/ 425 w 3100"/>
                  <a:gd name="T113" fmla="*/ 97 h 129"/>
                  <a:gd name="T114" fmla="*/ 941 w 3100"/>
                  <a:gd name="T115" fmla="*/ 114 h 129"/>
                  <a:gd name="T116" fmla="*/ 1003 w 3100"/>
                  <a:gd name="T117" fmla="*/ 117 h 129"/>
                  <a:gd name="T118" fmla="*/ 1214 w 3100"/>
                  <a:gd name="T119" fmla="*/ 118 h 129"/>
                  <a:gd name="T120" fmla="*/ 1248 w 3100"/>
                  <a:gd name="T121" fmla="*/ 123 h 129"/>
                  <a:gd name="T122" fmla="*/ 1355 w 3100"/>
                  <a:gd name="T123" fmla="*/ 122 h 129"/>
                  <a:gd name="T124" fmla="*/ 1461 w 3100"/>
                  <a:gd name="T125"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0" h="129">
                    <a:moveTo>
                      <a:pt x="1539" y="128"/>
                    </a:moveTo>
                    <a:lnTo>
                      <a:pt x="1539" y="128"/>
                    </a:lnTo>
                    <a:cubicBezTo>
                      <a:pt x="1578" y="127"/>
                      <a:pt x="1629" y="123"/>
                      <a:pt x="1667" y="123"/>
                    </a:cubicBezTo>
                    <a:cubicBezTo>
                      <a:pt x="1676" y="119"/>
                      <a:pt x="1688" y="119"/>
                      <a:pt x="1700" y="118"/>
                    </a:cubicBezTo>
                    <a:lnTo>
                      <a:pt x="1702" y="123"/>
                    </a:lnTo>
                    <a:lnTo>
                      <a:pt x="1712" y="121"/>
                    </a:lnTo>
                    <a:cubicBezTo>
                      <a:pt x="1716" y="123"/>
                      <a:pt x="1704" y="123"/>
                      <a:pt x="1712" y="124"/>
                    </a:cubicBezTo>
                    <a:lnTo>
                      <a:pt x="1716" y="121"/>
                    </a:lnTo>
                    <a:cubicBezTo>
                      <a:pt x="1716" y="123"/>
                      <a:pt x="1742" y="122"/>
                      <a:pt x="1725" y="126"/>
                    </a:cubicBezTo>
                    <a:lnTo>
                      <a:pt x="1765" y="126"/>
                    </a:lnTo>
                    <a:cubicBezTo>
                      <a:pt x="1774" y="125"/>
                      <a:pt x="1770" y="121"/>
                      <a:pt x="1780" y="122"/>
                    </a:cubicBezTo>
                    <a:cubicBezTo>
                      <a:pt x="1782" y="124"/>
                      <a:pt x="1776" y="123"/>
                      <a:pt x="1777" y="125"/>
                    </a:cubicBezTo>
                    <a:cubicBezTo>
                      <a:pt x="1807" y="128"/>
                      <a:pt x="1811" y="114"/>
                      <a:pt x="1839" y="116"/>
                    </a:cubicBezTo>
                    <a:lnTo>
                      <a:pt x="1836" y="116"/>
                    </a:lnTo>
                    <a:cubicBezTo>
                      <a:pt x="1841" y="115"/>
                      <a:pt x="1850" y="115"/>
                      <a:pt x="1850" y="114"/>
                    </a:cubicBezTo>
                    <a:cubicBezTo>
                      <a:pt x="1846" y="109"/>
                      <a:pt x="1845" y="117"/>
                      <a:pt x="1837" y="114"/>
                    </a:cubicBezTo>
                    <a:cubicBezTo>
                      <a:pt x="1837" y="109"/>
                      <a:pt x="1847" y="111"/>
                      <a:pt x="1846" y="108"/>
                    </a:cubicBezTo>
                    <a:cubicBezTo>
                      <a:pt x="1853" y="109"/>
                      <a:pt x="1856" y="107"/>
                      <a:pt x="1862" y="106"/>
                    </a:cubicBezTo>
                    <a:cubicBezTo>
                      <a:pt x="1872" y="109"/>
                      <a:pt x="1885" y="106"/>
                      <a:pt x="1893" y="110"/>
                    </a:cubicBezTo>
                    <a:cubicBezTo>
                      <a:pt x="1897" y="108"/>
                      <a:pt x="1902" y="103"/>
                      <a:pt x="1912" y="103"/>
                    </a:cubicBezTo>
                    <a:cubicBezTo>
                      <a:pt x="1920" y="106"/>
                      <a:pt x="1911" y="106"/>
                      <a:pt x="1921" y="107"/>
                    </a:cubicBezTo>
                    <a:lnTo>
                      <a:pt x="1922" y="105"/>
                    </a:lnTo>
                    <a:cubicBezTo>
                      <a:pt x="1930" y="105"/>
                      <a:pt x="1929" y="106"/>
                      <a:pt x="1929" y="107"/>
                    </a:cubicBezTo>
                    <a:cubicBezTo>
                      <a:pt x="1937" y="107"/>
                      <a:pt x="1936" y="103"/>
                      <a:pt x="1947" y="104"/>
                    </a:cubicBezTo>
                    <a:lnTo>
                      <a:pt x="1941" y="107"/>
                    </a:lnTo>
                    <a:cubicBezTo>
                      <a:pt x="1949" y="106"/>
                      <a:pt x="1952" y="106"/>
                      <a:pt x="1963" y="106"/>
                    </a:cubicBezTo>
                    <a:cubicBezTo>
                      <a:pt x="1963" y="108"/>
                      <a:pt x="1958" y="108"/>
                      <a:pt x="1955" y="107"/>
                    </a:cubicBezTo>
                    <a:cubicBezTo>
                      <a:pt x="1961" y="111"/>
                      <a:pt x="1965" y="105"/>
                      <a:pt x="1969" y="106"/>
                    </a:cubicBezTo>
                    <a:cubicBezTo>
                      <a:pt x="1968" y="104"/>
                      <a:pt x="1960" y="104"/>
                      <a:pt x="1964" y="101"/>
                    </a:cubicBezTo>
                    <a:cubicBezTo>
                      <a:pt x="1969" y="102"/>
                      <a:pt x="1975" y="97"/>
                      <a:pt x="1979" y="100"/>
                    </a:cubicBezTo>
                    <a:lnTo>
                      <a:pt x="1973" y="103"/>
                    </a:lnTo>
                    <a:cubicBezTo>
                      <a:pt x="1985" y="100"/>
                      <a:pt x="1979" y="99"/>
                      <a:pt x="1993" y="100"/>
                    </a:cubicBezTo>
                    <a:cubicBezTo>
                      <a:pt x="1992" y="100"/>
                      <a:pt x="1992" y="101"/>
                      <a:pt x="1992" y="101"/>
                    </a:cubicBezTo>
                    <a:cubicBezTo>
                      <a:pt x="2000" y="98"/>
                      <a:pt x="2011" y="100"/>
                      <a:pt x="2024" y="100"/>
                    </a:cubicBezTo>
                    <a:lnTo>
                      <a:pt x="2021" y="101"/>
                    </a:lnTo>
                    <a:cubicBezTo>
                      <a:pt x="2026" y="100"/>
                      <a:pt x="2029" y="97"/>
                      <a:pt x="2031" y="97"/>
                    </a:cubicBezTo>
                    <a:cubicBezTo>
                      <a:pt x="2024" y="96"/>
                      <a:pt x="2026" y="95"/>
                      <a:pt x="2025" y="93"/>
                    </a:cubicBezTo>
                    <a:cubicBezTo>
                      <a:pt x="2035" y="97"/>
                      <a:pt x="2039" y="87"/>
                      <a:pt x="2055" y="89"/>
                    </a:cubicBezTo>
                    <a:cubicBezTo>
                      <a:pt x="2055" y="90"/>
                      <a:pt x="2051" y="92"/>
                      <a:pt x="2047" y="91"/>
                    </a:cubicBezTo>
                    <a:cubicBezTo>
                      <a:pt x="2042" y="96"/>
                      <a:pt x="2041" y="100"/>
                      <a:pt x="2032" y="102"/>
                    </a:cubicBezTo>
                    <a:cubicBezTo>
                      <a:pt x="2038" y="101"/>
                      <a:pt x="2045" y="100"/>
                      <a:pt x="2043" y="102"/>
                    </a:cubicBezTo>
                    <a:lnTo>
                      <a:pt x="2045" y="98"/>
                    </a:lnTo>
                    <a:cubicBezTo>
                      <a:pt x="2048" y="97"/>
                      <a:pt x="2051" y="97"/>
                      <a:pt x="2054" y="97"/>
                    </a:cubicBezTo>
                    <a:cubicBezTo>
                      <a:pt x="2055" y="95"/>
                      <a:pt x="2046" y="93"/>
                      <a:pt x="2054" y="91"/>
                    </a:cubicBezTo>
                    <a:cubicBezTo>
                      <a:pt x="2063" y="89"/>
                      <a:pt x="2059" y="95"/>
                      <a:pt x="2061" y="93"/>
                    </a:cubicBezTo>
                    <a:cubicBezTo>
                      <a:pt x="2073" y="91"/>
                      <a:pt x="2066" y="88"/>
                      <a:pt x="2078" y="89"/>
                    </a:cubicBezTo>
                    <a:cubicBezTo>
                      <a:pt x="2077" y="90"/>
                      <a:pt x="2074" y="90"/>
                      <a:pt x="2073" y="90"/>
                    </a:cubicBezTo>
                    <a:cubicBezTo>
                      <a:pt x="2082" y="91"/>
                      <a:pt x="2095" y="88"/>
                      <a:pt x="2097" y="93"/>
                    </a:cubicBezTo>
                    <a:cubicBezTo>
                      <a:pt x="2096" y="94"/>
                      <a:pt x="2096" y="96"/>
                      <a:pt x="2093" y="96"/>
                    </a:cubicBezTo>
                    <a:lnTo>
                      <a:pt x="2093" y="95"/>
                    </a:lnTo>
                    <a:cubicBezTo>
                      <a:pt x="2083" y="99"/>
                      <a:pt x="2101" y="93"/>
                      <a:pt x="2098" y="98"/>
                    </a:cubicBezTo>
                    <a:cubicBezTo>
                      <a:pt x="2097" y="95"/>
                      <a:pt x="2109" y="95"/>
                      <a:pt x="2115" y="96"/>
                    </a:cubicBezTo>
                    <a:lnTo>
                      <a:pt x="2113" y="93"/>
                    </a:lnTo>
                    <a:cubicBezTo>
                      <a:pt x="2131" y="82"/>
                      <a:pt x="2112" y="99"/>
                      <a:pt x="2130" y="97"/>
                    </a:cubicBezTo>
                    <a:cubicBezTo>
                      <a:pt x="2142" y="94"/>
                      <a:pt x="2126" y="96"/>
                      <a:pt x="2133" y="93"/>
                    </a:cubicBezTo>
                    <a:cubicBezTo>
                      <a:pt x="2140" y="94"/>
                      <a:pt x="2144" y="96"/>
                      <a:pt x="2155" y="94"/>
                    </a:cubicBezTo>
                    <a:cubicBezTo>
                      <a:pt x="2158" y="95"/>
                      <a:pt x="2164" y="97"/>
                      <a:pt x="2165" y="100"/>
                    </a:cubicBezTo>
                    <a:cubicBezTo>
                      <a:pt x="2172" y="98"/>
                      <a:pt x="2186" y="100"/>
                      <a:pt x="2190" y="97"/>
                    </a:cubicBezTo>
                    <a:cubicBezTo>
                      <a:pt x="2178" y="94"/>
                      <a:pt x="2178" y="101"/>
                      <a:pt x="2164" y="97"/>
                    </a:cubicBezTo>
                    <a:lnTo>
                      <a:pt x="2168" y="94"/>
                    </a:lnTo>
                    <a:cubicBezTo>
                      <a:pt x="2178" y="93"/>
                      <a:pt x="2190" y="91"/>
                      <a:pt x="2196" y="92"/>
                    </a:cubicBezTo>
                    <a:cubicBezTo>
                      <a:pt x="2195" y="91"/>
                      <a:pt x="2194" y="90"/>
                      <a:pt x="2195" y="89"/>
                    </a:cubicBezTo>
                    <a:cubicBezTo>
                      <a:pt x="2208" y="87"/>
                      <a:pt x="2212" y="84"/>
                      <a:pt x="2225" y="84"/>
                    </a:cubicBezTo>
                    <a:cubicBezTo>
                      <a:pt x="2227" y="87"/>
                      <a:pt x="2219" y="87"/>
                      <a:pt x="2214" y="87"/>
                    </a:cubicBezTo>
                    <a:cubicBezTo>
                      <a:pt x="2223" y="89"/>
                      <a:pt x="2223" y="87"/>
                      <a:pt x="2236" y="87"/>
                    </a:cubicBezTo>
                    <a:cubicBezTo>
                      <a:pt x="2237" y="90"/>
                      <a:pt x="2227" y="88"/>
                      <a:pt x="2226" y="90"/>
                    </a:cubicBezTo>
                    <a:lnTo>
                      <a:pt x="2240" y="89"/>
                    </a:lnTo>
                    <a:cubicBezTo>
                      <a:pt x="2240" y="89"/>
                      <a:pt x="2240" y="89"/>
                      <a:pt x="2240" y="89"/>
                    </a:cubicBezTo>
                    <a:cubicBezTo>
                      <a:pt x="2242" y="84"/>
                      <a:pt x="2251" y="89"/>
                      <a:pt x="2260" y="87"/>
                    </a:cubicBezTo>
                    <a:cubicBezTo>
                      <a:pt x="2281" y="86"/>
                      <a:pt x="2284" y="79"/>
                      <a:pt x="2296" y="75"/>
                    </a:cubicBezTo>
                    <a:cubicBezTo>
                      <a:pt x="2299" y="76"/>
                      <a:pt x="2300" y="77"/>
                      <a:pt x="2299" y="78"/>
                    </a:cubicBezTo>
                    <a:cubicBezTo>
                      <a:pt x="2293" y="76"/>
                      <a:pt x="2294" y="78"/>
                      <a:pt x="2293" y="79"/>
                    </a:cubicBezTo>
                    <a:cubicBezTo>
                      <a:pt x="2300" y="78"/>
                      <a:pt x="2308" y="83"/>
                      <a:pt x="2305" y="85"/>
                    </a:cubicBezTo>
                    <a:cubicBezTo>
                      <a:pt x="2316" y="83"/>
                      <a:pt x="2300" y="83"/>
                      <a:pt x="2307" y="81"/>
                    </a:cubicBezTo>
                    <a:lnTo>
                      <a:pt x="2323" y="80"/>
                    </a:lnTo>
                    <a:cubicBezTo>
                      <a:pt x="2321" y="78"/>
                      <a:pt x="2315" y="78"/>
                      <a:pt x="2323" y="75"/>
                    </a:cubicBezTo>
                    <a:cubicBezTo>
                      <a:pt x="2330" y="74"/>
                      <a:pt x="2333" y="75"/>
                      <a:pt x="2342" y="74"/>
                    </a:cubicBezTo>
                    <a:cubicBezTo>
                      <a:pt x="2341" y="75"/>
                      <a:pt x="2345" y="78"/>
                      <a:pt x="2338" y="78"/>
                    </a:cubicBezTo>
                    <a:cubicBezTo>
                      <a:pt x="2343" y="78"/>
                      <a:pt x="2349" y="78"/>
                      <a:pt x="2352" y="76"/>
                    </a:cubicBezTo>
                    <a:cubicBezTo>
                      <a:pt x="2342" y="74"/>
                      <a:pt x="2367" y="73"/>
                      <a:pt x="2360" y="69"/>
                    </a:cubicBezTo>
                    <a:lnTo>
                      <a:pt x="2370" y="71"/>
                    </a:lnTo>
                    <a:cubicBezTo>
                      <a:pt x="2368" y="71"/>
                      <a:pt x="2367" y="73"/>
                      <a:pt x="2364" y="72"/>
                    </a:cubicBezTo>
                    <a:cubicBezTo>
                      <a:pt x="2367" y="76"/>
                      <a:pt x="2372" y="71"/>
                      <a:pt x="2375" y="70"/>
                    </a:cubicBezTo>
                    <a:cubicBezTo>
                      <a:pt x="2379" y="71"/>
                      <a:pt x="2388" y="70"/>
                      <a:pt x="2388" y="72"/>
                    </a:cubicBezTo>
                    <a:cubicBezTo>
                      <a:pt x="2391" y="71"/>
                      <a:pt x="2399" y="71"/>
                      <a:pt x="2400" y="73"/>
                    </a:cubicBezTo>
                    <a:cubicBezTo>
                      <a:pt x="2405" y="72"/>
                      <a:pt x="2401" y="70"/>
                      <a:pt x="2402" y="69"/>
                    </a:cubicBezTo>
                    <a:lnTo>
                      <a:pt x="2417" y="68"/>
                    </a:lnTo>
                    <a:cubicBezTo>
                      <a:pt x="2418" y="70"/>
                      <a:pt x="2420" y="76"/>
                      <a:pt x="2418" y="76"/>
                    </a:cubicBezTo>
                    <a:cubicBezTo>
                      <a:pt x="2423" y="74"/>
                      <a:pt x="2419" y="71"/>
                      <a:pt x="2428" y="70"/>
                    </a:cubicBezTo>
                    <a:cubicBezTo>
                      <a:pt x="2423" y="74"/>
                      <a:pt x="2440" y="72"/>
                      <a:pt x="2433" y="77"/>
                    </a:cubicBezTo>
                    <a:cubicBezTo>
                      <a:pt x="2438" y="80"/>
                      <a:pt x="2453" y="79"/>
                      <a:pt x="2461" y="77"/>
                    </a:cubicBezTo>
                    <a:cubicBezTo>
                      <a:pt x="2465" y="74"/>
                      <a:pt x="2452" y="76"/>
                      <a:pt x="2452" y="73"/>
                    </a:cubicBezTo>
                    <a:cubicBezTo>
                      <a:pt x="2475" y="70"/>
                      <a:pt x="2475" y="62"/>
                      <a:pt x="2492" y="62"/>
                    </a:cubicBezTo>
                    <a:lnTo>
                      <a:pt x="2487" y="61"/>
                    </a:lnTo>
                    <a:cubicBezTo>
                      <a:pt x="2498" y="59"/>
                      <a:pt x="2496" y="59"/>
                      <a:pt x="2502" y="56"/>
                    </a:cubicBezTo>
                    <a:cubicBezTo>
                      <a:pt x="2500" y="60"/>
                      <a:pt x="2515" y="66"/>
                      <a:pt x="2531" y="64"/>
                    </a:cubicBezTo>
                    <a:cubicBezTo>
                      <a:pt x="2533" y="62"/>
                      <a:pt x="2522" y="61"/>
                      <a:pt x="2524" y="58"/>
                    </a:cubicBezTo>
                    <a:lnTo>
                      <a:pt x="2535" y="56"/>
                    </a:lnTo>
                    <a:cubicBezTo>
                      <a:pt x="2536" y="56"/>
                      <a:pt x="2535" y="57"/>
                      <a:pt x="2534" y="58"/>
                    </a:cubicBezTo>
                    <a:cubicBezTo>
                      <a:pt x="2543" y="56"/>
                      <a:pt x="2553" y="61"/>
                      <a:pt x="2555" y="57"/>
                    </a:cubicBezTo>
                    <a:lnTo>
                      <a:pt x="2566" y="62"/>
                    </a:lnTo>
                    <a:lnTo>
                      <a:pt x="2561" y="59"/>
                    </a:lnTo>
                    <a:cubicBezTo>
                      <a:pt x="2563" y="57"/>
                      <a:pt x="2574" y="56"/>
                      <a:pt x="2576" y="55"/>
                    </a:cubicBezTo>
                    <a:cubicBezTo>
                      <a:pt x="2587" y="52"/>
                      <a:pt x="2592" y="54"/>
                      <a:pt x="2598" y="56"/>
                    </a:cubicBezTo>
                    <a:cubicBezTo>
                      <a:pt x="2596" y="54"/>
                      <a:pt x="2591" y="51"/>
                      <a:pt x="2600" y="50"/>
                    </a:cubicBezTo>
                    <a:cubicBezTo>
                      <a:pt x="2600" y="56"/>
                      <a:pt x="2619" y="51"/>
                      <a:pt x="2619" y="54"/>
                    </a:cubicBezTo>
                    <a:cubicBezTo>
                      <a:pt x="2622" y="53"/>
                      <a:pt x="2629" y="55"/>
                      <a:pt x="2629" y="52"/>
                    </a:cubicBezTo>
                    <a:lnTo>
                      <a:pt x="2629" y="56"/>
                    </a:lnTo>
                    <a:cubicBezTo>
                      <a:pt x="2629" y="51"/>
                      <a:pt x="2643" y="50"/>
                      <a:pt x="2653" y="48"/>
                    </a:cubicBezTo>
                    <a:cubicBezTo>
                      <a:pt x="2651" y="56"/>
                      <a:pt x="2664" y="47"/>
                      <a:pt x="2669" y="53"/>
                    </a:cubicBezTo>
                    <a:cubicBezTo>
                      <a:pt x="2670" y="48"/>
                      <a:pt x="2687" y="50"/>
                      <a:pt x="2688" y="46"/>
                    </a:cubicBezTo>
                    <a:cubicBezTo>
                      <a:pt x="2696" y="45"/>
                      <a:pt x="2696" y="49"/>
                      <a:pt x="2698" y="51"/>
                    </a:cubicBezTo>
                    <a:lnTo>
                      <a:pt x="2701" y="49"/>
                    </a:lnTo>
                    <a:cubicBezTo>
                      <a:pt x="2705" y="51"/>
                      <a:pt x="2720" y="50"/>
                      <a:pt x="2729" y="51"/>
                    </a:cubicBezTo>
                    <a:lnTo>
                      <a:pt x="2737" y="46"/>
                    </a:lnTo>
                    <a:lnTo>
                      <a:pt x="2740" y="48"/>
                    </a:lnTo>
                    <a:cubicBezTo>
                      <a:pt x="2741" y="47"/>
                      <a:pt x="2748" y="45"/>
                      <a:pt x="2743" y="44"/>
                    </a:cubicBezTo>
                    <a:lnTo>
                      <a:pt x="2748" y="44"/>
                    </a:lnTo>
                    <a:cubicBezTo>
                      <a:pt x="2748" y="39"/>
                      <a:pt x="2754" y="42"/>
                      <a:pt x="2762" y="40"/>
                    </a:cubicBezTo>
                    <a:cubicBezTo>
                      <a:pt x="2765" y="40"/>
                      <a:pt x="2764" y="41"/>
                      <a:pt x="2762" y="42"/>
                    </a:cubicBezTo>
                    <a:cubicBezTo>
                      <a:pt x="2767" y="42"/>
                      <a:pt x="2765" y="44"/>
                      <a:pt x="2767" y="46"/>
                    </a:cubicBezTo>
                    <a:cubicBezTo>
                      <a:pt x="2764" y="45"/>
                      <a:pt x="2783" y="36"/>
                      <a:pt x="2771" y="35"/>
                    </a:cubicBezTo>
                    <a:cubicBezTo>
                      <a:pt x="2770" y="33"/>
                      <a:pt x="2776" y="31"/>
                      <a:pt x="2781" y="31"/>
                    </a:cubicBezTo>
                    <a:lnTo>
                      <a:pt x="2784" y="36"/>
                    </a:lnTo>
                    <a:lnTo>
                      <a:pt x="2789" y="31"/>
                    </a:lnTo>
                    <a:cubicBezTo>
                      <a:pt x="2795" y="29"/>
                      <a:pt x="2798" y="32"/>
                      <a:pt x="2804" y="32"/>
                    </a:cubicBezTo>
                    <a:cubicBezTo>
                      <a:pt x="2798" y="33"/>
                      <a:pt x="2792" y="41"/>
                      <a:pt x="2806" y="40"/>
                    </a:cubicBezTo>
                    <a:cubicBezTo>
                      <a:pt x="2799" y="41"/>
                      <a:pt x="2795" y="44"/>
                      <a:pt x="2792" y="45"/>
                    </a:cubicBezTo>
                    <a:cubicBezTo>
                      <a:pt x="2795" y="45"/>
                      <a:pt x="2796" y="45"/>
                      <a:pt x="2792" y="48"/>
                    </a:cubicBezTo>
                    <a:cubicBezTo>
                      <a:pt x="2803" y="45"/>
                      <a:pt x="2795" y="45"/>
                      <a:pt x="2806" y="43"/>
                    </a:cubicBezTo>
                    <a:cubicBezTo>
                      <a:pt x="2806" y="47"/>
                      <a:pt x="2809" y="48"/>
                      <a:pt x="2819" y="49"/>
                    </a:cubicBezTo>
                    <a:lnTo>
                      <a:pt x="2811" y="46"/>
                    </a:lnTo>
                    <a:cubicBezTo>
                      <a:pt x="2812" y="46"/>
                      <a:pt x="2812" y="46"/>
                      <a:pt x="2813" y="45"/>
                    </a:cubicBezTo>
                    <a:cubicBezTo>
                      <a:pt x="2810" y="45"/>
                      <a:pt x="2809" y="45"/>
                      <a:pt x="2808" y="43"/>
                    </a:cubicBezTo>
                    <a:cubicBezTo>
                      <a:pt x="2811" y="43"/>
                      <a:pt x="2821" y="37"/>
                      <a:pt x="2823" y="39"/>
                    </a:cubicBezTo>
                    <a:cubicBezTo>
                      <a:pt x="2811" y="34"/>
                      <a:pt x="2842" y="33"/>
                      <a:pt x="2835" y="30"/>
                    </a:cubicBezTo>
                    <a:cubicBezTo>
                      <a:pt x="2836" y="29"/>
                      <a:pt x="2844" y="28"/>
                      <a:pt x="2845" y="30"/>
                    </a:cubicBezTo>
                    <a:cubicBezTo>
                      <a:pt x="2836" y="34"/>
                      <a:pt x="2852" y="34"/>
                      <a:pt x="2851" y="37"/>
                    </a:cubicBezTo>
                    <a:cubicBezTo>
                      <a:pt x="2854" y="35"/>
                      <a:pt x="2843" y="34"/>
                      <a:pt x="2848" y="33"/>
                    </a:cubicBezTo>
                    <a:cubicBezTo>
                      <a:pt x="2853" y="32"/>
                      <a:pt x="2858" y="34"/>
                      <a:pt x="2861" y="35"/>
                    </a:cubicBezTo>
                    <a:lnTo>
                      <a:pt x="2859" y="36"/>
                    </a:lnTo>
                    <a:lnTo>
                      <a:pt x="2867" y="37"/>
                    </a:lnTo>
                    <a:cubicBezTo>
                      <a:pt x="2869" y="35"/>
                      <a:pt x="2859" y="34"/>
                      <a:pt x="2867" y="33"/>
                    </a:cubicBezTo>
                    <a:cubicBezTo>
                      <a:pt x="2869" y="33"/>
                      <a:pt x="2877" y="32"/>
                      <a:pt x="2876" y="33"/>
                    </a:cubicBezTo>
                    <a:cubicBezTo>
                      <a:pt x="2873" y="36"/>
                      <a:pt x="2876" y="39"/>
                      <a:pt x="2869" y="41"/>
                    </a:cubicBezTo>
                    <a:cubicBezTo>
                      <a:pt x="2875" y="40"/>
                      <a:pt x="2893" y="38"/>
                      <a:pt x="2885" y="35"/>
                    </a:cubicBezTo>
                    <a:lnTo>
                      <a:pt x="2892" y="35"/>
                    </a:lnTo>
                    <a:cubicBezTo>
                      <a:pt x="2887" y="33"/>
                      <a:pt x="2875" y="31"/>
                      <a:pt x="2889" y="30"/>
                    </a:cubicBezTo>
                    <a:lnTo>
                      <a:pt x="2889" y="31"/>
                    </a:lnTo>
                    <a:lnTo>
                      <a:pt x="2898" y="27"/>
                    </a:lnTo>
                    <a:lnTo>
                      <a:pt x="2902" y="29"/>
                    </a:lnTo>
                    <a:cubicBezTo>
                      <a:pt x="2902" y="28"/>
                      <a:pt x="2903" y="27"/>
                      <a:pt x="2907" y="26"/>
                    </a:cubicBezTo>
                    <a:cubicBezTo>
                      <a:pt x="2908" y="27"/>
                      <a:pt x="2911" y="28"/>
                      <a:pt x="2911" y="29"/>
                    </a:cubicBezTo>
                    <a:cubicBezTo>
                      <a:pt x="2921" y="28"/>
                      <a:pt x="2920" y="26"/>
                      <a:pt x="2921" y="25"/>
                    </a:cubicBezTo>
                    <a:cubicBezTo>
                      <a:pt x="2927" y="24"/>
                      <a:pt x="2929" y="25"/>
                      <a:pt x="2926" y="27"/>
                    </a:cubicBezTo>
                    <a:cubicBezTo>
                      <a:pt x="2934" y="27"/>
                      <a:pt x="2947" y="26"/>
                      <a:pt x="2953" y="27"/>
                    </a:cubicBezTo>
                    <a:cubicBezTo>
                      <a:pt x="2963" y="25"/>
                      <a:pt x="2951" y="27"/>
                      <a:pt x="2956" y="24"/>
                    </a:cubicBezTo>
                    <a:cubicBezTo>
                      <a:pt x="2966" y="30"/>
                      <a:pt x="2991" y="24"/>
                      <a:pt x="3007" y="21"/>
                    </a:cubicBezTo>
                    <a:cubicBezTo>
                      <a:pt x="3002" y="16"/>
                      <a:pt x="3012" y="20"/>
                      <a:pt x="3014" y="15"/>
                    </a:cubicBezTo>
                    <a:cubicBezTo>
                      <a:pt x="3011" y="17"/>
                      <a:pt x="3031" y="18"/>
                      <a:pt x="3016" y="21"/>
                    </a:cubicBezTo>
                    <a:lnTo>
                      <a:pt x="3025" y="19"/>
                    </a:lnTo>
                    <a:cubicBezTo>
                      <a:pt x="3031" y="22"/>
                      <a:pt x="3010" y="23"/>
                      <a:pt x="3020" y="27"/>
                    </a:cubicBezTo>
                    <a:cubicBezTo>
                      <a:pt x="3030" y="26"/>
                      <a:pt x="3036" y="19"/>
                      <a:pt x="3048" y="20"/>
                    </a:cubicBezTo>
                    <a:cubicBezTo>
                      <a:pt x="3044" y="24"/>
                      <a:pt x="3057" y="18"/>
                      <a:pt x="3054" y="23"/>
                    </a:cubicBezTo>
                    <a:cubicBezTo>
                      <a:pt x="3052" y="24"/>
                      <a:pt x="3049" y="24"/>
                      <a:pt x="3045" y="25"/>
                    </a:cubicBezTo>
                    <a:lnTo>
                      <a:pt x="3048" y="25"/>
                    </a:lnTo>
                    <a:cubicBezTo>
                      <a:pt x="3070" y="25"/>
                      <a:pt x="3054" y="20"/>
                      <a:pt x="3065" y="16"/>
                    </a:cubicBezTo>
                    <a:cubicBezTo>
                      <a:pt x="3078" y="14"/>
                      <a:pt x="3076" y="18"/>
                      <a:pt x="3077" y="20"/>
                    </a:cubicBezTo>
                    <a:cubicBezTo>
                      <a:pt x="3079" y="21"/>
                      <a:pt x="3085" y="20"/>
                      <a:pt x="3089" y="18"/>
                    </a:cubicBezTo>
                    <a:cubicBezTo>
                      <a:pt x="3081" y="22"/>
                      <a:pt x="3074" y="17"/>
                      <a:pt x="3077" y="14"/>
                    </a:cubicBezTo>
                    <a:cubicBezTo>
                      <a:pt x="3083" y="18"/>
                      <a:pt x="3097" y="13"/>
                      <a:pt x="3100" y="11"/>
                    </a:cubicBezTo>
                    <a:cubicBezTo>
                      <a:pt x="3081" y="7"/>
                      <a:pt x="3087" y="11"/>
                      <a:pt x="3069" y="8"/>
                    </a:cubicBezTo>
                    <a:cubicBezTo>
                      <a:pt x="3066" y="9"/>
                      <a:pt x="3067" y="14"/>
                      <a:pt x="3056" y="13"/>
                    </a:cubicBezTo>
                    <a:cubicBezTo>
                      <a:pt x="3063" y="10"/>
                      <a:pt x="3056" y="10"/>
                      <a:pt x="3054" y="10"/>
                    </a:cubicBezTo>
                    <a:cubicBezTo>
                      <a:pt x="3056" y="12"/>
                      <a:pt x="3046" y="11"/>
                      <a:pt x="3043" y="13"/>
                    </a:cubicBezTo>
                    <a:cubicBezTo>
                      <a:pt x="3040" y="11"/>
                      <a:pt x="3049" y="7"/>
                      <a:pt x="3038" y="6"/>
                    </a:cubicBezTo>
                    <a:lnTo>
                      <a:pt x="3036" y="12"/>
                    </a:lnTo>
                    <a:cubicBezTo>
                      <a:pt x="3032" y="12"/>
                      <a:pt x="3038" y="8"/>
                      <a:pt x="3029" y="10"/>
                    </a:cubicBezTo>
                    <a:cubicBezTo>
                      <a:pt x="3034" y="7"/>
                      <a:pt x="3027" y="6"/>
                      <a:pt x="3039" y="4"/>
                    </a:cubicBezTo>
                    <a:cubicBezTo>
                      <a:pt x="3024" y="0"/>
                      <a:pt x="3017" y="8"/>
                      <a:pt x="3006" y="11"/>
                    </a:cubicBezTo>
                    <a:cubicBezTo>
                      <a:pt x="3007" y="11"/>
                      <a:pt x="3007" y="10"/>
                      <a:pt x="3008" y="10"/>
                    </a:cubicBezTo>
                    <a:cubicBezTo>
                      <a:pt x="3006" y="11"/>
                      <a:pt x="3001" y="12"/>
                      <a:pt x="2998" y="12"/>
                    </a:cubicBezTo>
                    <a:cubicBezTo>
                      <a:pt x="2990" y="11"/>
                      <a:pt x="3004" y="9"/>
                      <a:pt x="3002" y="8"/>
                    </a:cubicBezTo>
                    <a:lnTo>
                      <a:pt x="2989" y="9"/>
                    </a:lnTo>
                    <a:cubicBezTo>
                      <a:pt x="2989" y="9"/>
                      <a:pt x="2989" y="9"/>
                      <a:pt x="2989" y="8"/>
                    </a:cubicBezTo>
                    <a:cubicBezTo>
                      <a:pt x="2986" y="9"/>
                      <a:pt x="2983" y="10"/>
                      <a:pt x="2982" y="9"/>
                    </a:cubicBezTo>
                    <a:cubicBezTo>
                      <a:pt x="2985" y="7"/>
                      <a:pt x="2987" y="5"/>
                      <a:pt x="2989" y="3"/>
                    </a:cubicBezTo>
                    <a:lnTo>
                      <a:pt x="2976" y="8"/>
                    </a:lnTo>
                    <a:cubicBezTo>
                      <a:pt x="2978" y="6"/>
                      <a:pt x="2966" y="6"/>
                      <a:pt x="2974" y="3"/>
                    </a:cubicBezTo>
                    <a:lnTo>
                      <a:pt x="2956" y="6"/>
                    </a:lnTo>
                    <a:lnTo>
                      <a:pt x="2954" y="2"/>
                    </a:lnTo>
                    <a:cubicBezTo>
                      <a:pt x="2949" y="3"/>
                      <a:pt x="2949" y="4"/>
                      <a:pt x="2955" y="4"/>
                    </a:cubicBezTo>
                    <a:cubicBezTo>
                      <a:pt x="2948" y="4"/>
                      <a:pt x="2926" y="13"/>
                      <a:pt x="2929" y="5"/>
                    </a:cubicBezTo>
                    <a:cubicBezTo>
                      <a:pt x="2915" y="10"/>
                      <a:pt x="2909" y="9"/>
                      <a:pt x="2891" y="12"/>
                    </a:cubicBezTo>
                    <a:cubicBezTo>
                      <a:pt x="2905" y="7"/>
                      <a:pt x="2875" y="9"/>
                      <a:pt x="2890" y="6"/>
                    </a:cubicBezTo>
                    <a:cubicBezTo>
                      <a:pt x="2881" y="5"/>
                      <a:pt x="2879" y="9"/>
                      <a:pt x="2873" y="10"/>
                    </a:cubicBezTo>
                    <a:cubicBezTo>
                      <a:pt x="2866" y="9"/>
                      <a:pt x="2869" y="5"/>
                      <a:pt x="2876" y="3"/>
                    </a:cubicBezTo>
                    <a:lnTo>
                      <a:pt x="2868" y="6"/>
                    </a:lnTo>
                    <a:lnTo>
                      <a:pt x="2868" y="5"/>
                    </a:lnTo>
                    <a:lnTo>
                      <a:pt x="2861" y="8"/>
                    </a:lnTo>
                    <a:cubicBezTo>
                      <a:pt x="2853" y="6"/>
                      <a:pt x="2859" y="4"/>
                      <a:pt x="2851" y="4"/>
                    </a:cubicBezTo>
                    <a:lnTo>
                      <a:pt x="2850" y="8"/>
                    </a:lnTo>
                    <a:lnTo>
                      <a:pt x="2844" y="6"/>
                    </a:lnTo>
                    <a:cubicBezTo>
                      <a:pt x="2847" y="7"/>
                      <a:pt x="2842" y="8"/>
                      <a:pt x="2837" y="9"/>
                    </a:cubicBezTo>
                    <a:lnTo>
                      <a:pt x="2837" y="8"/>
                    </a:lnTo>
                    <a:lnTo>
                      <a:pt x="2830" y="10"/>
                    </a:lnTo>
                    <a:cubicBezTo>
                      <a:pt x="2836" y="7"/>
                      <a:pt x="2824" y="9"/>
                      <a:pt x="2827" y="7"/>
                    </a:cubicBezTo>
                    <a:cubicBezTo>
                      <a:pt x="2821" y="7"/>
                      <a:pt x="2821" y="7"/>
                      <a:pt x="2810" y="8"/>
                    </a:cubicBezTo>
                    <a:lnTo>
                      <a:pt x="2812" y="11"/>
                    </a:lnTo>
                    <a:cubicBezTo>
                      <a:pt x="2799" y="14"/>
                      <a:pt x="2811" y="7"/>
                      <a:pt x="2800" y="8"/>
                    </a:cubicBezTo>
                    <a:lnTo>
                      <a:pt x="2801" y="10"/>
                    </a:lnTo>
                    <a:cubicBezTo>
                      <a:pt x="2785" y="7"/>
                      <a:pt x="2774" y="15"/>
                      <a:pt x="2762" y="13"/>
                    </a:cubicBezTo>
                    <a:cubicBezTo>
                      <a:pt x="2769" y="12"/>
                      <a:pt x="2767" y="9"/>
                      <a:pt x="2767" y="10"/>
                    </a:cubicBezTo>
                    <a:cubicBezTo>
                      <a:pt x="2757" y="11"/>
                      <a:pt x="2741" y="12"/>
                      <a:pt x="2730" y="16"/>
                    </a:cubicBezTo>
                    <a:cubicBezTo>
                      <a:pt x="2726" y="12"/>
                      <a:pt x="2725" y="11"/>
                      <a:pt x="2714" y="10"/>
                    </a:cubicBezTo>
                    <a:cubicBezTo>
                      <a:pt x="2707" y="11"/>
                      <a:pt x="2705" y="12"/>
                      <a:pt x="2703" y="14"/>
                    </a:cubicBezTo>
                    <a:cubicBezTo>
                      <a:pt x="2695" y="13"/>
                      <a:pt x="2681" y="16"/>
                      <a:pt x="2681" y="14"/>
                    </a:cubicBezTo>
                    <a:cubicBezTo>
                      <a:pt x="2679" y="16"/>
                      <a:pt x="2674" y="14"/>
                      <a:pt x="2670" y="16"/>
                    </a:cubicBezTo>
                    <a:lnTo>
                      <a:pt x="2669" y="15"/>
                    </a:lnTo>
                    <a:lnTo>
                      <a:pt x="2670" y="17"/>
                    </a:lnTo>
                    <a:cubicBezTo>
                      <a:pt x="2656" y="12"/>
                      <a:pt x="2647" y="23"/>
                      <a:pt x="2633" y="18"/>
                    </a:cubicBezTo>
                    <a:lnTo>
                      <a:pt x="2636" y="17"/>
                    </a:lnTo>
                    <a:lnTo>
                      <a:pt x="2630" y="19"/>
                    </a:lnTo>
                    <a:cubicBezTo>
                      <a:pt x="2629" y="18"/>
                      <a:pt x="2631" y="17"/>
                      <a:pt x="2631" y="15"/>
                    </a:cubicBezTo>
                    <a:lnTo>
                      <a:pt x="2605" y="17"/>
                    </a:lnTo>
                    <a:lnTo>
                      <a:pt x="2610" y="18"/>
                    </a:lnTo>
                    <a:cubicBezTo>
                      <a:pt x="2605" y="19"/>
                      <a:pt x="2601" y="22"/>
                      <a:pt x="2595" y="21"/>
                    </a:cubicBezTo>
                    <a:cubicBezTo>
                      <a:pt x="2605" y="16"/>
                      <a:pt x="2586" y="21"/>
                      <a:pt x="2584" y="18"/>
                    </a:cubicBezTo>
                    <a:lnTo>
                      <a:pt x="2589" y="17"/>
                    </a:lnTo>
                    <a:cubicBezTo>
                      <a:pt x="2582" y="18"/>
                      <a:pt x="2582" y="18"/>
                      <a:pt x="2582" y="20"/>
                    </a:cubicBezTo>
                    <a:cubicBezTo>
                      <a:pt x="2572" y="22"/>
                      <a:pt x="2575" y="16"/>
                      <a:pt x="2566" y="19"/>
                    </a:cubicBezTo>
                    <a:lnTo>
                      <a:pt x="2573" y="19"/>
                    </a:lnTo>
                    <a:cubicBezTo>
                      <a:pt x="2575" y="20"/>
                      <a:pt x="2570" y="23"/>
                      <a:pt x="2566" y="23"/>
                    </a:cubicBezTo>
                    <a:cubicBezTo>
                      <a:pt x="2565" y="23"/>
                      <a:pt x="2561" y="22"/>
                      <a:pt x="2565" y="21"/>
                    </a:cubicBezTo>
                    <a:cubicBezTo>
                      <a:pt x="2557" y="23"/>
                      <a:pt x="2545" y="22"/>
                      <a:pt x="2542" y="24"/>
                    </a:cubicBezTo>
                    <a:cubicBezTo>
                      <a:pt x="2537" y="23"/>
                      <a:pt x="2538" y="21"/>
                      <a:pt x="2541" y="20"/>
                    </a:cubicBezTo>
                    <a:cubicBezTo>
                      <a:pt x="2524" y="24"/>
                      <a:pt x="2533" y="20"/>
                      <a:pt x="2516" y="24"/>
                    </a:cubicBezTo>
                    <a:lnTo>
                      <a:pt x="2516" y="22"/>
                    </a:lnTo>
                    <a:lnTo>
                      <a:pt x="2511" y="24"/>
                    </a:lnTo>
                    <a:lnTo>
                      <a:pt x="2502" y="22"/>
                    </a:lnTo>
                    <a:lnTo>
                      <a:pt x="2505" y="23"/>
                    </a:lnTo>
                    <a:cubicBezTo>
                      <a:pt x="2500" y="24"/>
                      <a:pt x="2496" y="25"/>
                      <a:pt x="2490" y="25"/>
                    </a:cubicBezTo>
                    <a:lnTo>
                      <a:pt x="2492" y="23"/>
                    </a:lnTo>
                    <a:cubicBezTo>
                      <a:pt x="2476" y="25"/>
                      <a:pt x="2474" y="20"/>
                      <a:pt x="2459" y="24"/>
                    </a:cubicBezTo>
                    <a:cubicBezTo>
                      <a:pt x="2458" y="24"/>
                      <a:pt x="2460" y="23"/>
                      <a:pt x="2461" y="23"/>
                    </a:cubicBezTo>
                    <a:cubicBezTo>
                      <a:pt x="2448" y="27"/>
                      <a:pt x="2451" y="19"/>
                      <a:pt x="2437" y="25"/>
                    </a:cubicBezTo>
                    <a:cubicBezTo>
                      <a:pt x="2438" y="24"/>
                      <a:pt x="2436" y="23"/>
                      <a:pt x="2437" y="22"/>
                    </a:cubicBezTo>
                    <a:lnTo>
                      <a:pt x="2430" y="24"/>
                    </a:lnTo>
                    <a:lnTo>
                      <a:pt x="2431" y="21"/>
                    </a:lnTo>
                    <a:lnTo>
                      <a:pt x="2426" y="26"/>
                    </a:lnTo>
                    <a:lnTo>
                      <a:pt x="2422" y="23"/>
                    </a:lnTo>
                    <a:lnTo>
                      <a:pt x="2419" y="25"/>
                    </a:lnTo>
                    <a:cubicBezTo>
                      <a:pt x="2412" y="19"/>
                      <a:pt x="2403" y="24"/>
                      <a:pt x="2393" y="20"/>
                    </a:cubicBezTo>
                    <a:lnTo>
                      <a:pt x="2395" y="24"/>
                    </a:lnTo>
                    <a:cubicBezTo>
                      <a:pt x="2372" y="34"/>
                      <a:pt x="2341" y="23"/>
                      <a:pt x="2313" y="29"/>
                    </a:cubicBezTo>
                    <a:lnTo>
                      <a:pt x="2313" y="26"/>
                    </a:lnTo>
                    <a:lnTo>
                      <a:pt x="2302" y="30"/>
                    </a:lnTo>
                    <a:cubicBezTo>
                      <a:pt x="2296" y="28"/>
                      <a:pt x="2306" y="27"/>
                      <a:pt x="2304" y="26"/>
                    </a:cubicBezTo>
                    <a:cubicBezTo>
                      <a:pt x="2291" y="28"/>
                      <a:pt x="2299" y="31"/>
                      <a:pt x="2284" y="33"/>
                    </a:cubicBezTo>
                    <a:cubicBezTo>
                      <a:pt x="2277" y="31"/>
                      <a:pt x="2287" y="30"/>
                      <a:pt x="2290" y="29"/>
                    </a:cubicBezTo>
                    <a:cubicBezTo>
                      <a:pt x="2277" y="31"/>
                      <a:pt x="2257" y="34"/>
                      <a:pt x="2247" y="33"/>
                    </a:cubicBezTo>
                    <a:cubicBezTo>
                      <a:pt x="2247" y="34"/>
                      <a:pt x="2246" y="34"/>
                      <a:pt x="2247" y="34"/>
                    </a:cubicBezTo>
                    <a:cubicBezTo>
                      <a:pt x="2238" y="36"/>
                      <a:pt x="2226" y="36"/>
                      <a:pt x="2216" y="36"/>
                    </a:cubicBezTo>
                    <a:cubicBezTo>
                      <a:pt x="2216" y="35"/>
                      <a:pt x="2218" y="35"/>
                      <a:pt x="2221" y="34"/>
                    </a:cubicBezTo>
                    <a:cubicBezTo>
                      <a:pt x="2217" y="34"/>
                      <a:pt x="2212" y="33"/>
                      <a:pt x="2209" y="35"/>
                    </a:cubicBezTo>
                    <a:lnTo>
                      <a:pt x="2213" y="32"/>
                    </a:lnTo>
                    <a:cubicBezTo>
                      <a:pt x="2205" y="32"/>
                      <a:pt x="2190" y="36"/>
                      <a:pt x="2188" y="33"/>
                    </a:cubicBezTo>
                    <a:cubicBezTo>
                      <a:pt x="2189" y="34"/>
                      <a:pt x="2189" y="36"/>
                      <a:pt x="2183" y="36"/>
                    </a:cubicBezTo>
                    <a:cubicBezTo>
                      <a:pt x="2179" y="32"/>
                      <a:pt x="2165" y="39"/>
                      <a:pt x="2154" y="37"/>
                    </a:cubicBezTo>
                    <a:cubicBezTo>
                      <a:pt x="2155" y="36"/>
                      <a:pt x="2163" y="36"/>
                      <a:pt x="2161" y="36"/>
                    </a:cubicBezTo>
                    <a:cubicBezTo>
                      <a:pt x="2155" y="35"/>
                      <a:pt x="2151" y="37"/>
                      <a:pt x="2146" y="39"/>
                    </a:cubicBezTo>
                    <a:lnTo>
                      <a:pt x="2147" y="37"/>
                    </a:lnTo>
                    <a:lnTo>
                      <a:pt x="2123" y="41"/>
                    </a:lnTo>
                    <a:cubicBezTo>
                      <a:pt x="2119" y="36"/>
                      <a:pt x="2099" y="43"/>
                      <a:pt x="2101" y="39"/>
                    </a:cubicBezTo>
                    <a:cubicBezTo>
                      <a:pt x="2092" y="40"/>
                      <a:pt x="2108" y="41"/>
                      <a:pt x="2097" y="42"/>
                    </a:cubicBezTo>
                    <a:cubicBezTo>
                      <a:pt x="2094" y="40"/>
                      <a:pt x="2087" y="44"/>
                      <a:pt x="2088" y="41"/>
                    </a:cubicBezTo>
                    <a:lnTo>
                      <a:pt x="2089" y="40"/>
                    </a:lnTo>
                    <a:lnTo>
                      <a:pt x="2081" y="41"/>
                    </a:lnTo>
                    <a:lnTo>
                      <a:pt x="2086" y="38"/>
                    </a:lnTo>
                    <a:cubicBezTo>
                      <a:pt x="2079" y="39"/>
                      <a:pt x="2074" y="42"/>
                      <a:pt x="2074" y="44"/>
                    </a:cubicBezTo>
                    <a:cubicBezTo>
                      <a:pt x="2068" y="43"/>
                      <a:pt x="2059" y="45"/>
                      <a:pt x="2056" y="42"/>
                    </a:cubicBezTo>
                    <a:lnTo>
                      <a:pt x="2058" y="41"/>
                    </a:lnTo>
                    <a:cubicBezTo>
                      <a:pt x="2040" y="43"/>
                      <a:pt x="2028" y="34"/>
                      <a:pt x="2014" y="40"/>
                    </a:cubicBezTo>
                    <a:cubicBezTo>
                      <a:pt x="2013" y="40"/>
                      <a:pt x="2013" y="39"/>
                      <a:pt x="2015" y="39"/>
                    </a:cubicBezTo>
                    <a:lnTo>
                      <a:pt x="2004" y="39"/>
                    </a:lnTo>
                    <a:lnTo>
                      <a:pt x="2007" y="37"/>
                    </a:lnTo>
                    <a:lnTo>
                      <a:pt x="1989" y="41"/>
                    </a:lnTo>
                    <a:lnTo>
                      <a:pt x="1989" y="39"/>
                    </a:lnTo>
                    <a:cubicBezTo>
                      <a:pt x="1977" y="39"/>
                      <a:pt x="1958" y="41"/>
                      <a:pt x="1942" y="42"/>
                    </a:cubicBezTo>
                    <a:lnTo>
                      <a:pt x="1945" y="41"/>
                    </a:lnTo>
                    <a:cubicBezTo>
                      <a:pt x="1928" y="44"/>
                      <a:pt x="1928" y="40"/>
                      <a:pt x="1916" y="42"/>
                    </a:cubicBezTo>
                    <a:cubicBezTo>
                      <a:pt x="1916" y="42"/>
                      <a:pt x="1917" y="42"/>
                      <a:pt x="1917" y="41"/>
                    </a:cubicBezTo>
                    <a:lnTo>
                      <a:pt x="1906" y="42"/>
                    </a:lnTo>
                    <a:lnTo>
                      <a:pt x="1908" y="40"/>
                    </a:lnTo>
                    <a:cubicBezTo>
                      <a:pt x="1900" y="44"/>
                      <a:pt x="1884" y="37"/>
                      <a:pt x="1890" y="39"/>
                    </a:cubicBezTo>
                    <a:cubicBezTo>
                      <a:pt x="1885" y="41"/>
                      <a:pt x="1877" y="43"/>
                      <a:pt x="1876" y="45"/>
                    </a:cubicBezTo>
                    <a:cubicBezTo>
                      <a:pt x="1863" y="46"/>
                      <a:pt x="1873" y="43"/>
                      <a:pt x="1865" y="42"/>
                    </a:cubicBezTo>
                    <a:cubicBezTo>
                      <a:pt x="1856" y="42"/>
                      <a:pt x="1855" y="45"/>
                      <a:pt x="1843" y="44"/>
                    </a:cubicBezTo>
                    <a:lnTo>
                      <a:pt x="1843" y="42"/>
                    </a:lnTo>
                    <a:cubicBezTo>
                      <a:pt x="1837" y="43"/>
                      <a:pt x="1834" y="44"/>
                      <a:pt x="1826" y="44"/>
                    </a:cubicBezTo>
                    <a:lnTo>
                      <a:pt x="1828" y="43"/>
                    </a:lnTo>
                    <a:cubicBezTo>
                      <a:pt x="1816" y="47"/>
                      <a:pt x="1813" y="39"/>
                      <a:pt x="1803" y="46"/>
                    </a:cubicBezTo>
                    <a:cubicBezTo>
                      <a:pt x="1797" y="45"/>
                      <a:pt x="1787" y="46"/>
                      <a:pt x="1788" y="43"/>
                    </a:cubicBezTo>
                    <a:cubicBezTo>
                      <a:pt x="1772" y="45"/>
                      <a:pt x="1760" y="47"/>
                      <a:pt x="1744" y="48"/>
                    </a:cubicBezTo>
                    <a:cubicBezTo>
                      <a:pt x="1741" y="43"/>
                      <a:pt x="1741" y="49"/>
                      <a:pt x="1731" y="46"/>
                    </a:cubicBezTo>
                    <a:lnTo>
                      <a:pt x="1732" y="48"/>
                    </a:lnTo>
                    <a:cubicBezTo>
                      <a:pt x="1709" y="49"/>
                      <a:pt x="1684" y="43"/>
                      <a:pt x="1659" y="44"/>
                    </a:cubicBezTo>
                    <a:lnTo>
                      <a:pt x="1659" y="41"/>
                    </a:lnTo>
                    <a:lnTo>
                      <a:pt x="1654" y="44"/>
                    </a:lnTo>
                    <a:cubicBezTo>
                      <a:pt x="1627" y="43"/>
                      <a:pt x="1593" y="43"/>
                      <a:pt x="1572" y="43"/>
                    </a:cubicBezTo>
                    <a:cubicBezTo>
                      <a:pt x="1565" y="44"/>
                      <a:pt x="1555" y="47"/>
                      <a:pt x="1544" y="46"/>
                    </a:cubicBezTo>
                    <a:lnTo>
                      <a:pt x="1545" y="46"/>
                    </a:lnTo>
                    <a:cubicBezTo>
                      <a:pt x="1526" y="48"/>
                      <a:pt x="1506" y="49"/>
                      <a:pt x="1485" y="47"/>
                    </a:cubicBezTo>
                    <a:cubicBezTo>
                      <a:pt x="1486" y="46"/>
                      <a:pt x="1484" y="45"/>
                      <a:pt x="1487" y="45"/>
                    </a:cubicBezTo>
                    <a:cubicBezTo>
                      <a:pt x="1482" y="48"/>
                      <a:pt x="1474" y="45"/>
                      <a:pt x="1470" y="45"/>
                    </a:cubicBezTo>
                    <a:lnTo>
                      <a:pt x="1475" y="47"/>
                    </a:lnTo>
                    <a:cubicBezTo>
                      <a:pt x="1469" y="49"/>
                      <a:pt x="1461" y="47"/>
                      <a:pt x="1458" y="45"/>
                    </a:cubicBezTo>
                    <a:lnTo>
                      <a:pt x="1448" y="48"/>
                    </a:lnTo>
                    <a:cubicBezTo>
                      <a:pt x="1448" y="47"/>
                      <a:pt x="1447" y="47"/>
                      <a:pt x="1447" y="46"/>
                    </a:cubicBezTo>
                    <a:lnTo>
                      <a:pt x="1445" y="48"/>
                    </a:lnTo>
                    <a:lnTo>
                      <a:pt x="1440" y="44"/>
                    </a:lnTo>
                    <a:cubicBezTo>
                      <a:pt x="1438" y="45"/>
                      <a:pt x="1425" y="46"/>
                      <a:pt x="1421" y="49"/>
                    </a:cubicBezTo>
                    <a:cubicBezTo>
                      <a:pt x="1421" y="48"/>
                      <a:pt x="1412" y="47"/>
                      <a:pt x="1419" y="46"/>
                    </a:cubicBezTo>
                    <a:lnTo>
                      <a:pt x="1384" y="45"/>
                    </a:lnTo>
                    <a:lnTo>
                      <a:pt x="1390" y="46"/>
                    </a:lnTo>
                    <a:cubicBezTo>
                      <a:pt x="1390" y="49"/>
                      <a:pt x="1380" y="51"/>
                      <a:pt x="1375" y="50"/>
                    </a:cubicBezTo>
                    <a:cubicBezTo>
                      <a:pt x="1382" y="47"/>
                      <a:pt x="1375" y="46"/>
                      <a:pt x="1372" y="44"/>
                    </a:cubicBezTo>
                    <a:cubicBezTo>
                      <a:pt x="1368" y="45"/>
                      <a:pt x="1376" y="46"/>
                      <a:pt x="1374" y="48"/>
                    </a:cubicBezTo>
                    <a:cubicBezTo>
                      <a:pt x="1368" y="49"/>
                      <a:pt x="1356" y="50"/>
                      <a:pt x="1353" y="49"/>
                    </a:cubicBezTo>
                    <a:lnTo>
                      <a:pt x="1356" y="48"/>
                    </a:lnTo>
                    <a:cubicBezTo>
                      <a:pt x="1348" y="49"/>
                      <a:pt x="1345" y="44"/>
                      <a:pt x="1337" y="44"/>
                    </a:cubicBezTo>
                    <a:cubicBezTo>
                      <a:pt x="1330" y="46"/>
                      <a:pt x="1325" y="44"/>
                      <a:pt x="1326" y="49"/>
                    </a:cubicBezTo>
                    <a:cubicBezTo>
                      <a:pt x="1316" y="50"/>
                      <a:pt x="1322" y="46"/>
                      <a:pt x="1319" y="45"/>
                    </a:cubicBezTo>
                    <a:cubicBezTo>
                      <a:pt x="1314" y="47"/>
                      <a:pt x="1300" y="46"/>
                      <a:pt x="1298" y="43"/>
                    </a:cubicBezTo>
                    <a:cubicBezTo>
                      <a:pt x="1292" y="50"/>
                      <a:pt x="1271" y="41"/>
                      <a:pt x="1269" y="46"/>
                    </a:cubicBezTo>
                    <a:lnTo>
                      <a:pt x="1260" y="43"/>
                    </a:lnTo>
                    <a:cubicBezTo>
                      <a:pt x="1260" y="44"/>
                      <a:pt x="1258" y="48"/>
                      <a:pt x="1252" y="48"/>
                    </a:cubicBezTo>
                    <a:cubicBezTo>
                      <a:pt x="1245" y="47"/>
                      <a:pt x="1247" y="44"/>
                      <a:pt x="1245" y="42"/>
                    </a:cubicBezTo>
                    <a:lnTo>
                      <a:pt x="1241" y="48"/>
                    </a:lnTo>
                    <a:cubicBezTo>
                      <a:pt x="1204" y="41"/>
                      <a:pt x="1156" y="45"/>
                      <a:pt x="1115" y="39"/>
                    </a:cubicBezTo>
                    <a:cubicBezTo>
                      <a:pt x="1097" y="40"/>
                      <a:pt x="1075" y="42"/>
                      <a:pt x="1054" y="41"/>
                    </a:cubicBezTo>
                    <a:lnTo>
                      <a:pt x="1056" y="40"/>
                    </a:lnTo>
                    <a:lnTo>
                      <a:pt x="1035" y="38"/>
                    </a:lnTo>
                    <a:lnTo>
                      <a:pt x="1050" y="41"/>
                    </a:lnTo>
                    <a:cubicBezTo>
                      <a:pt x="1046" y="41"/>
                      <a:pt x="1042" y="42"/>
                      <a:pt x="1038" y="42"/>
                    </a:cubicBezTo>
                    <a:cubicBezTo>
                      <a:pt x="1015" y="39"/>
                      <a:pt x="985" y="36"/>
                      <a:pt x="956" y="38"/>
                    </a:cubicBezTo>
                    <a:cubicBezTo>
                      <a:pt x="938" y="44"/>
                      <a:pt x="944" y="32"/>
                      <a:pt x="927" y="36"/>
                    </a:cubicBezTo>
                    <a:cubicBezTo>
                      <a:pt x="928" y="36"/>
                      <a:pt x="929" y="35"/>
                      <a:pt x="930" y="34"/>
                    </a:cubicBezTo>
                    <a:cubicBezTo>
                      <a:pt x="911" y="36"/>
                      <a:pt x="901" y="37"/>
                      <a:pt x="882" y="40"/>
                    </a:cubicBezTo>
                    <a:cubicBezTo>
                      <a:pt x="885" y="34"/>
                      <a:pt x="870" y="40"/>
                      <a:pt x="872" y="37"/>
                    </a:cubicBezTo>
                    <a:lnTo>
                      <a:pt x="870" y="39"/>
                    </a:lnTo>
                    <a:cubicBezTo>
                      <a:pt x="866" y="38"/>
                      <a:pt x="856" y="37"/>
                      <a:pt x="858" y="35"/>
                    </a:cubicBezTo>
                    <a:lnTo>
                      <a:pt x="849" y="38"/>
                    </a:lnTo>
                    <a:lnTo>
                      <a:pt x="848" y="35"/>
                    </a:lnTo>
                    <a:cubicBezTo>
                      <a:pt x="837" y="35"/>
                      <a:pt x="814" y="36"/>
                      <a:pt x="808" y="31"/>
                    </a:cubicBezTo>
                    <a:cubicBezTo>
                      <a:pt x="781" y="34"/>
                      <a:pt x="737" y="32"/>
                      <a:pt x="703" y="31"/>
                    </a:cubicBezTo>
                    <a:cubicBezTo>
                      <a:pt x="698" y="33"/>
                      <a:pt x="688" y="33"/>
                      <a:pt x="680" y="33"/>
                    </a:cubicBezTo>
                    <a:lnTo>
                      <a:pt x="672" y="30"/>
                    </a:lnTo>
                    <a:cubicBezTo>
                      <a:pt x="664" y="31"/>
                      <a:pt x="656" y="35"/>
                      <a:pt x="648" y="33"/>
                    </a:cubicBezTo>
                    <a:cubicBezTo>
                      <a:pt x="648" y="32"/>
                      <a:pt x="649" y="32"/>
                      <a:pt x="649" y="32"/>
                    </a:cubicBezTo>
                    <a:cubicBezTo>
                      <a:pt x="641" y="32"/>
                      <a:pt x="633" y="30"/>
                      <a:pt x="626" y="33"/>
                    </a:cubicBezTo>
                    <a:cubicBezTo>
                      <a:pt x="617" y="33"/>
                      <a:pt x="608" y="31"/>
                      <a:pt x="611" y="28"/>
                    </a:cubicBezTo>
                    <a:cubicBezTo>
                      <a:pt x="610" y="34"/>
                      <a:pt x="592" y="27"/>
                      <a:pt x="592" y="27"/>
                    </a:cubicBezTo>
                    <a:cubicBezTo>
                      <a:pt x="592" y="27"/>
                      <a:pt x="138" y="8"/>
                      <a:pt x="26" y="36"/>
                    </a:cubicBezTo>
                    <a:cubicBezTo>
                      <a:pt x="23" y="38"/>
                      <a:pt x="12" y="40"/>
                      <a:pt x="16" y="43"/>
                    </a:cubicBezTo>
                    <a:cubicBezTo>
                      <a:pt x="8" y="44"/>
                      <a:pt x="5" y="39"/>
                      <a:pt x="3" y="42"/>
                    </a:cubicBezTo>
                    <a:cubicBezTo>
                      <a:pt x="14" y="44"/>
                      <a:pt x="0" y="49"/>
                      <a:pt x="10" y="52"/>
                    </a:cubicBezTo>
                    <a:lnTo>
                      <a:pt x="3" y="53"/>
                    </a:lnTo>
                    <a:cubicBezTo>
                      <a:pt x="2" y="55"/>
                      <a:pt x="13" y="51"/>
                      <a:pt x="11" y="54"/>
                    </a:cubicBezTo>
                    <a:lnTo>
                      <a:pt x="13" y="49"/>
                    </a:lnTo>
                    <a:cubicBezTo>
                      <a:pt x="18" y="50"/>
                      <a:pt x="21" y="51"/>
                      <a:pt x="23" y="53"/>
                    </a:cubicBezTo>
                    <a:cubicBezTo>
                      <a:pt x="28" y="51"/>
                      <a:pt x="32" y="44"/>
                      <a:pt x="44" y="47"/>
                    </a:cubicBezTo>
                    <a:lnTo>
                      <a:pt x="41" y="47"/>
                    </a:lnTo>
                    <a:cubicBezTo>
                      <a:pt x="51" y="47"/>
                      <a:pt x="47" y="51"/>
                      <a:pt x="49" y="52"/>
                    </a:cubicBezTo>
                    <a:lnTo>
                      <a:pt x="47" y="52"/>
                    </a:lnTo>
                    <a:lnTo>
                      <a:pt x="55" y="54"/>
                    </a:lnTo>
                    <a:cubicBezTo>
                      <a:pt x="49" y="52"/>
                      <a:pt x="38" y="56"/>
                      <a:pt x="44" y="56"/>
                    </a:cubicBezTo>
                    <a:cubicBezTo>
                      <a:pt x="56" y="58"/>
                      <a:pt x="41" y="55"/>
                      <a:pt x="50" y="54"/>
                    </a:cubicBezTo>
                    <a:cubicBezTo>
                      <a:pt x="55" y="54"/>
                      <a:pt x="54" y="57"/>
                      <a:pt x="53" y="58"/>
                    </a:cubicBezTo>
                    <a:lnTo>
                      <a:pt x="63" y="58"/>
                    </a:lnTo>
                    <a:cubicBezTo>
                      <a:pt x="63" y="61"/>
                      <a:pt x="57" y="58"/>
                      <a:pt x="61" y="61"/>
                    </a:cubicBezTo>
                    <a:lnTo>
                      <a:pt x="73" y="58"/>
                    </a:lnTo>
                    <a:cubicBezTo>
                      <a:pt x="76" y="64"/>
                      <a:pt x="87" y="56"/>
                      <a:pt x="93" y="61"/>
                    </a:cubicBezTo>
                    <a:cubicBezTo>
                      <a:pt x="84" y="63"/>
                      <a:pt x="94" y="63"/>
                      <a:pt x="92" y="65"/>
                    </a:cubicBezTo>
                    <a:lnTo>
                      <a:pt x="115" y="65"/>
                    </a:lnTo>
                    <a:cubicBezTo>
                      <a:pt x="117" y="66"/>
                      <a:pt x="109" y="67"/>
                      <a:pt x="112" y="67"/>
                    </a:cubicBezTo>
                    <a:cubicBezTo>
                      <a:pt x="116" y="68"/>
                      <a:pt x="119" y="65"/>
                      <a:pt x="121" y="65"/>
                    </a:cubicBezTo>
                    <a:cubicBezTo>
                      <a:pt x="123" y="67"/>
                      <a:pt x="138" y="65"/>
                      <a:pt x="137" y="69"/>
                    </a:cubicBezTo>
                    <a:cubicBezTo>
                      <a:pt x="152" y="72"/>
                      <a:pt x="144" y="65"/>
                      <a:pt x="158" y="67"/>
                    </a:cubicBezTo>
                    <a:cubicBezTo>
                      <a:pt x="159" y="69"/>
                      <a:pt x="146" y="67"/>
                      <a:pt x="153" y="70"/>
                    </a:cubicBezTo>
                    <a:lnTo>
                      <a:pt x="167" y="69"/>
                    </a:lnTo>
                    <a:cubicBezTo>
                      <a:pt x="166" y="70"/>
                      <a:pt x="164" y="73"/>
                      <a:pt x="159" y="72"/>
                    </a:cubicBezTo>
                    <a:cubicBezTo>
                      <a:pt x="198" y="76"/>
                      <a:pt x="220" y="89"/>
                      <a:pt x="256" y="86"/>
                    </a:cubicBezTo>
                    <a:cubicBezTo>
                      <a:pt x="261" y="89"/>
                      <a:pt x="252" y="88"/>
                      <a:pt x="248" y="90"/>
                    </a:cubicBezTo>
                    <a:cubicBezTo>
                      <a:pt x="274" y="86"/>
                      <a:pt x="285" y="97"/>
                      <a:pt x="307" y="96"/>
                    </a:cubicBezTo>
                    <a:lnTo>
                      <a:pt x="308" y="94"/>
                    </a:lnTo>
                    <a:cubicBezTo>
                      <a:pt x="339" y="102"/>
                      <a:pt x="376" y="98"/>
                      <a:pt x="411" y="102"/>
                    </a:cubicBezTo>
                    <a:lnTo>
                      <a:pt x="407" y="100"/>
                    </a:lnTo>
                    <a:cubicBezTo>
                      <a:pt x="412" y="98"/>
                      <a:pt x="419" y="98"/>
                      <a:pt x="425" y="97"/>
                    </a:cubicBezTo>
                    <a:cubicBezTo>
                      <a:pt x="426" y="98"/>
                      <a:pt x="421" y="101"/>
                      <a:pt x="431" y="101"/>
                    </a:cubicBezTo>
                    <a:cubicBezTo>
                      <a:pt x="429" y="100"/>
                      <a:pt x="425" y="99"/>
                      <a:pt x="426" y="98"/>
                    </a:cubicBezTo>
                    <a:cubicBezTo>
                      <a:pt x="456" y="104"/>
                      <a:pt x="520" y="104"/>
                      <a:pt x="569" y="107"/>
                    </a:cubicBezTo>
                    <a:cubicBezTo>
                      <a:pt x="636" y="106"/>
                      <a:pt x="709" y="112"/>
                      <a:pt x="774" y="111"/>
                    </a:cubicBezTo>
                    <a:cubicBezTo>
                      <a:pt x="764" y="111"/>
                      <a:pt x="769" y="106"/>
                      <a:pt x="776" y="107"/>
                    </a:cubicBezTo>
                    <a:cubicBezTo>
                      <a:pt x="797" y="117"/>
                      <a:pt x="812" y="106"/>
                      <a:pt x="833" y="113"/>
                    </a:cubicBezTo>
                    <a:cubicBezTo>
                      <a:pt x="871" y="111"/>
                      <a:pt x="905" y="120"/>
                      <a:pt x="941" y="114"/>
                    </a:cubicBezTo>
                    <a:lnTo>
                      <a:pt x="942" y="117"/>
                    </a:lnTo>
                    <a:cubicBezTo>
                      <a:pt x="947" y="118"/>
                      <a:pt x="948" y="116"/>
                      <a:pt x="954" y="116"/>
                    </a:cubicBezTo>
                    <a:lnTo>
                      <a:pt x="954" y="117"/>
                    </a:lnTo>
                    <a:cubicBezTo>
                      <a:pt x="967" y="118"/>
                      <a:pt x="983" y="116"/>
                      <a:pt x="991" y="117"/>
                    </a:cubicBezTo>
                    <a:lnTo>
                      <a:pt x="991" y="114"/>
                    </a:lnTo>
                    <a:cubicBezTo>
                      <a:pt x="999" y="114"/>
                      <a:pt x="995" y="117"/>
                      <a:pt x="1003" y="115"/>
                    </a:cubicBezTo>
                    <a:lnTo>
                      <a:pt x="1003" y="117"/>
                    </a:lnTo>
                    <a:lnTo>
                      <a:pt x="1012" y="114"/>
                    </a:lnTo>
                    <a:cubicBezTo>
                      <a:pt x="1011" y="119"/>
                      <a:pt x="1035" y="115"/>
                      <a:pt x="1041" y="117"/>
                    </a:cubicBezTo>
                    <a:cubicBezTo>
                      <a:pt x="1051" y="117"/>
                      <a:pt x="1070" y="115"/>
                      <a:pt x="1086" y="116"/>
                    </a:cubicBezTo>
                    <a:cubicBezTo>
                      <a:pt x="1089" y="119"/>
                      <a:pt x="1107" y="119"/>
                      <a:pt x="1119" y="121"/>
                    </a:cubicBezTo>
                    <a:cubicBezTo>
                      <a:pt x="1143" y="121"/>
                      <a:pt x="1176" y="120"/>
                      <a:pt x="1206" y="122"/>
                    </a:cubicBezTo>
                    <a:lnTo>
                      <a:pt x="1206" y="118"/>
                    </a:lnTo>
                    <a:lnTo>
                      <a:pt x="1214" y="118"/>
                    </a:lnTo>
                    <a:cubicBezTo>
                      <a:pt x="1214" y="119"/>
                      <a:pt x="1215" y="119"/>
                      <a:pt x="1213" y="120"/>
                    </a:cubicBezTo>
                    <a:cubicBezTo>
                      <a:pt x="1219" y="124"/>
                      <a:pt x="1231" y="119"/>
                      <a:pt x="1238" y="121"/>
                    </a:cubicBezTo>
                    <a:cubicBezTo>
                      <a:pt x="1234" y="118"/>
                      <a:pt x="1232" y="121"/>
                      <a:pt x="1228" y="121"/>
                    </a:cubicBezTo>
                    <a:cubicBezTo>
                      <a:pt x="1221" y="119"/>
                      <a:pt x="1228" y="116"/>
                      <a:pt x="1236" y="117"/>
                    </a:cubicBezTo>
                    <a:lnTo>
                      <a:pt x="1236" y="118"/>
                    </a:lnTo>
                    <a:lnTo>
                      <a:pt x="1242" y="117"/>
                    </a:lnTo>
                    <a:cubicBezTo>
                      <a:pt x="1242" y="119"/>
                      <a:pt x="1248" y="121"/>
                      <a:pt x="1248" y="123"/>
                    </a:cubicBezTo>
                    <a:cubicBezTo>
                      <a:pt x="1274" y="123"/>
                      <a:pt x="1292" y="119"/>
                      <a:pt x="1318" y="120"/>
                    </a:cubicBezTo>
                    <a:cubicBezTo>
                      <a:pt x="1315" y="123"/>
                      <a:pt x="1337" y="120"/>
                      <a:pt x="1332" y="125"/>
                    </a:cubicBezTo>
                    <a:cubicBezTo>
                      <a:pt x="1348" y="123"/>
                      <a:pt x="1329" y="121"/>
                      <a:pt x="1337" y="117"/>
                    </a:cubicBezTo>
                    <a:cubicBezTo>
                      <a:pt x="1341" y="117"/>
                      <a:pt x="1346" y="116"/>
                      <a:pt x="1346" y="118"/>
                    </a:cubicBezTo>
                    <a:cubicBezTo>
                      <a:pt x="1344" y="119"/>
                      <a:pt x="1350" y="121"/>
                      <a:pt x="1346" y="121"/>
                    </a:cubicBezTo>
                    <a:lnTo>
                      <a:pt x="1357" y="121"/>
                    </a:lnTo>
                    <a:cubicBezTo>
                      <a:pt x="1358" y="121"/>
                      <a:pt x="1356" y="122"/>
                      <a:pt x="1355" y="122"/>
                    </a:cubicBezTo>
                    <a:cubicBezTo>
                      <a:pt x="1376" y="120"/>
                      <a:pt x="1393" y="126"/>
                      <a:pt x="1412" y="123"/>
                    </a:cubicBezTo>
                    <a:cubicBezTo>
                      <a:pt x="1414" y="121"/>
                      <a:pt x="1405" y="123"/>
                      <a:pt x="1406" y="121"/>
                    </a:cubicBezTo>
                    <a:cubicBezTo>
                      <a:pt x="1426" y="117"/>
                      <a:pt x="1423" y="124"/>
                      <a:pt x="1442" y="122"/>
                    </a:cubicBezTo>
                    <a:lnTo>
                      <a:pt x="1438" y="124"/>
                    </a:lnTo>
                    <a:cubicBezTo>
                      <a:pt x="1444" y="122"/>
                      <a:pt x="1446" y="120"/>
                      <a:pt x="1456" y="122"/>
                    </a:cubicBezTo>
                    <a:cubicBezTo>
                      <a:pt x="1458" y="126"/>
                      <a:pt x="1448" y="125"/>
                      <a:pt x="1443" y="126"/>
                    </a:cubicBezTo>
                    <a:cubicBezTo>
                      <a:pt x="1450" y="126"/>
                      <a:pt x="1467" y="126"/>
                      <a:pt x="1461" y="123"/>
                    </a:cubicBezTo>
                    <a:cubicBezTo>
                      <a:pt x="1469" y="122"/>
                      <a:pt x="1472" y="125"/>
                      <a:pt x="1477" y="126"/>
                    </a:cubicBezTo>
                    <a:cubicBezTo>
                      <a:pt x="1477" y="125"/>
                      <a:pt x="1469" y="123"/>
                      <a:pt x="1474" y="122"/>
                    </a:cubicBezTo>
                    <a:cubicBezTo>
                      <a:pt x="1485" y="124"/>
                      <a:pt x="1502" y="124"/>
                      <a:pt x="1515" y="124"/>
                    </a:cubicBezTo>
                    <a:cubicBezTo>
                      <a:pt x="1515" y="125"/>
                      <a:pt x="1516" y="126"/>
                      <a:pt x="1514" y="126"/>
                    </a:cubicBezTo>
                    <a:cubicBezTo>
                      <a:pt x="1525" y="122"/>
                      <a:pt x="1524" y="129"/>
                      <a:pt x="1539" y="128"/>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6" name="Freeform 2440"/>
              <p:cNvSpPr>
                <a:spLocks/>
              </p:cNvSpPr>
              <p:nvPr/>
            </p:nvSpPr>
            <p:spPr bwMode="auto">
              <a:xfrm>
                <a:off x="4256088" y="3959226"/>
                <a:ext cx="3175" cy="0"/>
              </a:xfrm>
              <a:custGeom>
                <a:avLst/>
                <a:gdLst>
                  <a:gd name="T0" fmla="*/ 8 w 8"/>
                  <a:gd name="T1" fmla="*/ 1 h 3"/>
                  <a:gd name="T2" fmla="*/ 8 w 8"/>
                  <a:gd name="T3" fmla="*/ 1 h 3"/>
                  <a:gd name="T4" fmla="*/ 2 w 8"/>
                  <a:gd name="T5" fmla="*/ 0 h 3"/>
                  <a:gd name="T6" fmla="*/ 0 w 8"/>
                  <a:gd name="T7" fmla="*/ 3 h 3"/>
                  <a:gd name="T8" fmla="*/ 8 w 8"/>
                  <a:gd name="T9" fmla="*/ 1 h 3"/>
                </a:gdLst>
                <a:ahLst/>
                <a:cxnLst>
                  <a:cxn ang="0">
                    <a:pos x="T0" y="T1"/>
                  </a:cxn>
                  <a:cxn ang="0">
                    <a:pos x="T2" y="T3"/>
                  </a:cxn>
                  <a:cxn ang="0">
                    <a:pos x="T4" y="T5"/>
                  </a:cxn>
                  <a:cxn ang="0">
                    <a:pos x="T6" y="T7"/>
                  </a:cxn>
                  <a:cxn ang="0">
                    <a:pos x="T8" y="T9"/>
                  </a:cxn>
                </a:cxnLst>
                <a:rect l="0" t="0" r="r" b="b"/>
                <a:pathLst>
                  <a:path w="8" h="3">
                    <a:moveTo>
                      <a:pt x="8" y="1"/>
                    </a:moveTo>
                    <a:lnTo>
                      <a:pt x="8" y="1"/>
                    </a:lnTo>
                    <a:lnTo>
                      <a:pt x="2" y="0"/>
                    </a:lnTo>
                    <a:cubicBezTo>
                      <a:pt x="2" y="1"/>
                      <a:pt x="2" y="2"/>
                      <a:pt x="0" y="3"/>
                    </a:cubicBezTo>
                    <a:lnTo>
                      <a:pt x="8" y="1"/>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7" name="Freeform 2441"/>
              <p:cNvSpPr>
                <a:spLocks/>
              </p:cNvSpPr>
              <p:nvPr/>
            </p:nvSpPr>
            <p:spPr bwMode="auto">
              <a:xfrm>
                <a:off x="4178301" y="3962401"/>
                <a:ext cx="1588"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1" y="1"/>
                      <a:pt x="1" y="1"/>
                      <a:pt x="0" y="1"/>
                    </a:cubicBezTo>
                    <a:cubicBezTo>
                      <a:pt x="1" y="1"/>
                      <a:pt x="2" y="1"/>
                      <a:pt x="2"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8" name="Freeform 2442"/>
              <p:cNvSpPr>
                <a:spLocks/>
              </p:cNvSpPr>
              <p:nvPr/>
            </p:nvSpPr>
            <p:spPr bwMode="auto">
              <a:xfrm>
                <a:off x="4159251" y="3963988"/>
                <a:ext cx="3175" cy="1588"/>
              </a:xfrm>
              <a:custGeom>
                <a:avLst/>
                <a:gdLst>
                  <a:gd name="T0" fmla="*/ 1 w 6"/>
                  <a:gd name="T1" fmla="*/ 2 h 2"/>
                  <a:gd name="T2" fmla="*/ 1 w 6"/>
                  <a:gd name="T3" fmla="*/ 2 h 2"/>
                  <a:gd name="T4" fmla="*/ 0 w 6"/>
                  <a:gd name="T5" fmla="*/ 0 h 2"/>
                  <a:gd name="T6" fmla="*/ 1 w 6"/>
                  <a:gd name="T7" fmla="*/ 2 h 2"/>
                </a:gdLst>
                <a:ahLst/>
                <a:cxnLst>
                  <a:cxn ang="0">
                    <a:pos x="T0" y="T1"/>
                  </a:cxn>
                  <a:cxn ang="0">
                    <a:pos x="T2" y="T3"/>
                  </a:cxn>
                  <a:cxn ang="0">
                    <a:pos x="T4" y="T5"/>
                  </a:cxn>
                  <a:cxn ang="0">
                    <a:pos x="T6" y="T7"/>
                  </a:cxn>
                </a:cxnLst>
                <a:rect l="0" t="0" r="r" b="b"/>
                <a:pathLst>
                  <a:path w="6" h="2">
                    <a:moveTo>
                      <a:pt x="1" y="2"/>
                    </a:moveTo>
                    <a:lnTo>
                      <a:pt x="1" y="2"/>
                    </a:lnTo>
                    <a:cubicBezTo>
                      <a:pt x="6" y="1"/>
                      <a:pt x="2" y="1"/>
                      <a:pt x="0" y="0"/>
                    </a:cubicBezTo>
                    <a:cubicBezTo>
                      <a:pt x="0" y="1"/>
                      <a:pt x="0" y="1"/>
                      <a:pt x="1"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9" name="Freeform 2443"/>
              <p:cNvSpPr>
                <a:spLocks/>
              </p:cNvSpPr>
              <p:nvPr/>
            </p:nvSpPr>
            <p:spPr bwMode="auto">
              <a:xfrm>
                <a:off x="4303713" y="3952876"/>
                <a:ext cx="0" cy="1588"/>
              </a:xfrm>
              <a:custGeom>
                <a:avLst/>
                <a:gdLst>
                  <a:gd name="T0" fmla="*/ 1 w 2"/>
                  <a:gd name="T1" fmla="*/ 0 h 1"/>
                  <a:gd name="T2" fmla="*/ 1 w 2"/>
                  <a:gd name="T3" fmla="*/ 0 h 1"/>
                  <a:gd name="T4" fmla="*/ 0 w 2"/>
                  <a:gd name="T5" fmla="*/ 1 h 1"/>
                  <a:gd name="T6" fmla="*/ 1 w 2"/>
                  <a:gd name="T7" fmla="*/ 0 h 1"/>
                </a:gdLst>
                <a:ahLst/>
                <a:cxnLst>
                  <a:cxn ang="0">
                    <a:pos x="T0" y="T1"/>
                  </a:cxn>
                  <a:cxn ang="0">
                    <a:pos x="T2" y="T3"/>
                  </a:cxn>
                  <a:cxn ang="0">
                    <a:pos x="T4" y="T5"/>
                  </a:cxn>
                  <a:cxn ang="0">
                    <a:pos x="T6" y="T7"/>
                  </a:cxn>
                </a:cxnLst>
                <a:rect l="0" t="0" r="r" b="b"/>
                <a:pathLst>
                  <a:path w="2" h="1">
                    <a:moveTo>
                      <a:pt x="1" y="0"/>
                    </a:moveTo>
                    <a:lnTo>
                      <a:pt x="1" y="0"/>
                    </a:lnTo>
                    <a:cubicBezTo>
                      <a:pt x="1" y="0"/>
                      <a:pt x="0" y="1"/>
                      <a:pt x="0" y="1"/>
                    </a:cubicBezTo>
                    <a:cubicBezTo>
                      <a:pt x="1" y="1"/>
                      <a:pt x="2" y="0"/>
                      <a:pt x="1"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0" name="Freeform 2444"/>
              <p:cNvSpPr>
                <a:spLocks/>
              </p:cNvSpPr>
              <p:nvPr/>
            </p:nvSpPr>
            <p:spPr bwMode="auto">
              <a:xfrm>
                <a:off x="4427538" y="3944938"/>
                <a:ext cx="1588"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cubicBezTo>
                      <a:pt x="1" y="0"/>
                      <a:pt x="1" y="0"/>
                      <a:pt x="0" y="0"/>
                    </a:cubicBezTo>
                    <a:cubicBezTo>
                      <a:pt x="0" y="0"/>
                      <a:pt x="1" y="0"/>
                      <a:pt x="2"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1" name="Freeform 2445"/>
              <p:cNvSpPr>
                <a:spLocks/>
              </p:cNvSpPr>
              <p:nvPr/>
            </p:nvSpPr>
            <p:spPr bwMode="auto">
              <a:xfrm>
                <a:off x="4419601" y="3943351"/>
                <a:ext cx="1588" cy="1588"/>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2" y="1"/>
                      <a:pt x="3" y="1"/>
                      <a:pt x="4"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2" name="Freeform 2446"/>
              <p:cNvSpPr>
                <a:spLocks/>
              </p:cNvSpPr>
              <p:nvPr/>
            </p:nvSpPr>
            <p:spPr bwMode="auto">
              <a:xfrm>
                <a:off x="4271963" y="3956051"/>
                <a:ext cx="1588" cy="0"/>
              </a:xfrm>
              <a:custGeom>
                <a:avLst/>
                <a:gdLst>
                  <a:gd name="T0" fmla="*/ 5 w 5"/>
                  <a:gd name="T1" fmla="*/ 0 h 2"/>
                  <a:gd name="T2" fmla="*/ 5 w 5"/>
                  <a:gd name="T3" fmla="*/ 0 h 2"/>
                  <a:gd name="T4" fmla="*/ 0 w 5"/>
                  <a:gd name="T5" fmla="*/ 2 h 2"/>
                  <a:gd name="T6" fmla="*/ 5 w 5"/>
                  <a:gd name="T7" fmla="*/ 0 h 2"/>
                </a:gdLst>
                <a:ahLst/>
                <a:cxnLst>
                  <a:cxn ang="0">
                    <a:pos x="T0" y="T1"/>
                  </a:cxn>
                  <a:cxn ang="0">
                    <a:pos x="T2" y="T3"/>
                  </a:cxn>
                  <a:cxn ang="0">
                    <a:pos x="T4" y="T5"/>
                  </a:cxn>
                  <a:cxn ang="0">
                    <a:pos x="T6" y="T7"/>
                  </a:cxn>
                </a:cxnLst>
                <a:rect l="0" t="0" r="r" b="b"/>
                <a:pathLst>
                  <a:path w="5" h="2">
                    <a:moveTo>
                      <a:pt x="5" y="0"/>
                    </a:moveTo>
                    <a:lnTo>
                      <a:pt x="5" y="0"/>
                    </a:lnTo>
                    <a:cubicBezTo>
                      <a:pt x="3" y="1"/>
                      <a:pt x="2" y="1"/>
                      <a:pt x="0" y="2"/>
                    </a:cubicBezTo>
                    <a:cubicBezTo>
                      <a:pt x="3" y="1"/>
                      <a:pt x="4" y="1"/>
                      <a:pt x="5"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3" name="Freeform 2447"/>
              <p:cNvSpPr>
                <a:spLocks/>
              </p:cNvSpPr>
              <p:nvPr/>
            </p:nvSpPr>
            <p:spPr bwMode="auto">
              <a:xfrm>
                <a:off x="4416426" y="3944938"/>
                <a:ext cx="1588" cy="0"/>
              </a:xfrm>
              <a:custGeom>
                <a:avLst/>
                <a:gdLst>
                  <a:gd name="T0" fmla="*/ 5 w 5"/>
                  <a:gd name="T1" fmla="*/ 0 h 1"/>
                  <a:gd name="T2" fmla="*/ 5 w 5"/>
                  <a:gd name="T3" fmla="*/ 0 h 1"/>
                  <a:gd name="T4" fmla="*/ 0 w 5"/>
                  <a:gd name="T5" fmla="*/ 0 h 1"/>
                  <a:gd name="T6" fmla="*/ 0 w 5"/>
                  <a:gd name="T7" fmla="*/ 1 h 1"/>
                  <a:gd name="T8" fmla="*/ 5 w 5"/>
                  <a:gd name="T9" fmla="*/ 0 h 1"/>
                </a:gdLst>
                <a:ahLst/>
                <a:cxnLst>
                  <a:cxn ang="0">
                    <a:pos x="T0" y="T1"/>
                  </a:cxn>
                  <a:cxn ang="0">
                    <a:pos x="T2" y="T3"/>
                  </a:cxn>
                  <a:cxn ang="0">
                    <a:pos x="T4" y="T5"/>
                  </a:cxn>
                  <a:cxn ang="0">
                    <a:pos x="T6" y="T7"/>
                  </a:cxn>
                  <a:cxn ang="0">
                    <a:pos x="T8" y="T9"/>
                  </a:cxn>
                </a:cxnLst>
                <a:rect l="0" t="0" r="r" b="b"/>
                <a:pathLst>
                  <a:path w="5" h="1">
                    <a:moveTo>
                      <a:pt x="5" y="0"/>
                    </a:moveTo>
                    <a:lnTo>
                      <a:pt x="5" y="0"/>
                    </a:lnTo>
                    <a:lnTo>
                      <a:pt x="0" y="0"/>
                    </a:lnTo>
                    <a:cubicBezTo>
                      <a:pt x="0" y="0"/>
                      <a:pt x="0" y="0"/>
                      <a:pt x="0" y="1"/>
                    </a:cubicBezTo>
                    <a:lnTo>
                      <a:pt x="5"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4" name="Freeform 2448"/>
              <p:cNvSpPr>
                <a:spLocks/>
              </p:cNvSpPr>
              <p:nvPr/>
            </p:nvSpPr>
            <p:spPr bwMode="auto">
              <a:xfrm>
                <a:off x="4429126" y="3944938"/>
                <a:ext cx="1588" cy="0"/>
              </a:xfrm>
              <a:custGeom>
                <a:avLst/>
                <a:gdLst>
                  <a:gd name="T0" fmla="*/ 7 w 7"/>
                  <a:gd name="T1" fmla="*/ 0 h 1"/>
                  <a:gd name="T2" fmla="*/ 7 w 7"/>
                  <a:gd name="T3" fmla="*/ 0 h 1"/>
                  <a:gd name="T4" fmla="*/ 0 w 7"/>
                  <a:gd name="T5" fmla="*/ 0 h 1"/>
                  <a:gd name="T6" fmla="*/ 7 w 7"/>
                  <a:gd name="T7" fmla="*/ 0 h 1"/>
                </a:gdLst>
                <a:ahLst/>
                <a:cxnLst>
                  <a:cxn ang="0">
                    <a:pos x="T0" y="T1"/>
                  </a:cxn>
                  <a:cxn ang="0">
                    <a:pos x="T2" y="T3"/>
                  </a:cxn>
                  <a:cxn ang="0">
                    <a:pos x="T4" y="T5"/>
                  </a:cxn>
                  <a:cxn ang="0">
                    <a:pos x="T6" y="T7"/>
                  </a:cxn>
                </a:cxnLst>
                <a:rect l="0" t="0" r="r" b="b"/>
                <a:pathLst>
                  <a:path w="7" h="1">
                    <a:moveTo>
                      <a:pt x="7" y="0"/>
                    </a:moveTo>
                    <a:lnTo>
                      <a:pt x="7" y="0"/>
                    </a:lnTo>
                    <a:cubicBezTo>
                      <a:pt x="4" y="0"/>
                      <a:pt x="1" y="0"/>
                      <a:pt x="0" y="0"/>
                    </a:cubicBezTo>
                    <a:cubicBezTo>
                      <a:pt x="2" y="1"/>
                      <a:pt x="5" y="1"/>
                      <a:pt x="7"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5" name="Freeform 2449"/>
              <p:cNvSpPr>
                <a:spLocks/>
              </p:cNvSpPr>
              <p:nvPr/>
            </p:nvSpPr>
            <p:spPr bwMode="auto">
              <a:xfrm>
                <a:off x="4348163" y="3949701"/>
                <a:ext cx="1588" cy="0"/>
              </a:xfrm>
              <a:custGeom>
                <a:avLst/>
                <a:gdLst>
                  <a:gd name="T0" fmla="*/ 5 w 5"/>
                  <a:gd name="T1" fmla="*/ 0 h 1"/>
                  <a:gd name="T2" fmla="*/ 5 w 5"/>
                  <a:gd name="T3" fmla="*/ 0 h 1"/>
                  <a:gd name="T4" fmla="*/ 4 w 5"/>
                  <a:gd name="T5" fmla="*/ 0 h 1"/>
                  <a:gd name="T6" fmla="*/ 5 w 5"/>
                  <a:gd name="T7" fmla="*/ 0 h 1"/>
                </a:gdLst>
                <a:ahLst/>
                <a:cxnLst>
                  <a:cxn ang="0">
                    <a:pos x="T0" y="T1"/>
                  </a:cxn>
                  <a:cxn ang="0">
                    <a:pos x="T2" y="T3"/>
                  </a:cxn>
                  <a:cxn ang="0">
                    <a:pos x="T4" y="T5"/>
                  </a:cxn>
                  <a:cxn ang="0">
                    <a:pos x="T6" y="T7"/>
                  </a:cxn>
                </a:cxnLst>
                <a:rect l="0" t="0" r="r" b="b"/>
                <a:pathLst>
                  <a:path w="5" h="1">
                    <a:moveTo>
                      <a:pt x="5" y="0"/>
                    </a:moveTo>
                    <a:lnTo>
                      <a:pt x="5" y="0"/>
                    </a:lnTo>
                    <a:cubicBezTo>
                      <a:pt x="4" y="0"/>
                      <a:pt x="4" y="0"/>
                      <a:pt x="4" y="0"/>
                    </a:cubicBezTo>
                    <a:cubicBezTo>
                      <a:pt x="0" y="1"/>
                      <a:pt x="2" y="1"/>
                      <a:pt x="5"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6" name="Freeform 2450"/>
              <p:cNvSpPr>
                <a:spLocks/>
              </p:cNvSpPr>
              <p:nvPr/>
            </p:nvSpPr>
            <p:spPr bwMode="auto">
              <a:xfrm>
                <a:off x="4410076" y="3946526"/>
                <a:ext cx="1588" cy="0"/>
              </a:xfrm>
              <a:custGeom>
                <a:avLst/>
                <a:gdLst>
                  <a:gd name="T0" fmla="*/ 3 w 3"/>
                  <a:gd name="T1" fmla="*/ 0 h 1"/>
                  <a:gd name="T2" fmla="*/ 3 w 3"/>
                  <a:gd name="T3" fmla="*/ 0 h 1"/>
                  <a:gd name="T4" fmla="*/ 2 w 3"/>
                  <a:gd name="T5" fmla="*/ 0 h 1"/>
                  <a:gd name="T6" fmla="*/ 0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3" y="0"/>
                    </a:lnTo>
                    <a:lnTo>
                      <a:pt x="2" y="0"/>
                    </a:lnTo>
                    <a:lnTo>
                      <a:pt x="0" y="1"/>
                    </a:lnTo>
                    <a:lnTo>
                      <a:pt x="3"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7" name="Freeform 2451"/>
              <p:cNvSpPr>
                <a:spLocks/>
              </p:cNvSpPr>
              <p:nvPr/>
            </p:nvSpPr>
            <p:spPr bwMode="auto">
              <a:xfrm>
                <a:off x="4437063" y="3944938"/>
                <a:ext cx="1588" cy="0"/>
              </a:xfrm>
              <a:custGeom>
                <a:avLst/>
                <a:gdLst>
                  <a:gd name="T0" fmla="*/ 2 w 3"/>
                  <a:gd name="T1" fmla="*/ 0 h 1"/>
                  <a:gd name="T2" fmla="*/ 2 w 3"/>
                  <a:gd name="T3" fmla="*/ 0 h 1"/>
                  <a:gd name="T4" fmla="*/ 0 w 3"/>
                  <a:gd name="T5" fmla="*/ 1 h 1"/>
                  <a:gd name="T6" fmla="*/ 3 w 3"/>
                  <a:gd name="T7" fmla="*/ 1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lnTo>
                      <a:pt x="2" y="0"/>
                    </a:lnTo>
                    <a:cubicBezTo>
                      <a:pt x="1" y="1"/>
                      <a:pt x="0" y="1"/>
                      <a:pt x="0" y="1"/>
                    </a:cubicBezTo>
                    <a:cubicBezTo>
                      <a:pt x="1" y="1"/>
                      <a:pt x="2" y="1"/>
                      <a:pt x="3" y="1"/>
                    </a:cubicBezTo>
                    <a:cubicBezTo>
                      <a:pt x="3" y="1"/>
                      <a:pt x="2" y="1"/>
                      <a:pt x="2"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8" name="Freeform 2452"/>
              <p:cNvSpPr>
                <a:spLocks/>
              </p:cNvSpPr>
              <p:nvPr/>
            </p:nvSpPr>
            <p:spPr bwMode="auto">
              <a:xfrm>
                <a:off x="4375151" y="3948113"/>
                <a:ext cx="1588" cy="0"/>
              </a:xfrm>
              <a:custGeom>
                <a:avLst/>
                <a:gdLst>
                  <a:gd name="T0" fmla="*/ 1 w 3"/>
                  <a:gd name="T1" fmla="*/ 3 h 3"/>
                  <a:gd name="T2" fmla="*/ 1 w 3"/>
                  <a:gd name="T3" fmla="*/ 3 h 3"/>
                  <a:gd name="T4" fmla="*/ 3 w 3"/>
                  <a:gd name="T5" fmla="*/ 0 h 3"/>
                  <a:gd name="T6" fmla="*/ 1 w 3"/>
                  <a:gd name="T7" fmla="*/ 3 h 3"/>
                </a:gdLst>
                <a:ahLst/>
                <a:cxnLst>
                  <a:cxn ang="0">
                    <a:pos x="T0" y="T1"/>
                  </a:cxn>
                  <a:cxn ang="0">
                    <a:pos x="T2" y="T3"/>
                  </a:cxn>
                  <a:cxn ang="0">
                    <a:pos x="T4" y="T5"/>
                  </a:cxn>
                  <a:cxn ang="0">
                    <a:pos x="T6" y="T7"/>
                  </a:cxn>
                </a:cxnLst>
                <a:rect l="0" t="0" r="r" b="b"/>
                <a:pathLst>
                  <a:path w="3" h="3">
                    <a:moveTo>
                      <a:pt x="1" y="3"/>
                    </a:moveTo>
                    <a:lnTo>
                      <a:pt x="1" y="3"/>
                    </a:lnTo>
                    <a:cubicBezTo>
                      <a:pt x="2" y="1"/>
                      <a:pt x="3" y="0"/>
                      <a:pt x="3" y="0"/>
                    </a:cubicBezTo>
                    <a:cubicBezTo>
                      <a:pt x="1" y="0"/>
                      <a:pt x="0" y="1"/>
                      <a:pt x="1" y="3"/>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9" name="Freeform 2453"/>
              <p:cNvSpPr>
                <a:spLocks/>
              </p:cNvSpPr>
              <p:nvPr/>
            </p:nvSpPr>
            <p:spPr bwMode="auto">
              <a:xfrm>
                <a:off x="4519613" y="4445001"/>
                <a:ext cx="0" cy="1588"/>
              </a:xfrm>
              <a:custGeom>
                <a:avLst/>
                <a:gdLst>
                  <a:gd name="T0" fmla="*/ 0 w 1"/>
                  <a:gd name="T1" fmla="*/ 1 h 1"/>
                  <a:gd name="T2" fmla="*/ 0 w 1"/>
                  <a:gd name="T3" fmla="*/ 1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1"/>
                    </a:cubicBezTo>
                    <a:cubicBezTo>
                      <a:pt x="0" y="0"/>
                      <a:pt x="0"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0" name="Freeform 2454"/>
              <p:cNvSpPr>
                <a:spLocks/>
              </p:cNvSpPr>
              <p:nvPr/>
            </p:nvSpPr>
            <p:spPr bwMode="auto">
              <a:xfrm>
                <a:off x="4516438" y="4400551"/>
                <a:ext cx="1588" cy="0"/>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cubicBezTo>
                      <a:pt x="1"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1" name="Freeform 2455"/>
              <p:cNvSpPr>
                <a:spLocks/>
              </p:cNvSpPr>
              <p:nvPr/>
            </p:nvSpPr>
            <p:spPr bwMode="auto">
              <a:xfrm>
                <a:off x="4521201" y="4473576"/>
                <a:ext cx="0" cy="1588"/>
              </a:xfrm>
              <a:custGeom>
                <a:avLst/>
                <a:gdLst>
                  <a:gd name="T0" fmla="*/ 1 w 1"/>
                  <a:gd name="T1" fmla="*/ 0 h 6"/>
                  <a:gd name="T2" fmla="*/ 1 w 1"/>
                  <a:gd name="T3" fmla="*/ 0 h 6"/>
                  <a:gd name="T4" fmla="*/ 0 w 1"/>
                  <a:gd name="T5" fmla="*/ 0 h 6"/>
                  <a:gd name="T6" fmla="*/ 1 w 1"/>
                  <a:gd name="T7" fmla="*/ 6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lnTo>
                      <a:pt x="1" y="0"/>
                    </a:lnTo>
                    <a:cubicBezTo>
                      <a:pt x="1" y="0"/>
                      <a:pt x="1" y="0"/>
                      <a:pt x="0" y="0"/>
                    </a:cubicBezTo>
                    <a:cubicBezTo>
                      <a:pt x="1" y="1"/>
                      <a:pt x="1" y="3"/>
                      <a:pt x="1" y="6"/>
                    </a:cubicBezTo>
                    <a:lnTo>
                      <a:pt x="1"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2" name="Freeform 2456"/>
              <p:cNvSpPr>
                <a:spLocks/>
              </p:cNvSpPr>
              <p:nvPr/>
            </p:nvSpPr>
            <p:spPr bwMode="auto">
              <a:xfrm>
                <a:off x="4513263" y="4302126"/>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3" name="Freeform 2457"/>
              <p:cNvSpPr>
                <a:spLocks/>
              </p:cNvSpPr>
              <p:nvPr/>
            </p:nvSpPr>
            <p:spPr bwMode="auto">
              <a:xfrm>
                <a:off x="4514851" y="4359276"/>
                <a:ext cx="0" cy="1588"/>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0" y="0"/>
                      <a:pt x="0" y="0"/>
                    </a:cubicBezTo>
                    <a:cubicBezTo>
                      <a:pt x="0" y="1"/>
                      <a:pt x="0" y="2"/>
                      <a:pt x="1"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4" name="Freeform 2458"/>
              <p:cNvSpPr>
                <a:spLocks/>
              </p:cNvSpPr>
              <p:nvPr/>
            </p:nvSpPr>
            <p:spPr bwMode="auto">
              <a:xfrm>
                <a:off x="4513263" y="4487863"/>
                <a:ext cx="0" cy="1588"/>
              </a:xfrm>
              <a:custGeom>
                <a:avLst/>
                <a:gdLst>
                  <a:gd name="T0" fmla="*/ 0 w 2"/>
                  <a:gd name="T1" fmla="*/ 3 h 3"/>
                  <a:gd name="T2" fmla="*/ 0 w 2"/>
                  <a:gd name="T3" fmla="*/ 3 h 3"/>
                  <a:gd name="T4" fmla="*/ 2 w 2"/>
                  <a:gd name="T5" fmla="*/ 0 h 3"/>
                  <a:gd name="T6" fmla="*/ 0 w 2"/>
                  <a:gd name="T7" fmla="*/ 3 h 3"/>
                </a:gdLst>
                <a:ahLst/>
                <a:cxnLst>
                  <a:cxn ang="0">
                    <a:pos x="T0" y="T1"/>
                  </a:cxn>
                  <a:cxn ang="0">
                    <a:pos x="T2" y="T3"/>
                  </a:cxn>
                  <a:cxn ang="0">
                    <a:pos x="T4" y="T5"/>
                  </a:cxn>
                  <a:cxn ang="0">
                    <a:pos x="T6" y="T7"/>
                  </a:cxn>
                </a:cxnLst>
                <a:rect l="0" t="0" r="r" b="b"/>
                <a:pathLst>
                  <a:path w="2" h="3">
                    <a:moveTo>
                      <a:pt x="0" y="3"/>
                    </a:moveTo>
                    <a:lnTo>
                      <a:pt x="0" y="3"/>
                    </a:lnTo>
                    <a:lnTo>
                      <a:pt x="2" y="0"/>
                    </a:lnTo>
                    <a:cubicBezTo>
                      <a:pt x="1" y="0"/>
                      <a:pt x="1" y="1"/>
                      <a:pt x="0" y="3"/>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5" name="Freeform 2459"/>
              <p:cNvSpPr>
                <a:spLocks/>
              </p:cNvSpPr>
              <p:nvPr/>
            </p:nvSpPr>
            <p:spPr bwMode="auto">
              <a:xfrm>
                <a:off x="4519613" y="451643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1" y="1"/>
                      <a:pt x="1" y="0"/>
                      <a:pt x="1" y="0"/>
                    </a:cubicBezTo>
                    <a:cubicBezTo>
                      <a:pt x="1" y="0"/>
                      <a:pt x="1"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6" name="Freeform 2460"/>
              <p:cNvSpPr>
                <a:spLocks/>
              </p:cNvSpPr>
              <p:nvPr/>
            </p:nvSpPr>
            <p:spPr bwMode="auto">
              <a:xfrm>
                <a:off x="4521201" y="450532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0" y="0"/>
                      <a:pt x="0" y="0"/>
                    </a:cubicBezTo>
                    <a:cubicBezTo>
                      <a:pt x="0" y="1"/>
                      <a:pt x="0" y="2"/>
                      <a:pt x="1"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7" name="Freeform 2461"/>
              <p:cNvSpPr>
                <a:spLocks/>
              </p:cNvSpPr>
              <p:nvPr/>
            </p:nvSpPr>
            <p:spPr bwMode="auto">
              <a:xfrm>
                <a:off x="4519613" y="4503738"/>
                <a:ext cx="1588" cy="1588"/>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cubicBezTo>
                      <a:pt x="0" y="1"/>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8" name="Freeform 2462"/>
              <p:cNvSpPr>
                <a:spLocks/>
              </p:cNvSpPr>
              <p:nvPr/>
            </p:nvSpPr>
            <p:spPr bwMode="auto">
              <a:xfrm>
                <a:off x="4505326" y="3943351"/>
                <a:ext cx="1588" cy="3175"/>
              </a:xfrm>
              <a:custGeom>
                <a:avLst/>
                <a:gdLst>
                  <a:gd name="T0" fmla="*/ 3 w 3"/>
                  <a:gd name="T1" fmla="*/ 7 h 7"/>
                  <a:gd name="T2" fmla="*/ 3 w 3"/>
                  <a:gd name="T3" fmla="*/ 7 h 7"/>
                  <a:gd name="T4" fmla="*/ 0 w 3"/>
                  <a:gd name="T5" fmla="*/ 0 h 7"/>
                  <a:gd name="T6" fmla="*/ 3 w 3"/>
                  <a:gd name="T7" fmla="*/ 7 h 7"/>
                </a:gdLst>
                <a:ahLst/>
                <a:cxnLst>
                  <a:cxn ang="0">
                    <a:pos x="T0" y="T1"/>
                  </a:cxn>
                  <a:cxn ang="0">
                    <a:pos x="T2" y="T3"/>
                  </a:cxn>
                  <a:cxn ang="0">
                    <a:pos x="T4" y="T5"/>
                  </a:cxn>
                  <a:cxn ang="0">
                    <a:pos x="T6" y="T7"/>
                  </a:cxn>
                </a:cxnLst>
                <a:rect l="0" t="0" r="r" b="b"/>
                <a:pathLst>
                  <a:path w="3" h="7">
                    <a:moveTo>
                      <a:pt x="3" y="7"/>
                    </a:moveTo>
                    <a:lnTo>
                      <a:pt x="3" y="7"/>
                    </a:lnTo>
                    <a:cubicBezTo>
                      <a:pt x="3" y="5"/>
                      <a:pt x="1" y="3"/>
                      <a:pt x="0" y="0"/>
                    </a:cubicBezTo>
                    <a:lnTo>
                      <a:pt x="3" y="7"/>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9" name="Freeform 2463"/>
              <p:cNvSpPr>
                <a:spLocks/>
              </p:cNvSpPr>
              <p:nvPr/>
            </p:nvSpPr>
            <p:spPr bwMode="auto">
              <a:xfrm>
                <a:off x="4508501" y="4213226"/>
                <a:ext cx="1588"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0" y="0"/>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0" name="Freeform 2464"/>
              <p:cNvSpPr>
                <a:spLocks/>
              </p:cNvSpPr>
              <p:nvPr/>
            </p:nvSpPr>
            <p:spPr bwMode="auto">
              <a:xfrm>
                <a:off x="4500563" y="3944938"/>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cubicBezTo>
                      <a:pt x="0" y="1"/>
                      <a:pt x="0" y="1"/>
                      <a:pt x="0"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1" name="Freeform 2465"/>
              <p:cNvSpPr>
                <a:spLocks/>
              </p:cNvSpPr>
              <p:nvPr/>
            </p:nvSpPr>
            <p:spPr bwMode="auto">
              <a:xfrm>
                <a:off x="4508501" y="4471988"/>
                <a:ext cx="1588" cy="3175"/>
              </a:xfrm>
              <a:custGeom>
                <a:avLst/>
                <a:gdLst>
                  <a:gd name="T0" fmla="*/ 3 w 3"/>
                  <a:gd name="T1" fmla="*/ 8 h 8"/>
                  <a:gd name="T2" fmla="*/ 3 w 3"/>
                  <a:gd name="T3" fmla="*/ 8 h 8"/>
                  <a:gd name="T4" fmla="*/ 1 w 3"/>
                  <a:gd name="T5" fmla="*/ 0 h 8"/>
                  <a:gd name="T6" fmla="*/ 3 w 3"/>
                  <a:gd name="T7" fmla="*/ 8 h 8"/>
                </a:gdLst>
                <a:ahLst/>
                <a:cxnLst>
                  <a:cxn ang="0">
                    <a:pos x="T0" y="T1"/>
                  </a:cxn>
                  <a:cxn ang="0">
                    <a:pos x="T2" y="T3"/>
                  </a:cxn>
                  <a:cxn ang="0">
                    <a:pos x="T4" y="T5"/>
                  </a:cxn>
                  <a:cxn ang="0">
                    <a:pos x="T6" y="T7"/>
                  </a:cxn>
                </a:cxnLst>
                <a:rect l="0" t="0" r="r" b="b"/>
                <a:pathLst>
                  <a:path w="3" h="8">
                    <a:moveTo>
                      <a:pt x="3" y="8"/>
                    </a:moveTo>
                    <a:lnTo>
                      <a:pt x="3" y="8"/>
                    </a:lnTo>
                    <a:cubicBezTo>
                      <a:pt x="1" y="5"/>
                      <a:pt x="3" y="0"/>
                      <a:pt x="1" y="0"/>
                    </a:cubicBezTo>
                    <a:cubicBezTo>
                      <a:pt x="1" y="3"/>
                      <a:pt x="0" y="7"/>
                      <a:pt x="3" y="8"/>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2" name="Freeform 2466"/>
              <p:cNvSpPr>
                <a:spLocks/>
              </p:cNvSpPr>
              <p:nvPr/>
            </p:nvSpPr>
            <p:spPr bwMode="auto">
              <a:xfrm>
                <a:off x="4484688" y="4194176"/>
                <a:ext cx="0" cy="1588"/>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cubicBezTo>
                      <a:pt x="0" y="1"/>
                      <a:pt x="0" y="1"/>
                      <a:pt x="0"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3" name="Freeform 2467"/>
              <p:cNvSpPr>
                <a:spLocks/>
              </p:cNvSpPr>
              <p:nvPr/>
            </p:nvSpPr>
            <p:spPr bwMode="auto">
              <a:xfrm>
                <a:off x="4500563" y="3944938"/>
                <a:ext cx="1588" cy="0"/>
              </a:xfrm>
              <a:custGeom>
                <a:avLst/>
                <a:gdLst>
                  <a:gd name="T0" fmla="*/ 0 w 1"/>
                  <a:gd name="T1" fmla="*/ 0 h 2"/>
                  <a:gd name="T2" fmla="*/ 0 w 1"/>
                  <a:gd name="T3" fmla="*/ 0 h 2"/>
                  <a:gd name="T4" fmla="*/ 0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0" y="2"/>
                    </a:lnTo>
                    <a:cubicBezTo>
                      <a:pt x="0" y="2"/>
                      <a:pt x="0" y="2"/>
                      <a:pt x="1" y="1"/>
                    </a:cubicBezTo>
                    <a:cubicBezTo>
                      <a:pt x="0" y="1"/>
                      <a:pt x="0" y="1"/>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4" name="Freeform 2468"/>
              <p:cNvSpPr>
                <a:spLocks/>
              </p:cNvSpPr>
              <p:nvPr/>
            </p:nvSpPr>
            <p:spPr bwMode="auto">
              <a:xfrm>
                <a:off x="4508501" y="4121151"/>
                <a:ext cx="0" cy="0"/>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cubicBezTo>
                      <a:pt x="0" y="0"/>
                      <a:pt x="0" y="0"/>
                      <a:pt x="0" y="1"/>
                    </a:cubicBezTo>
                    <a:lnTo>
                      <a:pt x="0"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5" name="Freeform 2469"/>
              <p:cNvSpPr>
                <a:spLocks/>
              </p:cNvSpPr>
              <p:nvPr/>
            </p:nvSpPr>
            <p:spPr bwMode="auto">
              <a:xfrm>
                <a:off x="4510088" y="4116388"/>
                <a:ext cx="0" cy="1588"/>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0" y="0"/>
                    </a:lnTo>
                    <a:cubicBezTo>
                      <a:pt x="0" y="1"/>
                      <a:pt x="0" y="2"/>
                      <a:pt x="1" y="4"/>
                    </a:cubicBezTo>
                    <a:cubicBezTo>
                      <a:pt x="1" y="2"/>
                      <a:pt x="1" y="1"/>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6" name="Freeform 2470"/>
              <p:cNvSpPr>
                <a:spLocks/>
              </p:cNvSpPr>
              <p:nvPr/>
            </p:nvSpPr>
            <p:spPr bwMode="auto">
              <a:xfrm>
                <a:off x="4505326" y="3941763"/>
                <a:ext cx="0" cy="1588"/>
              </a:xfrm>
              <a:custGeom>
                <a:avLst/>
                <a:gdLst>
                  <a:gd name="T0" fmla="*/ 1 w 1"/>
                  <a:gd name="T1" fmla="*/ 4 h 4"/>
                  <a:gd name="T2" fmla="*/ 1 w 1"/>
                  <a:gd name="T3" fmla="*/ 4 h 4"/>
                  <a:gd name="T4" fmla="*/ 0 w 1"/>
                  <a:gd name="T5" fmla="*/ 0 h 4"/>
                  <a:gd name="T6" fmla="*/ 1 w 1"/>
                  <a:gd name="T7" fmla="*/ 4 h 4"/>
                </a:gdLst>
                <a:ahLst/>
                <a:cxnLst>
                  <a:cxn ang="0">
                    <a:pos x="T0" y="T1"/>
                  </a:cxn>
                  <a:cxn ang="0">
                    <a:pos x="T2" y="T3"/>
                  </a:cxn>
                  <a:cxn ang="0">
                    <a:pos x="T4" y="T5"/>
                  </a:cxn>
                  <a:cxn ang="0">
                    <a:pos x="T6" y="T7"/>
                  </a:cxn>
                </a:cxnLst>
                <a:rect l="0" t="0" r="r" b="b"/>
                <a:pathLst>
                  <a:path w="1" h="4">
                    <a:moveTo>
                      <a:pt x="1" y="4"/>
                    </a:moveTo>
                    <a:lnTo>
                      <a:pt x="1" y="4"/>
                    </a:lnTo>
                    <a:lnTo>
                      <a:pt x="0" y="0"/>
                    </a:lnTo>
                    <a:cubicBezTo>
                      <a:pt x="0" y="2"/>
                      <a:pt x="0" y="3"/>
                      <a:pt x="1" y="4"/>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7" name="Freeform 2471"/>
              <p:cNvSpPr>
                <a:spLocks/>
              </p:cNvSpPr>
              <p:nvPr/>
            </p:nvSpPr>
            <p:spPr bwMode="auto">
              <a:xfrm>
                <a:off x="4510088" y="4064001"/>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0"/>
                      <a:pt x="1" y="1"/>
                      <a:pt x="1" y="1"/>
                    </a:cubicBezTo>
                    <a:cubicBezTo>
                      <a:pt x="1"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8" name="Freeform 2472"/>
              <p:cNvSpPr>
                <a:spLocks/>
              </p:cNvSpPr>
              <p:nvPr/>
            </p:nvSpPr>
            <p:spPr bwMode="auto">
              <a:xfrm>
                <a:off x="4514851" y="4364038"/>
                <a:ext cx="0" cy="0"/>
              </a:xfrm>
              <a:custGeom>
                <a:avLst/>
                <a:gdLst>
                  <a:gd name="T0" fmla="*/ 0 w 1"/>
                  <a:gd name="T1" fmla="*/ 0 h 1"/>
                  <a:gd name="T2" fmla="*/ 0 w 1"/>
                  <a:gd name="T3" fmla="*/ 0 h 1"/>
                  <a:gd name="T4" fmla="*/ 0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0"/>
                      <a:pt x="0" y="1"/>
                      <a:pt x="0" y="1"/>
                    </a:cubicBezTo>
                    <a:cubicBezTo>
                      <a:pt x="0" y="1"/>
                      <a:pt x="1" y="1"/>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9" name="Rectangle 2473"/>
              <p:cNvSpPr>
                <a:spLocks noChangeArrowheads="1"/>
              </p:cNvSpPr>
              <p:nvPr/>
            </p:nvSpPr>
            <p:spPr bwMode="auto">
              <a:xfrm>
                <a:off x="4495801" y="4329113"/>
                <a:ext cx="1588" cy="1588"/>
              </a:xfrm>
              <a:prstGeom prst="rect">
                <a:avLst/>
              </a:prstGeom>
              <a:solidFill>
                <a:srgbClr val="29BA74"/>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0" name="Freeform 2474"/>
              <p:cNvSpPr>
                <a:spLocks/>
              </p:cNvSpPr>
              <p:nvPr/>
            </p:nvSpPr>
            <p:spPr bwMode="auto">
              <a:xfrm>
                <a:off x="4495801" y="4329113"/>
                <a:ext cx="0" cy="1588"/>
              </a:xfrm>
              <a:custGeom>
                <a:avLst/>
                <a:gdLst>
                  <a:gd name="T0" fmla="*/ 3 w 3"/>
                  <a:gd name="T1" fmla="*/ 6 h 6"/>
                  <a:gd name="T2" fmla="*/ 3 w 3"/>
                  <a:gd name="T3" fmla="*/ 6 h 6"/>
                  <a:gd name="T4" fmla="*/ 0 w 3"/>
                  <a:gd name="T5" fmla="*/ 0 h 6"/>
                  <a:gd name="T6" fmla="*/ 3 w 3"/>
                  <a:gd name="T7" fmla="*/ 6 h 6"/>
                </a:gdLst>
                <a:ahLst/>
                <a:cxnLst>
                  <a:cxn ang="0">
                    <a:pos x="T0" y="T1"/>
                  </a:cxn>
                  <a:cxn ang="0">
                    <a:pos x="T2" y="T3"/>
                  </a:cxn>
                  <a:cxn ang="0">
                    <a:pos x="T4" y="T5"/>
                  </a:cxn>
                  <a:cxn ang="0">
                    <a:pos x="T6" y="T7"/>
                  </a:cxn>
                </a:cxnLst>
                <a:rect l="0" t="0" r="r" b="b"/>
                <a:pathLst>
                  <a:path w="3" h="6">
                    <a:moveTo>
                      <a:pt x="3" y="6"/>
                    </a:moveTo>
                    <a:lnTo>
                      <a:pt x="3" y="6"/>
                    </a:lnTo>
                    <a:cubicBezTo>
                      <a:pt x="3" y="4"/>
                      <a:pt x="2" y="1"/>
                      <a:pt x="0" y="0"/>
                    </a:cubicBezTo>
                    <a:cubicBezTo>
                      <a:pt x="0" y="2"/>
                      <a:pt x="1" y="3"/>
                      <a:pt x="3" y="6"/>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1" name="Freeform 2475"/>
              <p:cNvSpPr>
                <a:spLocks/>
              </p:cNvSpPr>
              <p:nvPr/>
            </p:nvSpPr>
            <p:spPr bwMode="auto">
              <a:xfrm>
                <a:off x="4495801" y="4324351"/>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1"/>
                      <a:pt x="0" y="1"/>
                    </a:cubicBezTo>
                    <a:cubicBezTo>
                      <a:pt x="0" y="1"/>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2" name="Freeform 2476"/>
              <p:cNvSpPr>
                <a:spLocks/>
              </p:cNvSpPr>
              <p:nvPr/>
            </p:nvSpPr>
            <p:spPr bwMode="auto">
              <a:xfrm>
                <a:off x="4497388" y="4364038"/>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3" name="Freeform 2477"/>
              <p:cNvSpPr>
                <a:spLocks/>
              </p:cNvSpPr>
              <p:nvPr/>
            </p:nvSpPr>
            <p:spPr bwMode="auto">
              <a:xfrm>
                <a:off x="4495801" y="4356101"/>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2"/>
                      <a:pt x="0" y="1"/>
                      <a:pt x="0" y="0"/>
                    </a:cubicBezTo>
                    <a:cubicBezTo>
                      <a:pt x="0" y="1"/>
                      <a:pt x="0" y="1"/>
                      <a:pt x="0"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4" name="Rectangle 2478"/>
              <p:cNvSpPr>
                <a:spLocks noChangeArrowheads="1"/>
              </p:cNvSpPr>
              <p:nvPr/>
            </p:nvSpPr>
            <p:spPr bwMode="auto">
              <a:xfrm>
                <a:off x="4492626" y="4305301"/>
                <a:ext cx="1588" cy="1588"/>
              </a:xfrm>
              <a:prstGeom prst="rect">
                <a:avLst/>
              </a:prstGeom>
              <a:solidFill>
                <a:srgbClr val="29BA74"/>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5" name="Freeform 2479"/>
              <p:cNvSpPr>
                <a:spLocks/>
              </p:cNvSpPr>
              <p:nvPr/>
            </p:nvSpPr>
            <p:spPr bwMode="auto">
              <a:xfrm>
                <a:off x="4483101" y="3941763"/>
                <a:ext cx="39688" cy="584200"/>
              </a:xfrm>
              <a:custGeom>
                <a:avLst/>
                <a:gdLst>
                  <a:gd name="T0" fmla="*/ 10 w 127"/>
                  <a:gd name="T1" fmla="*/ 1031 h 1863"/>
                  <a:gd name="T2" fmla="*/ 20 w 127"/>
                  <a:gd name="T3" fmla="*/ 1105 h 1863"/>
                  <a:gd name="T4" fmla="*/ 29 w 127"/>
                  <a:gd name="T5" fmla="*/ 1156 h 1863"/>
                  <a:gd name="T6" fmla="*/ 31 w 127"/>
                  <a:gd name="T7" fmla="*/ 1185 h 1863"/>
                  <a:gd name="T8" fmla="*/ 36 w 127"/>
                  <a:gd name="T9" fmla="*/ 1216 h 1863"/>
                  <a:gd name="T10" fmla="*/ 39 w 127"/>
                  <a:gd name="T11" fmla="*/ 1230 h 1863"/>
                  <a:gd name="T12" fmla="*/ 40 w 127"/>
                  <a:gd name="T13" fmla="*/ 1259 h 1863"/>
                  <a:gd name="T14" fmla="*/ 41 w 127"/>
                  <a:gd name="T15" fmla="*/ 1296 h 1863"/>
                  <a:gd name="T16" fmla="*/ 51 w 127"/>
                  <a:gd name="T17" fmla="*/ 1338 h 1863"/>
                  <a:gd name="T18" fmla="*/ 59 w 127"/>
                  <a:gd name="T19" fmla="*/ 1381 h 1863"/>
                  <a:gd name="T20" fmla="*/ 59 w 127"/>
                  <a:gd name="T21" fmla="*/ 1409 h 1863"/>
                  <a:gd name="T22" fmla="*/ 60 w 127"/>
                  <a:gd name="T23" fmla="*/ 1437 h 1863"/>
                  <a:gd name="T24" fmla="*/ 54 w 127"/>
                  <a:gd name="T25" fmla="*/ 1480 h 1863"/>
                  <a:gd name="T26" fmla="*/ 74 w 127"/>
                  <a:gd name="T27" fmla="*/ 1524 h 1863"/>
                  <a:gd name="T28" fmla="*/ 80 w 127"/>
                  <a:gd name="T29" fmla="*/ 1563 h 1863"/>
                  <a:gd name="T30" fmla="*/ 78 w 127"/>
                  <a:gd name="T31" fmla="*/ 1622 h 1863"/>
                  <a:gd name="T32" fmla="*/ 89 w 127"/>
                  <a:gd name="T33" fmla="*/ 1661 h 1863"/>
                  <a:gd name="T34" fmla="*/ 96 w 127"/>
                  <a:gd name="T35" fmla="*/ 1685 h 1863"/>
                  <a:gd name="T36" fmla="*/ 83 w 127"/>
                  <a:gd name="T37" fmla="*/ 1692 h 1863"/>
                  <a:gd name="T38" fmla="*/ 93 w 127"/>
                  <a:gd name="T39" fmla="*/ 1720 h 1863"/>
                  <a:gd name="T40" fmla="*/ 93 w 127"/>
                  <a:gd name="T41" fmla="*/ 1739 h 1863"/>
                  <a:gd name="T42" fmla="*/ 103 w 127"/>
                  <a:gd name="T43" fmla="*/ 1756 h 1863"/>
                  <a:gd name="T44" fmla="*/ 108 w 127"/>
                  <a:gd name="T45" fmla="*/ 1818 h 1863"/>
                  <a:gd name="T46" fmla="*/ 107 w 127"/>
                  <a:gd name="T47" fmla="*/ 1849 h 1863"/>
                  <a:gd name="T48" fmla="*/ 115 w 127"/>
                  <a:gd name="T49" fmla="*/ 1828 h 1863"/>
                  <a:gd name="T50" fmla="*/ 115 w 127"/>
                  <a:gd name="T51" fmla="*/ 1801 h 1863"/>
                  <a:gd name="T52" fmla="*/ 124 w 127"/>
                  <a:gd name="T53" fmla="*/ 1786 h 1863"/>
                  <a:gd name="T54" fmla="*/ 117 w 127"/>
                  <a:gd name="T55" fmla="*/ 1725 h 1863"/>
                  <a:gd name="T56" fmla="*/ 122 w 127"/>
                  <a:gd name="T57" fmla="*/ 1708 h 1863"/>
                  <a:gd name="T58" fmla="*/ 120 w 127"/>
                  <a:gd name="T59" fmla="*/ 1681 h 1863"/>
                  <a:gd name="T60" fmla="*/ 116 w 127"/>
                  <a:gd name="T61" fmla="*/ 1610 h 1863"/>
                  <a:gd name="T62" fmla="*/ 114 w 127"/>
                  <a:gd name="T63" fmla="*/ 1580 h 1863"/>
                  <a:gd name="T64" fmla="*/ 111 w 127"/>
                  <a:gd name="T65" fmla="*/ 1541 h 1863"/>
                  <a:gd name="T66" fmla="*/ 109 w 127"/>
                  <a:gd name="T67" fmla="*/ 1511 h 1863"/>
                  <a:gd name="T68" fmla="*/ 109 w 127"/>
                  <a:gd name="T69" fmla="*/ 1478 h 1863"/>
                  <a:gd name="T70" fmla="*/ 107 w 127"/>
                  <a:gd name="T71" fmla="*/ 1453 h 1863"/>
                  <a:gd name="T72" fmla="*/ 101 w 127"/>
                  <a:gd name="T73" fmla="*/ 1372 h 1863"/>
                  <a:gd name="T74" fmla="*/ 102 w 127"/>
                  <a:gd name="T75" fmla="*/ 1329 h 1863"/>
                  <a:gd name="T76" fmla="*/ 95 w 127"/>
                  <a:gd name="T77" fmla="*/ 1275 h 1863"/>
                  <a:gd name="T78" fmla="*/ 92 w 127"/>
                  <a:gd name="T79" fmla="*/ 1246 h 1863"/>
                  <a:gd name="T80" fmla="*/ 96 w 127"/>
                  <a:gd name="T81" fmla="*/ 1194 h 1863"/>
                  <a:gd name="T82" fmla="*/ 96 w 127"/>
                  <a:gd name="T83" fmla="*/ 1146 h 1863"/>
                  <a:gd name="T84" fmla="*/ 93 w 127"/>
                  <a:gd name="T85" fmla="*/ 1098 h 1863"/>
                  <a:gd name="T86" fmla="*/ 93 w 127"/>
                  <a:gd name="T87" fmla="*/ 996 h 1863"/>
                  <a:gd name="T88" fmla="*/ 86 w 127"/>
                  <a:gd name="T89" fmla="*/ 883 h 1863"/>
                  <a:gd name="T90" fmla="*/ 81 w 127"/>
                  <a:gd name="T91" fmla="*/ 854 h 1863"/>
                  <a:gd name="T92" fmla="*/ 80 w 127"/>
                  <a:gd name="T93" fmla="*/ 813 h 1863"/>
                  <a:gd name="T94" fmla="*/ 84 w 127"/>
                  <a:gd name="T95" fmla="*/ 757 h 1863"/>
                  <a:gd name="T96" fmla="*/ 85 w 127"/>
                  <a:gd name="T97" fmla="*/ 622 h 1863"/>
                  <a:gd name="T98" fmla="*/ 83 w 127"/>
                  <a:gd name="T99" fmla="*/ 524 h 1863"/>
                  <a:gd name="T100" fmla="*/ 84 w 127"/>
                  <a:gd name="T101" fmla="*/ 409 h 1863"/>
                  <a:gd name="T102" fmla="*/ 76 w 127"/>
                  <a:gd name="T103" fmla="*/ 16 h 1863"/>
                  <a:gd name="T104" fmla="*/ 59 w 127"/>
                  <a:gd name="T105" fmla="*/ 14 h 1863"/>
                  <a:gd name="T106" fmla="*/ 57 w 127"/>
                  <a:gd name="T107" fmla="*/ 30 h 1863"/>
                  <a:gd name="T108" fmla="*/ 47 w 127"/>
                  <a:gd name="T109" fmla="*/ 69 h 1863"/>
                  <a:gd name="T110" fmla="*/ 40 w 127"/>
                  <a:gd name="T111" fmla="*/ 96 h 1863"/>
                  <a:gd name="T112" fmla="*/ 18 w 127"/>
                  <a:gd name="T113" fmla="*/ 256 h 1863"/>
                  <a:gd name="T114" fmla="*/ 7 w 127"/>
                  <a:gd name="T115" fmla="*/ 566 h 1863"/>
                  <a:gd name="T116" fmla="*/ 6 w 127"/>
                  <a:gd name="T117" fmla="*/ 604 h 1863"/>
                  <a:gd name="T118" fmla="*/ 8 w 127"/>
                  <a:gd name="T119" fmla="*/ 730 h 1863"/>
                  <a:gd name="T120" fmla="*/ 3 w 127"/>
                  <a:gd name="T121" fmla="*/ 751 h 1863"/>
                  <a:gd name="T122" fmla="*/ 6 w 127"/>
                  <a:gd name="T123" fmla="*/ 816 h 1863"/>
                  <a:gd name="T124" fmla="*/ 8 w 127"/>
                  <a:gd name="T125" fmla="*/ 88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 h="1863">
                    <a:moveTo>
                      <a:pt x="4" y="927"/>
                    </a:moveTo>
                    <a:lnTo>
                      <a:pt x="4" y="927"/>
                    </a:lnTo>
                    <a:cubicBezTo>
                      <a:pt x="6" y="950"/>
                      <a:pt x="11" y="981"/>
                      <a:pt x="11" y="1004"/>
                    </a:cubicBezTo>
                    <a:cubicBezTo>
                      <a:pt x="15" y="1009"/>
                      <a:pt x="15" y="1016"/>
                      <a:pt x="17" y="1024"/>
                    </a:cubicBezTo>
                    <a:lnTo>
                      <a:pt x="11" y="1025"/>
                    </a:lnTo>
                    <a:lnTo>
                      <a:pt x="13" y="1031"/>
                    </a:lnTo>
                    <a:cubicBezTo>
                      <a:pt x="12" y="1034"/>
                      <a:pt x="12" y="1026"/>
                      <a:pt x="10" y="1031"/>
                    </a:cubicBezTo>
                    <a:lnTo>
                      <a:pt x="14" y="1033"/>
                    </a:lnTo>
                    <a:cubicBezTo>
                      <a:pt x="12" y="1034"/>
                      <a:pt x="13" y="1049"/>
                      <a:pt x="9" y="1039"/>
                    </a:cubicBezTo>
                    <a:lnTo>
                      <a:pt x="10" y="1063"/>
                    </a:lnTo>
                    <a:cubicBezTo>
                      <a:pt x="10" y="1068"/>
                      <a:pt x="15" y="1066"/>
                      <a:pt x="14" y="1072"/>
                    </a:cubicBezTo>
                    <a:cubicBezTo>
                      <a:pt x="12" y="1073"/>
                      <a:pt x="12" y="1070"/>
                      <a:pt x="10" y="1070"/>
                    </a:cubicBezTo>
                    <a:cubicBezTo>
                      <a:pt x="7" y="1088"/>
                      <a:pt x="22" y="1090"/>
                      <a:pt x="21" y="1107"/>
                    </a:cubicBezTo>
                    <a:lnTo>
                      <a:pt x="20" y="1105"/>
                    </a:lnTo>
                    <a:cubicBezTo>
                      <a:pt x="21" y="1108"/>
                      <a:pt x="21" y="1114"/>
                      <a:pt x="22" y="1114"/>
                    </a:cubicBezTo>
                    <a:cubicBezTo>
                      <a:pt x="28" y="1111"/>
                      <a:pt x="19" y="1111"/>
                      <a:pt x="22" y="1106"/>
                    </a:cubicBezTo>
                    <a:cubicBezTo>
                      <a:pt x="27" y="1106"/>
                      <a:pt x="25" y="1112"/>
                      <a:pt x="28" y="1111"/>
                    </a:cubicBezTo>
                    <a:cubicBezTo>
                      <a:pt x="27" y="1115"/>
                      <a:pt x="30" y="1117"/>
                      <a:pt x="30" y="1121"/>
                    </a:cubicBezTo>
                    <a:cubicBezTo>
                      <a:pt x="28" y="1126"/>
                      <a:pt x="30" y="1135"/>
                      <a:pt x="27" y="1139"/>
                    </a:cubicBezTo>
                    <a:cubicBezTo>
                      <a:pt x="28" y="1142"/>
                      <a:pt x="33" y="1145"/>
                      <a:pt x="34" y="1151"/>
                    </a:cubicBezTo>
                    <a:cubicBezTo>
                      <a:pt x="30" y="1155"/>
                      <a:pt x="30" y="1150"/>
                      <a:pt x="29" y="1156"/>
                    </a:cubicBezTo>
                    <a:lnTo>
                      <a:pt x="32" y="1157"/>
                    </a:lnTo>
                    <a:cubicBezTo>
                      <a:pt x="32" y="1162"/>
                      <a:pt x="31" y="1161"/>
                      <a:pt x="30" y="1161"/>
                    </a:cubicBezTo>
                    <a:cubicBezTo>
                      <a:pt x="30" y="1166"/>
                      <a:pt x="34" y="1165"/>
                      <a:pt x="32" y="1171"/>
                    </a:cubicBezTo>
                    <a:lnTo>
                      <a:pt x="30" y="1168"/>
                    </a:lnTo>
                    <a:cubicBezTo>
                      <a:pt x="31" y="1173"/>
                      <a:pt x="31" y="1175"/>
                      <a:pt x="31" y="1181"/>
                    </a:cubicBezTo>
                    <a:cubicBezTo>
                      <a:pt x="29" y="1181"/>
                      <a:pt x="29" y="1179"/>
                      <a:pt x="29" y="1177"/>
                    </a:cubicBezTo>
                    <a:cubicBezTo>
                      <a:pt x="26" y="1180"/>
                      <a:pt x="32" y="1183"/>
                      <a:pt x="31" y="1185"/>
                    </a:cubicBezTo>
                    <a:cubicBezTo>
                      <a:pt x="32" y="1184"/>
                      <a:pt x="33" y="1179"/>
                      <a:pt x="35" y="1181"/>
                    </a:cubicBezTo>
                    <a:cubicBezTo>
                      <a:pt x="35" y="1185"/>
                      <a:pt x="40" y="1188"/>
                      <a:pt x="36" y="1191"/>
                    </a:cubicBezTo>
                    <a:lnTo>
                      <a:pt x="34" y="1187"/>
                    </a:lnTo>
                    <a:cubicBezTo>
                      <a:pt x="36" y="1194"/>
                      <a:pt x="37" y="1191"/>
                      <a:pt x="37" y="1199"/>
                    </a:cubicBezTo>
                    <a:cubicBezTo>
                      <a:pt x="37" y="1198"/>
                      <a:pt x="36" y="1199"/>
                      <a:pt x="35" y="1199"/>
                    </a:cubicBezTo>
                    <a:cubicBezTo>
                      <a:pt x="39" y="1203"/>
                      <a:pt x="36" y="1210"/>
                      <a:pt x="37" y="1218"/>
                    </a:cubicBezTo>
                    <a:lnTo>
                      <a:pt x="36" y="1216"/>
                    </a:lnTo>
                    <a:cubicBezTo>
                      <a:pt x="37" y="1219"/>
                      <a:pt x="39" y="1221"/>
                      <a:pt x="39" y="1222"/>
                    </a:cubicBezTo>
                    <a:cubicBezTo>
                      <a:pt x="41" y="1218"/>
                      <a:pt x="41" y="1219"/>
                      <a:pt x="44" y="1218"/>
                    </a:cubicBezTo>
                    <a:cubicBezTo>
                      <a:pt x="40" y="1224"/>
                      <a:pt x="50" y="1227"/>
                      <a:pt x="48" y="1236"/>
                    </a:cubicBezTo>
                    <a:cubicBezTo>
                      <a:pt x="46" y="1236"/>
                      <a:pt x="44" y="1234"/>
                      <a:pt x="46" y="1231"/>
                    </a:cubicBezTo>
                    <a:cubicBezTo>
                      <a:pt x="41" y="1228"/>
                      <a:pt x="37" y="1228"/>
                      <a:pt x="34" y="1223"/>
                    </a:cubicBezTo>
                    <a:cubicBezTo>
                      <a:pt x="36" y="1226"/>
                      <a:pt x="37" y="1230"/>
                      <a:pt x="35" y="1229"/>
                    </a:cubicBezTo>
                    <a:lnTo>
                      <a:pt x="39" y="1230"/>
                    </a:lnTo>
                    <a:cubicBezTo>
                      <a:pt x="39" y="1232"/>
                      <a:pt x="39" y="1234"/>
                      <a:pt x="39" y="1236"/>
                    </a:cubicBezTo>
                    <a:cubicBezTo>
                      <a:pt x="42" y="1236"/>
                      <a:pt x="43" y="1231"/>
                      <a:pt x="45" y="1236"/>
                    </a:cubicBezTo>
                    <a:cubicBezTo>
                      <a:pt x="47" y="1241"/>
                      <a:pt x="41" y="1239"/>
                      <a:pt x="43" y="1240"/>
                    </a:cubicBezTo>
                    <a:cubicBezTo>
                      <a:pt x="45" y="1247"/>
                      <a:pt x="48" y="1242"/>
                      <a:pt x="47" y="1250"/>
                    </a:cubicBezTo>
                    <a:cubicBezTo>
                      <a:pt x="47" y="1249"/>
                      <a:pt x="46" y="1248"/>
                      <a:pt x="46" y="1247"/>
                    </a:cubicBezTo>
                    <a:cubicBezTo>
                      <a:pt x="45" y="1252"/>
                      <a:pt x="48" y="1260"/>
                      <a:pt x="43" y="1262"/>
                    </a:cubicBezTo>
                    <a:cubicBezTo>
                      <a:pt x="42" y="1261"/>
                      <a:pt x="40" y="1261"/>
                      <a:pt x="40" y="1259"/>
                    </a:cubicBezTo>
                    <a:lnTo>
                      <a:pt x="41" y="1259"/>
                    </a:lnTo>
                    <a:cubicBezTo>
                      <a:pt x="37" y="1254"/>
                      <a:pt x="43" y="1264"/>
                      <a:pt x="38" y="1262"/>
                    </a:cubicBezTo>
                    <a:cubicBezTo>
                      <a:pt x="41" y="1262"/>
                      <a:pt x="41" y="1269"/>
                      <a:pt x="40" y="1272"/>
                    </a:cubicBezTo>
                    <a:lnTo>
                      <a:pt x="43" y="1271"/>
                    </a:lnTo>
                    <a:cubicBezTo>
                      <a:pt x="53" y="1281"/>
                      <a:pt x="37" y="1271"/>
                      <a:pt x="39" y="1282"/>
                    </a:cubicBezTo>
                    <a:cubicBezTo>
                      <a:pt x="42" y="1288"/>
                      <a:pt x="40" y="1279"/>
                      <a:pt x="42" y="1283"/>
                    </a:cubicBezTo>
                    <a:cubicBezTo>
                      <a:pt x="42" y="1288"/>
                      <a:pt x="39" y="1290"/>
                      <a:pt x="41" y="1296"/>
                    </a:cubicBezTo>
                    <a:cubicBezTo>
                      <a:pt x="40" y="1298"/>
                      <a:pt x="39" y="1302"/>
                      <a:pt x="35" y="1303"/>
                    </a:cubicBezTo>
                    <a:cubicBezTo>
                      <a:pt x="37" y="1307"/>
                      <a:pt x="35" y="1316"/>
                      <a:pt x="38" y="1318"/>
                    </a:cubicBezTo>
                    <a:cubicBezTo>
                      <a:pt x="41" y="1310"/>
                      <a:pt x="34" y="1311"/>
                      <a:pt x="38" y="1302"/>
                    </a:cubicBezTo>
                    <a:lnTo>
                      <a:pt x="42" y="1304"/>
                    </a:lnTo>
                    <a:cubicBezTo>
                      <a:pt x="42" y="1310"/>
                      <a:pt x="44" y="1317"/>
                      <a:pt x="43" y="1321"/>
                    </a:cubicBezTo>
                    <a:cubicBezTo>
                      <a:pt x="44" y="1320"/>
                      <a:pt x="45" y="1320"/>
                      <a:pt x="45" y="1320"/>
                    </a:cubicBezTo>
                    <a:cubicBezTo>
                      <a:pt x="47" y="1328"/>
                      <a:pt x="51" y="1331"/>
                      <a:pt x="51" y="1338"/>
                    </a:cubicBezTo>
                    <a:cubicBezTo>
                      <a:pt x="48" y="1340"/>
                      <a:pt x="48" y="1335"/>
                      <a:pt x="47" y="1332"/>
                    </a:cubicBezTo>
                    <a:cubicBezTo>
                      <a:pt x="45" y="1337"/>
                      <a:pt x="47" y="1337"/>
                      <a:pt x="47" y="1345"/>
                    </a:cubicBezTo>
                    <a:cubicBezTo>
                      <a:pt x="44" y="1346"/>
                      <a:pt x="47" y="1340"/>
                      <a:pt x="44" y="1339"/>
                    </a:cubicBezTo>
                    <a:lnTo>
                      <a:pt x="46" y="1348"/>
                    </a:lnTo>
                    <a:cubicBezTo>
                      <a:pt x="45" y="1348"/>
                      <a:pt x="45" y="1348"/>
                      <a:pt x="45" y="1348"/>
                    </a:cubicBezTo>
                    <a:cubicBezTo>
                      <a:pt x="50" y="1349"/>
                      <a:pt x="45" y="1355"/>
                      <a:pt x="47" y="1360"/>
                    </a:cubicBezTo>
                    <a:cubicBezTo>
                      <a:pt x="48" y="1372"/>
                      <a:pt x="54" y="1374"/>
                      <a:pt x="59" y="1381"/>
                    </a:cubicBezTo>
                    <a:cubicBezTo>
                      <a:pt x="58" y="1383"/>
                      <a:pt x="56" y="1383"/>
                      <a:pt x="55" y="1382"/>
                    </a:cubicBezTo>
                    <a:cubicBezTo>
                      <a:pt x="57" y="1379"/>
                      <a:pt x="55" y="1380"/>
                      <a:pt x="54" y="1379"/>
                    </a:cubicBezTo>
                    <a:cubicBezTo>
                      <a:pt x="55" y="1383"/>
                      <a:pt x="51" y="1389"/>
                      <a:pt x="48" y="1386"/>
                    </a:cubicBezTo>
                    <a:cubicBezTo>
                      <a:pt x="50" y="1393"/>
                      <a:pt x="51" y="1384"/>
                      <a:pt x="52" y="1388"/>
                    </a:cubicBezTo>
                    <a:lnTo>
                      <a:pt x="53" y="1397"/>
                    </a:lnTo>
                    <a:cubicBezTo>
                      <a:pt x="55" y="1396"/>
                      <a:pt x="55" y="1393"/>
                      <a:pt x="58" y="1397"/>
                    </a:cubicBezTo>
                    <a:cubicBezTo>
                      <a:pt x="59" y="1401"/>
                      <a:pt x="58" y="1403"/>
                      <a:pt x="59" y="1409"/>
                    </a:cubicBezTo>
                    <a:cubicBezTo>
                      <a:pt x="57" y="1408"/>
                      <a:pt x="55" y="1411"/>
                      <a:pt x="55" y="1407"/>
                    </a:cubicBezTo>
                    <a:cubicBezTo>
                      <a:pt x="54" y="1409"/>
                      <a:pt x="55" y="1413"/>
                      <a:pt x="57" y="1415"/>
                    </a:cubicBezTo>
                    <a:cubicBezTo>
                      <a:pt x="59" y="1409"/>
                      <a:pt x="60" y="1424"/>
                      <a:pt x="63" y="1419"/>
                    </a:cubicBezTo>
                    <a:lnTo>
                      <a:pt x="61" y="1425"/>
                    </a:lnTo>
                    <a:cubicBezTo>
                      <a:pt x="61" y="1424"/>
                      <a:pt x="60" y="1424"/>
                      <a:pt x="60" y="1422"/>
                    </a:cubicBezTo>
                    <a:cubicBezTo>
                      <a:pt x="57" y="1424"/>
                      <a:pt x="62" y="1427"/>
                      <a:pt x="62" y="1429"/>
                    </a:cubicBezTo>
                    <a:cubicBezTo>
                      <a:pt x="62" y="1431"/>
                      <a:pt x="62" y="1436"/>
                      <a:pt x="60" y="1437"/>
                    </a:cubicBezTo>
                    <a:cubicBezTo>
                      <a:pt x="62" y="1438"/>
                      <a:pt x="61" y="1443"/>
                      <a:pt x="60" y="1444"/>
                    </a:cubicBezTo>
                    <a:cubicBezTo>
                      <a:pt x="60" y="1446"/>
                      <a:pt x="62" y="1444"/>
                      <a:pt x="63" y="1445"/>
                    </a:cubicBezTo>
                    <a:lnTo>
                      <a:pt x="64" y="1454"/>
                    </a:lnTo>
                    <a:cubicBezTo>
                      <a:pt x="62" y="1455"/>
                      <a:pt x="56" y="1456"/>
                      <a:pt x="56" y="1454"/>
                    </a:cubicBezTo>
                    <a:cubicBezTo>
                      <a:pt x="58" y="1458"/>
                      <a:pt x="61" y="1455"/>
                      <a:pt x="62" y="1461"/>
                    </a:cubicBezTo>
                    <a:cubicBezTo>
                      <a:pt x="58" y="1458"/>
                      <a:pt x="59" y="1468"/>
                      <a:pt x="55" y="1464"/>
                    </a:cubicBezTo>
                    <a:cubicBezTo>
                      <a:pt x="52" y="1467"/>
                      <a:pt x="53" y="1476"/>
                      <a:pt x="54" y="1480"/>
                    </a:cubicBezTo>
                    <a:cubicBezTo>
                      <a:pt x="58" y="1483"/>
                      <a:pt x="56" y="1475"/>
                      <a:pt x="59" y="1475"/>
                    </a:cubicBezTo>
                    <a:cubicBezTo>
                      <a:pt x="61" y="1488"/>
                      <a:pt x="70" y="1488"/>
                      <a:pt x="69" y="1498"/>
                    </a:cubicBezTo>
                    <a:lnTo>
                      <a:pt x="70" y="1496"/>
                    </a:lnTo>
                    <a:cubicBezTo>
                      <a:pt x="72" y="1502"/>
                      <a:pt x="72" y="1501"/>
                      <a:pt x="75" y="1504"/>
                    </a:cubicBezTo>
                    <a:cubicBezTo>
                      <a:pt x="71" y="1503"/>
                      <a:pt x="65" y="1512"/>
                      <a:pt x="67" y="1522"/>
                    </a:cubicBezTo>
                    <a:cubicBezTo>
                      <a:pt x="69" y="1523"/>
                      <a:pt x="70" y="1516"/>
                      <a:pt x="73" y="1518"/>
                    </a:cubicBezTo>
                    <a:lnTo>
                      <a:pt x="74" y="1524"/>
                    </a:lnTo>
                    <a:cubicBezTo>
                      <a:pt x="74" y="1525"/>
                      <a:pt x="73" y="1524"/>
                      <a:pt x="73" y="1523"/>
                    </a:cubicBezTo>
                    <a:cubicBezTo>
                      <a:pt x="75" y="1529"/>
                      <a:pt x="69" y="1535"/>
                      <a:pt x="74" y="1536"/>
                    </a:cubicBezTo>
                    <a:lnTo>
                      <a:pt x="69" y="1543"/>
                    </a:lnTo>
                    <a:lnTo>
                      <a:pt x="71" y="1540"/>
                    </a:lnTo>
                    <a:cubicBezTo>
                      <a:pt x="73" y="1541"/>
                      <a:pt x="74" y="1548"/>
                      <a:pt x="75" y="1549"/>
                    </a:cubicBezTo>
                    <a:cubicBezTo>
                      <a:pt x="78" y="1556"/>
                      <a:pt x="76" y="1558"/>
                      <a:pt x="74" y="1562"/>
                    </a:cubicBezTo>
                    <a:cubicBezTo>
                      <a:pt x="76" y="1561"/>
                      <a:pt x="79" y="1558"/>
                      <a:pt x="80" y="1563"/>
                    </a:cubicBezTo>
                    <a:cubicBezTo>
                      <a:pt x="74" y="1564"/>
                      <a:pt x="79" y="1575"/>
                      <a:pt x="76" y="1575"/>
                    </a:cubicBezTo>
                    <a:cubicBezTo>
                      <a:pt x="76" y="1577"/>
                      <a:pt x="75" y="1581"/>
                      <a:pt x="77" y="1581"/>
                    </a:cubicBezTo>
                    <a:lnTo>
                      <a:pt x="73" y="1581"/>
                    </a:lnTo>
                    <a:cubicBezTo>
                      <a:pt x="79" y="1581"/>
                      <a:pt x="79" y="1589"/>
                      <a:pt x="81" y="1595"/>
                    </a:cubicBezTo>
                    <a:cubicBezTo>
                      <a:pt x="74" y="1594"/>
                      <a:pt x="82" y="1602"/>
                      <a:pt x="76" y="1605"/>
                    </a:cubicBezTo>
                    <a:cubicBezTo>
                      <a:pt x="81" y="1606"/>
                      <a:pt x="79" y="1616"/>
                      <a:pt x="84" y="1616"/>
                    </a:cubicBezTo>
                    <a:cubicBezTo>
                      <a:pt x="84" y="1621"/>
                      <a:pt x="80" y="1621"/>
                      <a:pt x="78" y="1622"/>
                    </a:cubicBezTo>
                    <a:lnTo>
                      <a:pt x="80" y="1624"/>
                    </a:lnTo>
                    <a:cubicBezTo>
                      <a:pt x="78" y="1627"/>
                      <a:pt x="79" y="1636"/>
                      <a:pt x="78" y="1641"/>
                    </a:cubicBezTo>
                    <a:lnTo>
                      <a:pt x="83" y="1645"/>
                    </a:lnTo>
                    <a:lnTo>
                      <a:pt x="81" y="1648"/>
                    </a:lnTo>
                    <a:cubicBezTo>
                      <a:pt x="82" y="1648"/>
                      <a:pt x="83" y="1652"/>
                      <a:pt x="85" y="1649"/>
                    </a:cubicBezTo>
                    <a:lnTo>
                      <a:pt x="85" y="1652"/>
                    </a:lnTo>
                    <a:cubicBezTo>
                      <a:pt x="89" y="1652"/>
                      <a:pt x="86" y="1656"/>
                      <a:pt x="89" y="1661"/>
                    </a:cubicBezTo>
                    <a:cubicBezTo>
                      <a:pt x="88" y="1662"/>
                      <a:pt x="87" y="1662"/>
                      <a:pt x="86" y="1661"/>
                    </a:cubicBezTo>
                    <a:cubicBezTo>
                      <a:pt x="87" y="1663"/>
                      <a:pt x="84" y="1663"/>
                      <a:pt x="83" y="1664"/>
                    </a:cubicBezTo>
                    <a:cubicBezTo>
                      <a:pt x="84" y="1662"/>
                      <a:pt x="92" y="1673"/>
                      <a:pt x="94" y="1665"/>
                    </a:cubicBezTo>
                    <a:cubicBezTo>
                      <a:pt x="96" y="1665"/>
                      <a:pt x="98" y="1669"/>
                      <a:pt x="97" y="1671"/>
                    </a:cubicBezTo>
                    <a:lnTo>
                      <a:pt x="93" y="1673"/>
                    </a:lnTo>
                    <a:lnTo>
                      <a:pt x="98" y="1676"/>
                    </a:lnTo>
                    <a:cubicBezTo>
                      <a:pt x="99" y="1680"/>
                      <a:pt x="96" y="1682"/>
                      <a:pt x="96" y="1685"/>
                    </a:cubicBezTo>
                    <a:cubicBezTo>
                      <a:pt x="96" y="1682"/>
                      <a:pt x="87" y="1679"/>
                      <a:pt x="88" y="1687"/>
                    </a:cubicBezTo>
                    <a:cubicBezTo>
                      <a:pt x="87" y="1683"/>
                      <a:pt x="84" y="1681"/>
                      <a:pt x="83" y="1679"/>
                    </a:cubicBezTo>
                    <a:cubicBezTo>
                      <a:pt x="83" y="1680"/>
                      <a:pt x="83" y="1681"/>
                      <a:pt x="81" y="1679"/>
                    </a:cubicBezTo>
                    <a:cubicBezTo>
                      <a:pt x="83" y="1685"/>
                      <a:pt x="84" y="1681"/>
                      <a:pt x="85" y="1687"/>
                    </a:cubicBezTo>
                    <a:cubicBezTo>
                      <a:pt x="81" y="1688"/>
                      <a:pt x="80" y="1690"/>
                      <a:pt x="80" y="1696"/>
                    </a:cubicBezTo>
                    <a:lnTo>
                      <a:pt x="82" y="1691"/>
                    </a:lnTo>
                    <a:cubicBezTo>
                      <a:pt x="82" y="1691"/>
                      <a:pt x="83" y="1691"/>
                      <a:pt x="83" y="1692"/>
                    </a:cubicBezTo>
                    <a:cubicBezTo>
                      <a:pt x="83" y="1690"/>
                      <a:pt x="84" y="1689"/>
                      <a:pt x="85" y="1689"/>
                    </a:cubicBezTo>
                    <a:cubicBezTo>
                      <a:pt x="85" y="1690"/>
                      <a:pt x="91" y="1696"/>
                      <a:pt x="89" y="1697"/>
                    </a:cubicBezTo>
                    <a:cubicBezTo>
                      <a:pt x="94" y="1690"/>
                      <a:pt x="95" y="1709"/>
                      <a:pt x="98" y="1704"/>
                    </a:cubicBezTo>
                    <a:cubicBezTo>
                      <a:pt x="99" y="1704"/>
                      <a:pt x="100" y="1709"/>
                      <a:pt x="98" y="1710"/>
                    </a:cubicBezTo>
                    <a:cubicBezTo>
                      <a:pt x="94" y="1705"/>
                      <a:pt x="94" y="1715"/>
                      <a:pt x="91" y="1714"/>
                    </a:cubicBezTo>
                    <a:cubicBezTo>
                      <a:pt x="93" y="1716"/>
                      <a:pt x="94" y="1709"/>
                      <a:pt x="95" y="1712"/>
                    </a:cubicBezTo>
                    <a:cubicBezTo>
                      <a:pt x="96" y="1715"/>
                      <a:pt x="94" y="1718"/>
                      <a:pt x="93" y="1720"/>
                    </a:cubicBezTo>
                    <a:lnTo>
                      <a:pt x="92" y="1719"/>
                    </a:lnTo>
                    <a:lnTo>
                      <a:pt x="91" y="1724"/>
                    </a:lnTo>
                    <a:cubicBezTo>
                      <a:pt x="93" y="1725"/>
                      <a:pt x="94" y="1719"/>
                      <a:pt x="95" y="1723"/>
                    </a:cubicBezTo>
                    <a:cubicBezTo>
                      <a:pt x="95" y="1725"/>
                      <a:pt x="96" y="1729"/>
                      <a:pt x="95" y="1729"/>
                    </a:cubicBezTo>
                    <a:cubicBezTo>
                      <a:pt x="92" y="1727"/>
                      <a:pt x="88" y="1729"/>
                      <a:pt x="87" y="1725"/>
                    </a:cubicBezTo>
                    <a:cubicBezTo>
                      <a:pt x="88" y="1729"/>
                      <a:pt x="90" y="1739"/>
                      <a:pt x="93" y="1735"/>
                    </a:cubicBezTo>
                    <a:lnTo>
                      <a:pt x="93" y="1739"/>
                    </a:lnTo>
                    <a:cubicBezTo>
                      <a:pt x="94" y="1736"/>
                      <a:pt x="97" y="1728"/>
                      <a:pt x="98" y="1736"/>
                    </a:cubicBezTo>
                    <a:lnTo>
                      <a:pt x="97" y="1736"/>
                    </a:lnTo>
                    <a:lnTo>
                      <a:pt x="101" y="1742"/>
                    </a:lnTo>
                    <a:lnTo>
                      <a:pt x="99" y="1744"/>
                    </a:lnTo>
                    <a:cubicBezTo>
                      <a:pt x="100" y="1744"/>
                      <a:pt x="101" y="1745"/>
                      <a:pt x="101" y="1747"/>
                    </a:cubicBezTo>
                    <a:cubicBezTo>
                      <a:pt x="100" y="1748"/>
                      <a:pt x="100" y="1750"/>
                      <a:pt x="99" y="1750"/>
                    </a:cubicBezTo>
                    <a:cubicBezTo>
                      <a:pt x="99" y="1756"/>
                      <a:pt x="101" y="1755"/>
                      <a:pt x="103" y="1756"/>
                    </a:cubicBezTo>
                    <a:cubicBezTo>
                      <a:pt x="103" y="1759"/>
                      <a:pt x="103" y="1760"/>
                      <a:pt x="100" y="1759"/>
                    </a:cubicBezTo>
                    <a:cubicBezTo>
                      <a:pt x="100" y="1764"/>
                      <a:pt x="102" y="1772"/>
                      <a:pt x="100" y="1775"/>
                    </a:cubicBezTo>
                    <a:cubicBezTo>
                      <a:pt x="103" y="1781"/>
                      <a:pt x="101" y="1774"/>
                      <a:pt x="104" y="1777"/>
                    </a:cubicBezTo>
                    <a:cubicBezTo>
                      <a:pt x="98" y="1783"/>
                      <a:pt x="104" y="1798"/>
                      <a:pt x="106" y="1807"/>
                    </a:cubicBezTo>
                    <a:cubicBezTo>
                      <a:pt x="112" y="1804"/>
                      <a:pt x="107" y="1810"/>
                      <a:pt x="113" y="1811"/>
                    </a:cubicBezTo>
                    <a:cubicBezTo>
                      <a:pt x="111" y="1809"/>
                      <a:pt x="109" y="1821"/>
                      <a:pt x="107" y="1813"/>
                    </a:cubicBezTo>
                    <a:lnTo>
                      <a:pt x="108" y="1818"/>
                    </a:lnTo>
                    <a:cubicBezTo>
                      <a:pt x="105" y="1822"/>
                      <a:pt x="104" y="1810"/>
                      <a:pt x="101" y="1816"/>
                    </a:cubicBezTo>
                    <a:cubicBezTo>
                      <a:pt x="102" y="1822"/>
                      <a:pt x="109" y="1825"/>
                      <a:pt x="107" y="1832"/>
                    </a:cubicBezTo>
                    <a:cubicBezTo>
                      <a:pt x="103" y="1830"/>
                      <a:pt x="110" y="1837"/>
                      <a:pt x="105" y="1836"/>
                    </a:cubicBezTo>
                    <a:cubicBezTo>
                      <a:pt x="103" y="1835"/>
                      <a:pt x="103" y="1833"/>
                      <a:pt x="103" y="1831"/>
                    </a:cubicBezTo>
                    <a:lnTo>
                      <a:pt x="102" y="1832"/>
                    </a:lnTo>
                    <a:cubicBezTo>
                      <a:pt x="103" y="1846"/>
                      <a:pt x="107" y="1835"/>
                      <a:pt x="111" y="1842"/>
                    </a:cubicBezTo>
                    <a:cubicBezTo>
                      <a:pt x="113" y="1850"/>
                      <a:pt x="109" y="1849"/>
                      <a:pt x="107" y="1849"/>
                    </a:cubicBezTo>
                    <a:cubicBezTo>
                      <a:pt x="106" y="1851"/>
                      <a:pt x="108" y="1855"/>
                      <a:pt x="109" y="1857"/>
                    </a:cubicBezTo>
                    <a:cubicBezTo>
                      <a:pt x="106" y="1852"/>
                      <a:pt x="110" y="1847"/>
                      <a:pt x="113" y="1849"/>
                    </a:cubicBezTo>
                    <a:cubicBezTo>
                      <a:pt x="109" y="1853"/>
                      <a:pt x="115" y="1861"/>
                      <a:pt x="117" y="1863"/>
                    </a:cubicBezTo>
                    <a:cubicBezTo>
                      <a:pt x="120" y="1851"/>
                      <a:pt x="116" y="1855"/>
                      <a:pt x="120" y="1844"/>
                    </a:cubicBezTo>
                    <a:cubicBezTo>
                      <a:pt x="118" y="1842"/>
                      <a:pt x="114" y="1843"/>
                      <a:pt x="115" y="1836"/>
                    </a:cubicBezTo>
                    <a:cubicBezTo>
                      <a:pt x="117" y="1840"/>
                      <a:pt x="117" y="1836"/>
                      <a:pt x="117" y="1835"/>
                    </a:cubicBezTo>
                    <a:cubicBezTo>
                      <a:pt x="115" y="1836"/>
                      <a:pt x="116" y="1830"/>
                      <a:pt x="115" y="1828"/>
                    </a:cubicBezTo>
                    <a:cubicBezTo>
                      <a:pt x="116" y="1826"/>
                      <a:pt x="121" y="1832"/>
                      <a:pt x="121" y="1825"/>
                    </a:cubicBezTo>
                    <a:lnTo>
                      <a:pt x="115" y="1824"/>
                    </a:lnTo>
                    <a:cubicBezTo>
                      <a:pt x="115" y="1822"/>
                      <a:pt x="119" y="1825"/>
                      <a:pt x="117" y="1820"/>
                    </a:cubicBezTo>
                    <a:cubicBezTo>
                      <a:pt x="120" y="1822"/>
                      <a:pt x="122" y="1818"/>
                      <a:pt x="124" y="1825"/>
                    </a:cubicBezTo>
                    <a:cubicBezTo>
                      <a:pt x="127" y="1816"/>
                      <a:pt x="119" y="1812"/>
                      <a:pt x="116" y="1806"/>
                    </a:cubicBezTo>
                    <a:cubicBezTo>
                      <a:pt x="116" y="1806"/>
                      <a:pt x="117" y="1806"/>
                      <a:pt x="118" y="1807"/>
                    </a:cubicBezTo>
                    <a:cubicBezTo>
                      <a:pt x="116" y="1806"/>
                      <a:pt x="116" y="1803"/>
                      <a:pt x="115" y="1801"/>
                    </a:cubicBezTo>
                    <a:cubicBezTo>
                      <a:pt x="116" y="1796"/>
                      <a:pt x="118" y="1804"/>
                      <a:pt x="120" y="1803"/>
                    </a:cubicBezTo>
                    <a:lnTo>
                      <a:pt x="119" y="1796"/>
                    </a:lnTo>
                    <a:cubicBezTo>
                      <a:pt x="119" y="1796"/>
                      <a:pt x="119" y="1795"/>
                      <a:pt x="119" y="1795"/>
                    </a:cubicBezTo>
                    <a:cubicBezTo>
                      <a:pt x="118" y="1794"/>
                      <a:pt x="117" y="1792"/>
                      <a:pt x="118" y="1791"/>
                    </a:cubicBezTo>
                    <a:cubicBezTo>
                      <a:pt x="121" y="1793"/>
                      <a:pt x="123" y="1794"/>
                      <a:pt x="124" y="1795"/>
                    </a:cubicBezTo>
                    <a:lnTo>
                      <a:pt x="119" y="1788"/>
                    </a:lnTo>
                    <a:cubicBezTo>
                      <a:pt x="121" y="1788"/>
                      <a:pt x="122" y="1781"/>
                      <a:pt x="124" y="1786"/>
                    </a:cubicBezTo>
                    <a:lnTo>
                      <a:pt x="122" y="1775"/>
                    </a:lnTo>
                    <a:lnTo>
                      <a:pt x="125" y="1774"/>
                    </a:lnTo>
                    <a:cubicBezTo>
                      <a:pt x="124" y="1771"/>
                      <a:pt x="124" y="1771"/>
                      <a:pt x="123" y="1774"/>
                    </a:cubicBezTo>
                    <a:cubicBezTo>
                      <a:pt x="124" y="1770"/>
                      <a:pt x="114" y="1758"/>
                      <a:pt x="122" y="1759"/>
                    </a:cubicBezTo>
                    <a:cubicBezTo>
                      <a:pt x="118" y="1750"/>
                      <a:pt x="119" y="1747"/>
                      <a:pt x="116" y="1737"/>
                    </a:cubicBezTo>
                    <a:cubicBezTo>
                      <a:pt x="120" y="1744"/>
                      <a:pt x="119" y="1727"/>
                      <a:pt x="122" y="1735"/>
                    </a:cubicBezTo>
                    <a:cubicBezTo>
                      <a:pt x="123" y="1730"/>
                      <a:pt x="118" y="1729"/>
                      <a:pt x="117" y="1725"/>
                    </a:cubicBezTo>
                    <a:cubicBezTo>
                      <a:pt x="118" y="1721"/>
                      <a:pt x="122" y="1722"/>
                      <a:pt x="124" y="1726"/>
                    </a:cubicBezTo>
                    <a:lnTo>
                      <a:pt x="122" y="1722"/>
                    </a:lnTo>
                    <a:lnTo>
                      <a:pt x="123" y="1722"/>
                    </a:lnTo>
                    <a:lnTo>
                      <a:pt x="120" y="1718"/>
                    </a:lnTo>
                    <a:cubicBezTo>
                      <a:pt x="122" y="1713"/>
                      <a:pt x="124" y="1716"/>
                      <a:pt x="124" y="1712"/>
                    </a:cubicBezTo>
                    <a:lnTo>
                      <a:pt x="120" y="1711"/>
                    </a:lnTo>
                    <a:lnTo>
                      <a:pt x="122" y="1708"/>
                    </a:lnTo>
                    <a:cubicBezTo>
                      <a:pt x="121" y="1709"/>
                      <a:pt x="119" y="1707"/>
                      <a:pt x="119" y="1703"/>
                    </a:cubicBezTo>
                    <a:lnTo>
                      <a:pt x="120" y="1703"/>
                    </a:lnTo>
                    <a:lnTo>
                      <a:pt x="118" y="1699"/>
                    </a:lnTo>
                    <a:cubicBezTo>
                      <a:pt x="121" y="1703"/>
                      <a:pt x="119" y="1696"/>
                      <a:pt x="121" y="1697"/>
                    </a:cubicBezTo>
                    <a:cubicBezTo>
                      <a:pt x="121" y="1694"/>
                      <a:pt x="121" y="1694"/>
                      <a:pt x="120" y="1687"/>
                    </a:cubicBezTo>
                    <a:lnTo>
                      <a:pt x="118" y="1689"/>
                    </a:lnTo>
                    <a:cubicBezTo>
                      <a:pt x="115" y="1681"/>
                      <a:pt x="121" y="1688"/>
                      <a:pt x="120" y="1681"/>
                    </a:cubicBezTo>
                    <a:lnTo>
                      <a:pt x="118" y="1682"/>
                    </a:lnTo>
                    <a:cubicBezTo>
                      <a:pt x="121" y="1672"/>
                      <a:pt x="113" y="1666"/>
                      <a:pt x="115" y="1659"/>
                    </a:cubicBezTo>
                    <a:cubicBezTo>
                      <a:pt x="117" y="1663"/>
                      <a:pt x="120" y="1661"/>
                      <a:pt x="119" y="1661"/>
                    </a:cubicBezTo>
                    <a:cubicBezTo>
                      <a:pt x="117" y="1656"/>
                      <a:pt x="117" y="1646"/>
                      <a:pt x="113" y="1640"/>
                    </a:cubicBezTo>
                    <a:cubicBezTo>
                      <a:pt x="116" y="1637"/>
                      <a:pt x="117" y="1636"/>
                      <a:pt x="119" y="1630"/>
                    </a:cubicBezTo>
                    <a:cubicBezTo>
                      <a:pt x="118" y="1625"/>
                      <a:pt x="117" y="1624"/>
                      <a:pt x="115" y="1623"/>
                    </a:cubicBezTo>
                    <a:cubicBezTo>
                      <a:pt x="116" y="1618"/>
                      <a:pt x="113" y="1610"/>
                      <a:pt x="116" y="1610"/>
                    </a:cubicBezTo>
                    <a:cubicBezTo>
                      <a:pt x="113" y="1609"/>
                      <a:pt x="116" y="1605"/>
                      <a:pt x="113" y="1603"/>
                    </a:cubicBezTo>
                    <a:lnTo>
                      <a:pt x="114" y="1602"/>
                    </a:lnTo>
                    <a:lnTo>
                      <a:pt x="112" y="1603"/>
                    </a:lnTo>
                    <a:cubicBezTo>
                      <a:pt x="117" y="1594"/>
                      <a:pt x="107" y="1590"/>
                      <a:pt x="111" y="1581"/>
                    </a:cubicBezTo>
                    <a:lnTo>
                      <a:pt x="112" y="1583"/>
                    </a:lnTo>
                    <a:lnTo>
                      <a:pt x="111" y="1579"/>
                    </a:lnTo>
                    <a:cubicBezTo>
                      <a:pt x="112" y="1579"/>
                      <a:pt x="113" y="1580"/>
                      <a:pt x="114" y="1580"/>
                    </a:cubicBezTo>
                    <a:lnTo>
                      <a:pt x="113" y="1564"/>
                    </a:lnTo>
                    <a:lnTo>
                      <a:pt x="111" y="1567"/>
                    </a:lnTo>
                    <a:cubicBezTo>
                      <a:pt x="111" y="1564"/>
                      <a:pt x="108" y="1562"/>
                      <a:pt x="109" y="1558"/>
                    </a:cubicBezTo>
                    <a:cubicBezTo>
                      <a:pt x="114" y="1564"/>
                      <a:pt x="109" y="1553"/>
                      <a:pt x="112" y="1551"/>
                    </a:cubicBezTo>
                    <a:lnTo>
                      <a:pt x="113" y="1555"/>
                    </a:lnTo>
                    <a:cubicBezTo>
                      <a:pt x="112" y="1550"/>
                      <a:pt x="112" y="1550"/>
                      <a:pt x="110" y="1551"/>
                    </a:cubicBezTo>
                    <a:cubicBezTo>
                      <a:pt x="108" y="1545"/>
                      <a:pt x="115" y="1546"/>
                      <a:pt x="111" y="1541"/>
                    </a:cubicBezTo>
                    <a:lnTo>
                      <a:pt x="111" y="1545"/>
                    </a:lnTo>
                    <a:cubicBezTo>
                      <a:pt x="110" y="1546"/>
                      <a:pt x="107" y="1543"/>
                      <a:pt x="107" y="1541"/>
                    </a:cubicBezTo>
                    <a:cubicBezTo>
                      <a:pt x="107" y="1540"/>
                      <a:pt x="109" y="1538"/>
                      <a:pt x="109" y="1540"/>
                    </a:cubicBezTo>
                    <a:cubicBezTo>
                      <a:pt x="108" y="1536"/>
                      <a:pt x="108" y="1528"/>
                      <a:pt x="107" y="1526"/>
                    </a:cubicBezTo>
                    <a:cubicBezTo>
                      <a:pt x="107" y="1524"/>
                      <a:pt x="109" y="1524"/>
                      <a:pt x="110" y="1526"/>
                    </a:cubicBezTo>
                    <a:cubicBezTo>
                      <a:pt x="107" y="1516"/>
                      <a:pt x="110" y="1521"/>
                      <a:pt x="107" y="1511"/>
                    </a:cubicBezTo>
                    <a:lnTo>
                      <a:pt x="109" y="1511"/>
                    </a:lnTo>
                    <a:lnTo>
                      <a:pt x="106" y="1508"/>
                    </a:lnTo>
                    <a:lnTo>
                      <a:pt x="109" y="1502"/>
                    </a:lnTo>
                    <a:lnTo>
                      <a:pt x="107" y="1504"/>
                    </a:lnTo>
                    <a:cubicBezTo>
                      <a:pt x="107" y="1501"/>
                      <a:pt x="105" y="1499"/>
                      <a:pt x="106" y="1495"/>
                    </a:cubicBezTo>
                    <a:lnTo>
                      <a:pt x="108" y="1496"/>
                    </a:lnTo>
                    <a:cubicBezTo>
                      <a:pt x="106" y="1487"/>
                      <a:pt x="111" y="1485"/>
                      <a:pt x="107" y="1476"/>
                    </a:cubicBezTo>
                    <a:cubicBezTo>
                      <a:pt x="107" y="1476"/>
                      <a:pt x="108" y="1477"/>
                      <a:pt x="109" y="1478"/>
                    </a:cubicBezTo>
                    <a:cubicBezTo>
                      <a:pt x="104" y="1470"/>
                      <a:pt x="112" y="1471"/>
                      <a:pt x="107" y="1463"/>
                    </a:cubicBezTo>
                    <a:cubicBezTo>
                      <a:pt x="108" y="1464"/>
                      <a:pt x="109" y="1463"/>
                      <a:pt x="109" y="1463"/>
                    </a:cubicBezTo>
                    <a:lnTo>
                      <a:pt x="108" y="1459"/>
                    </a:lnTo>
                    <a:lnTo>
                      <a:pt x="111" y="1459"/>
                    </a:lnTo>
                    <a:lnTo>
                      <a:pt x="106" y="1457"/>
                    </a:lnTo>
                    <a:lnTo>
                      <a:pt x="109" y="1454"/>
                    </a:lnTo>
                    <a:lnTo>
                      <a:pt x="107" y="1453"/>
                    </a:lnTo>
                    <a:cubicBezTo>
                      <a:pt x="113" y="1448"/>
                      <a:pt x="108" y="1443"/>
                      <a:pt x="112" y="1437"/>
                    </a:cubicBezTo>
                    <a:lnTo>
                      <a:pt x="108" y="1438"/>
                    </a:lnTo>
                    <a:cubicBezTo>
                      <a:pt x="98" y="1425"/>
                      <a:pt x="109" y="1406"/>
                      <a:pt x="104" y="1389"/>
                    </a:cubicBezTo>
                    <a:lnTo>
                      <a:pt x="107" y="1389"/>
                    </a:lnTo>
                    <a:lnTo>
                      <a:pt x="103" y="1382"/>
                    </a:lnTo>
                    <a:cubicBezTo>
                      <a:pt x="105" y="1378"/>
                      <a:pt x="106" y="1384"/>
                      <a:pt x="107" y="1383"/>
                    </a:cubicBezTo>
                    <a:cubicBezTo>
                      <a:pt x="105" y="1376"/>
                      <a:pt x="103" y="1380"/>
                      <a:pt x="101" y="1372"/>
                    </a:cubicBezTo>
                    <a:cubicBezTo>
                      <a:pt x="103" y="1367"/>
                      <a:pt x="103" y="1373"/>
                      <a:pt x="105" y="1375"/>
                    </a:cubicBezTo>
                    <a:cubicBezTo>
                      <a:pt x="102" y="1367"/>
                      <a:pt x="100" y="1355"/>
                      <a:pt x="101" y="1349"/>
                    </a:cubicBezTo>
                    <a:cubicBezTo>
                      <a:pt x="101" y="1349"/>
                      <a:pt x="100" y="1349"/>
                      <a:pt x="100" y="1349"/>
                    </a:cubicBezTo>
                    <a:cubicBezTo>
                      <a:pt x="98" y="1344"/>
                      <a:pt x="99" y="1337"/>
                      <a:pt x="98" y="1331"/>
                    </a:cubicBezTo>
                    <a:cubicBezTo>
                      <a:pt x="99" y="1331"/>
                      <a:pt x="100" y="1332"/>
                      <a:pt x="100" y="1334"/>
                    </a:cubicBezTo>
                    <a:cubicBezTo>
                      <a:pt x="100" y="1331"/>
                      <a:pt x="101" y="1328"/>
                      <a:pt x="99" y="1327"/>
                    </a:cubicBezTo>
                    <a:lnTo>
                      <a:pt x="102" y="1329"/>
                    </a:lnTo>
                    <a:cubicBezTo>
                      <a:pt x="102" y="1324"/>
                      <a:pt x="99" y="1315"/>
                      <a:pt x="102" y="1314"/>
                    </a:cubicBezTo>
                    <a:cubicBezTo>
                      <a:pt x="101" y="1315"/>
                      <a:pt x="99" y="1315"/>
                      <a:pt x="99" y="1311"/>
                    </a:cubicBezTo>
                    <a:cubicBezTo>
                      <a:pt x="103" y="1308"/>
                      <a:pt x="96" y="1300"/>
                      <a:pt x="98" y="1293"/>
                    </a:cubicBezTo>
                    <a:cubicBezTo>
                      <a:pt x="99" y="1294"/>
                      <a:pt x="100" y="1299"/>
                      <a:pt x="100" y="1297"/>
                    </a:cubicBezTo>
                    <a:cubicBezTo>
                      <a:pt x="101" y="1294"/>
                      <a:pt x="98" y="1291"/>
                      <a:pt x="97" y="1289"/>
                    </a:cubicBezTo>
                    <a:lnTo>
                      <a:pt x="99" y="1289"/>
                    </a:lnTo>
                    <a:lnTo>
                      <a:pt x="95" y="1275"/>
                    </a:lnTo>
                    <a:cubicBezTo>
                      <a:pt x="99" y="1272"/>
                      <a:pt x="93" y="1261"/>
                      <a:pt x="97" y="1262"/>
                    </a:cubicBezTo>
                    <a:cubicBezTo>
                      <a:pt x="96" y="1256"/>
                      <a:pt x="95" y="1266"/>
                      <a:pt x="94" y="1260"/>
                    </a:cubicBezTo>
                    <a:cubicBezTo>
                      <a:pt x="96" y="1258"/>
                      <a:pt x="92" y="1254"/>
                      <a:pt x="95" y="1254"/>
                    </a:cubicBezTo>
                    <a:lnTo>
                      <a:pt x="96" y="1254"/>
                    </a:lnTo>
                    <a:lnTo>
                      <a:pt x="95" y="1250"/>
                    </a:lnTo>
                    <a:lnTo>
                      <a:pt x="99" y="1252"/>
                    </a:lnTo>
                    <a:cubicBezTo>
                      <a:pt x="98" y="1248"/>
                      <a:pt x="94" y="1246"/>
                      <a:pt x="92" y="1246"/>
                    </a:cubicBezTo>
                    <a:cubicBezTo>
                      <a:pt x="93" y="1242"/>
                      <a:pt x="92" y="1236"/>
                      <a:pt x="94" y="1234"/>
                    </a:cubicBezTo>
                    <a:lnTo>
                      <a:pt x="95" y="1236"/>
                    </a:lnTo>
                    <a:cubicBezTo>
                      <a:pt x="93" y="1225"/>
                      <a:pt x="102" y="1217"/>
                      <a:pt x="97" y="1209"/>
                    </a:cubicBezTo>
                    <a:cubicBezTo>
                      <a:pt x="97" y="1209"/>
                      <a:pt x="98" y="1209"/>
                      <a:pt x="98" y="1210"/>
                    </a:cubicBezTo>
                    <a:lnTo>
                      <a:pt x="97" y="1203"/>
                    </a:lnTo>
                    <a:lnTo>
                      <a:pt x="100" y="1205"/>
                    </a:lnTo>
                    <a:lnTo>
                      <a:pt x="96" y="1194"/>
                    </a:lnTo>
                    <a:lnTo>
                      <a:pt x="97" y="1194"/>
                    </a:lnTo>
                    <a:cubicBezTo>
                      <a:pt x="97" y="1187"/>
                      <a:pt x="96" y="1175"/>
                      <a:pt x="95" y="1166"/>
                    </a:cubicBezTo>
                    <a:lnTo>
                      <a:pt x="96" y="1168"/>
                    </a:lnTo>
                    <a:cubicBezTo>
                      <a:pt x="93" y="1157"/>
                      <a:pt x="96" y="1158"/>
                      <a:pt x="94" y="1150"/>
                    </a:cubicBezTo>
                    <a:cubicBezTo>
                      <a:pt x="95" y="1150"/>
                      <a:pt x="95" y="1151"/>
                      <a:pt x="95" y="1151"/>
                    </a:cubicBezTo>
                    <a:lnTo>
                      <a:pt x="94" y="1144"/>
                    </a:lnTo>
                    <a:lnTo>
                      <a:pt x="96" y="1146"/>
                    </a:lnTo>
                    <a:cubicBezTo>
                      <a:pt x="92" y="1141"/>
                      <a:pt x="99" y="1131"/>
                      <a:pt x="97" y="1134"/>
                    </a:cubicBezTo>
                    <a:cubicBezTo>
                      <a:pt x="95" y="1132"/>
                      <a:pt x="93" y="1127"/>
                      <a:pt x="91" y="1126"/>
                    </a:cubicBezTo>
                    <a:cubicBezTo>
                      <a:pt x="91" y="1119"/>
                      <a:pt x="93" y="1124"/>
                      <a:pt x="94" y="1120"/>
                    </a:cubicBezTo>
                    <a:cubicBezTo>
                      <a:pt x="94" y="1114"/>
                      <a:pt x="91" y="1114"/>
                      <a:pt x="92" y="1106"/>
                    </a:cubicBezTo>
                    <a:lnTo>
                      <a:pt x="94" y="1107"/>
                    </a:lnTo>
                    <a:cubicBezTo>
                      <a:pt x="93" y="1103"/>
                      <a:pt x="92" y="1101"/>
                      <a:pt x="92" y="1097"/>
                    </a:cubicBezTo>
                    <a:lnTo>
                      <a:pt x="93" y="1098"/>
                    </a:lnTo>
                    <a:cubicBezTo>
                      <a:pt x="89" y="1090"/>
                      <a:pt x="97" y="1088"/>
                      <a:pt x="90" y="1082"/>
                    </a:cubicBezTo>
                    <a:cubicBezTo>
                      <a:pt x="91" y="1079"/>
                      <a:pt x="89" y="1073"/>
                      <a:pt x="92" y="1073"/>
                    </a:cubicBezTo>
                    <a:cubicBezTo>
                      <a:pt x="90" y="1064"/>
                      <a:pt x="89" y="1057"/>
                      <a:pt x="87" y="1047"/>
                    </a:cubicBezTo>
                    <a:cubicBezTo>
                      <a:pt x="92" y="1046"/>
                      <a:pt x="86" y="1045"/>
                      <a:pt x="89" y="1039"/>
                    </a:cubicBezTo>
                    <a:lnTo>
                      <a:pt x="86" y="1040"/>
                    </a:lnTo>
                    <a:cubicBezTo>
                      <a:pt x="85" y="1027"/>
                      <a:pt x="92" y="1011"/>
                      <a:pt x="90" y="996"/>
                    </a:cubicBezTo>
                    <a:lnTo>
                      <a:pt x="93" y="996"/>
                    </a:lnTo>
                    <a:lnTo>
                      <a:pt x="89" y="993"/>
                    </a:lnTo>
                    <a:cubicBezTo>
                      <a:pt x="90" y="977"/>
                      <a:pt x="90" y="957"/>
                      <a:pt x="90" y="944"/>
                    </a:cubicBezTo>
                    <a:cubicBezTo>
                      <a:pt x="88" y="940"/>
                      <a:pt x="85" y="934"/>
                      <a:pt x="85" y="927"/>
                    </a:cubicBezTo>
                    <a:lnTo>
                      <a:pt x="86" y="928"/>
                    </a:lnTo>
                    <a:cubicBezTo>
                      <a:pt x="84" y="917"/>
                      <a:pt x="83" y="905"/>
                      <a:pt x="84" y="892"/>
                    </a:cubicBezTo>
                    <a:cubicBezTo>
                      <a:pt x="85" y="893"/>
                      <a:pt x="86" y="892"/>
                      <a:pt x="87" y="893"/>
                    </a:cubicBezTo>
                    <a:cubicBezTo>
                      <a:pt x="83" y="890"/>
                      <a:pt x="86" y="886"/>
                      <a:pt x="86" y="883"/>
                    </a:cubicBezTo>
                    <a:lnTo>
                      <a:pt x="84" y="886"/>
                    </a:lnTo>
                    <a:cubicBezTo>
                      <a:pt x="82" y="883"/>
                      <a:pt x="84" y="877"/>
                      <a:pt x="86" y="876"/>
                    </a:cubicBezTo>
                    <a:lnTo>
                      <a:pt x="83" y="870"/>
                    </a:lnTo>
                    <a:cubicBezTo>
                      <a:pt x="83" y="870"/>
                      <a:pt x="83" y="869"/>
                      <a:pt x="84" y="869"/>
                    </a:cubicBezTo>
                    <a:lnTo>
                      <a:pt x="82" y="868"/>
                    </a:lnTo>
                    <a:lnTo>
                      <a:pt x="86" y="865"/>
                    </a:lnTo>
                    <a:cubicBezTo>
                      <a:pt x="85" y="864"/>
                      <a:pt x="84" y="856"/>
                      <a:pt x="81" y="854"/>
                    </a:cubicBezTo>
                    <a:cubicBezTo>
                      <a:pt x="82" y="853"/>
                      <a:pt x="83" y="848"/>
                      <a:pt x="83" y="852"/>
                    </a:cubicBezTo>
                    <a:lnTo>
                      <a:pt x="84" y="832"/>
                    </a:lnTo>
                    <a:lnTo>
                      <a:pt x="83" y="835"/>
                    </a:lnTo>
                    <a:cubicBezTo>
                      <a:pt x="80" y="835"/>
                      <a:pt x="78" y="829"/>
                      <a:pt x="79" y="826"/>
                    </a:cubicBezTo>
                    <a:cubicBezTo>
                      <a:pt x="82" y="830"/>
                      <a:pt x="83" y="826"/>
                      <a:pt x="85" y="825"/>
                    </a:cubicBezTo>
                    <a:cubicBezTo>
                      <a:pt x="84" y="822"/>
                      <a:pt x="83" y="827"/>
                      <a:pt x="81" y="826"/>
                    </a:cubicBezTo>
                    <a:cubicBezTo>
                      <a:pt x="79" y="822"/>
                      <a:pt x="78" y="815"/>
                      <a:pt x="80" y="813"/>
                    </a:cubicBezTo>
                    <a:lnTo>
                      <a:pt x="81" y="815"/>
                    </a:lnTo>
                    <a:cubicBezTo>
                      <a:pt x="80" y="810"/>
                      <a:pt x="84" y="808"/>
                      <a:pt x="84" y="803"/>
                    </a:cubicBezTo>
                    <a:cubicBezTo>
                      <a:pt x="82" y="799"/>
                      <a:pt x="84" y="796"/>
                      <a:pt x="79" y="797"/>
                    </a:cubicBezTo>
                    <a:cubicBezTo>
                      <a:pt x="78" y="791"/>
                      <a:pt x="82" y="794"/>
                      <a:pt x="83" y="792"/>
                    </a:cubicBezTo>
                    <a:cubicBezTo>
                      <a:pt x="80" y="790"/>
                      <a:pt x="82" y="781"/>
                      <a:pt x="84" y="780"/>
                    </a:cubicBezTo>
                    <a:cubicBezTo>
                      <a:pt x="77" y="777"/>
                      <a:pt x="87" y="764"/>
                      <a:pt x="81" y="762"/>
                    </a:cubicBezTo>
                    <a:lnTo>
                      <a:pt x="84" y="757"/>
                    </a:lnTo>
                    <a:cubicBezTo>
                      <a:pt x="82" y="757"/>
                      <a:pt x="79" y="756"/>
                      <a:pt x="78" y="752"/>
                    </a:cubicBezTo>
                    <a:cubicBezTo>
                      <a:pt x="80" y="748"/>
                      <a:pt x="83" y="749"/>
                      <a:pt x="84" y="748"/>
                    </a:cubicBezTo>
                    <a:lnTo>
                      <a:pt x="78" y="746"/>
                    </a:lnTo>
                    <a:cubicBezTo>
                      <a:pt x="84" y="724"/>
                      <a:pt x="80" y="695"/>
                      <a:pt x="86" y="670"/>
                    </a:cubicBezTo>
                    <a:cubicBezTo>
                      <a:pt x="85" y="660"/>
                      <a:pt x="82" y="646"/>
                      <a:pt x="83" y="633"/>
                    </a:cubicBezTo>
                    <a:lnTo>
                      <a:pt x="84" y="635"/>
                    </a:lnTo>
                    <a:lnTo>
                      <a:pt x="85" y="622"/>
                    </a:lnTo>
                    <a:lnTo>
                      <a:pt x="83" y="631"/>
                    </a:lnTo>
                    <a:cubicBezTo>
                      <a:pt x="82" y="629"/>
                      <a:pt x="81" y="627"/>
                      <a:pt x="81" y="624"/>
                    </a:cubicBezTo>
                    <a:cubicBezTo>
                      <a:pt x="83" y="610"/>
                      <a:pt x="86" y="592"/>
                      <a:pt x="84" y="575"/>
                    </a:cubicBezTo>
                    <a:cubicBezTo>
                      <a:pt x="77" y="564"/>
                      <a:pt x="90" y="568"/>
                      <a:pt x="85" y="557"/>
                    </a:cubicBezTo>
                    <a:cubicBezTo>
                      <a:pt x="85" y="558"/>
                      <a:pt x="86" y="558"/>
                      <a:pt x="87" y="559"/>
                    </a:cubicBezTo>
                    <a:cubicBezTo>
                      <a:pt x="85" y="548"/>
                      <a:pt x="84" y="542"/>
                      <a:pt x="80" y="530"/>
                    </a:cubicBezTo>
                    <a:cubicBezTo>
                      <a:pt x="87" y="532"/>
                      <a:pt x="80" y="523"/>
                      <a:pt x="83" y="524"/>
                    </a:cubicBezTo>
                    <a:lnTo>
                      <a:pt x="81" y="523"/>
                    </a:lnTo>
                    <a:cubicBezTo>
                      <a:pt x="82" y="521"/>
                      <a:pt x="83" y="515"/>
                      <a:pt x="85" y="516"/>
                    </a:cubicBezTo>
                    <a:lnTo>
                      <a:pt x="82" y="511"/>
                    </a:lnTo>
                    <a:lnTo>
                      <a:pt x="84" y="510"/>
                    </a:lnTo>
                    <a:cubicBezTo>
                      <a:pt x="85" y="503"/>
                      <a:pt x="82" y="489"/>
                      <a:pt x="88" y="486"/>
                    </a:cubicBezTo>
                    <a:cubicBezTo>
                      <a:pt x="84" y="469"/>
                      <a:pt x="85" y="443"/>
                      <a:pt x="87" y="423"/>
                    </a:cubicBezTo>
                    <a:cubicBezTo>
                      <a:pt x="85" y="420"/>
                      <a:pt x="84" y="414"/>
                      <a:pt x="84" y="409"/>
                    </a:cubicBezTo>
                    <a:lnTo>
                      <a:pt x="87" y="404"/>
                    </a:lnTo>
                    <a:cubicBezTo>
                      <a:pt x="87" y="400"/>
                      <a:pt x="82" y="394"/>
                      <a:pt x="85" y="390"/>
                    </a:cubicBezTo>
                    <a:cubicBezTo>
                      <a:pt x="85" y="390"/>
                      <a:pt x="85" y="390"/>
                      <a:pt x="85" y="391"/>
                    </a:cubicBezTo>
                    <a:cubicBezTo>
                      <a:pt x="85" y="386"/>
                      <a:pt x="87" y="381"/>
                      <a:pt x="84" y="376"/>
                    </a:cubicBezTo>
                    <a:cubicBezTo>
                      <a:pt x="84" y="371"/>
                      <a:pt x="86" y="366"/>
                      <a:pt x="89" y="368"/>
                    </a:cubicBezTo>
                    <a:cubicBezTo>
                      <a:pt x="83" y="367"/>
                      <a:pt x="89" y="356"/>
                      <a:pt x="89" y="356"/>
                    </a:cubicBezTo>
                    <a:cubicBezTo>
                      <a:pt x="89" y="356"/>
                      <a:pt x="105" y="84"/>
                      <a:pt x="76" y="16"/>
                    </a:cubicBezTo>
                    <a:cubicBezTo>
                      <a:pt x="73" y="14"/>
                      <a:pt x="71" y="8"/>
                      <a:pt x="68" y="10"/>
                    </a:cubicBezTo>
                    <a:cubicBezTo>
                      <a:pt x="67" y="6"/>
                      <a:pt x="72" y="3"/>
                      <a:pt x="69" y="2"/>
                    </a:cubicBezTo>
                    <a:cubicBezTo>
                      <a:pt x="68" y="9"/>
                      <a:pt x="62" y="0"/>
                      <a:pt x="59" y="7"/>
                    </a:cubicBezTo>
                    <a:lnTo>
                      <a:pt x="58" y="2"/>
                    </a:lnTo>
                    <a:cubicBezTo>
                      <a:pt x="57" y="2"/>
                      <a:pt x="61" y="8"/>
                      <a:pt x="57" y="7"/>
                    </a:cubicBezTo>
                    <a:lnTo>
                      <a:pt x="62" y="8"/>
                    </a:lnTo>
                    <a:cubicBezTo>
                      <a:pt x="61" y="12"/>
                      <a:pt x="60" y="13"/>
                      <a:pt x="59" y="14"/>
                    </a:cubicBezTo>
                    <a:cubicBezTo>
                      <a:pt x="60" y="18"/>
                      <a:pt x="67" y="20"/>
                      <a:pt x="64" y="27"/>
                    </a:cubicBezTo>
                    <a:lnTo>
                      <a:pt x="64" y="25"/>
                    </a:lnTo>
                    <a:cubicBezTo>
                      <a:pt x="64" y="31"/>
                      <a:pt x="61" y="29"/>
                      <a:pt x="60" y="30"/>
                    </a:cubicBezTo>
                    <a:lnTo>
                      <a:pt x="60" y="29"/>
                    </a:lnTo>
                    <a:lnTo>
                      <a:pt x="57" y="34"/>
                    </a:lnTo>
                    <a:cubicBezTo>
                      <a:pt x="59" y="30"/>
                      <a:pt x="55" y="23"/>
                      <a:pt x="55" y="27"/>
                    </a:cubicBezTo>
                    <a:cubicBezTo>
                      <a:pt x="54" y="34"/>
                      <a:pt x="57" y="25"/>
                      <a:pt x="57" y="30"/>
                    </a:cubicBezTo>
                    <a:cubicBezTo>
                      <a:pt x="57" y="34"/>
                      <a:pt x="55" y="33"/>
                      <a:pt x="53" y="33"/>
                    </a:cubicBezTo>
                    <a:lnTo>
                      <a:pt x="53" y="39"/>
                    </a:lnTo>
                    <a:cubicBezTo>
                      <a:pt x="51" y="38"/>
                      <a:pt x="53" y="35"/>
                      <a:pt x="51" y="37"/>
                    </a:cubicBezTo>
                    <a:lnTo>
                      <a:pt x="53" y="45"/>
                    </a:lnTo>
                    <a:cubicBezTo>
                      <a:pt x="48" y="46"/>
                      <a:pt x="56" y="53"/>
                      <a:pt x="51" y="56"/>
                    </a:cubicBezTo>
                    <a:cubicBezTo>
                      <a:pt x="49" y="51"/>
                      <a:pt x="49" y="57"/>
                      <a:pt x="47" y="56"/>
                    </a:cubicBezTo>
                    <a:lnTo>
                      <a:pt x="47" y="69"/>
                    </a:lnTo>
                    <a:cubicBezTo>
                      <a:pt x="46" y="71"/>
                      <a:pt x="45" y="66"/>
                      <a:pt x="45" y="68"/>
                    </a:cubicBezTo>
                    <a:cubicBezTo>
                      <a:pt x="44" y="70"/>
                      <a:pt x="47" y="72"/>
                      <a:pt x="47" y="73"/>
                    </a:cubicBezTo>
                    <a:cubicBezTo>
                      <a:pt x="45" y="74"/>
                      <a:pt x="47" y="83"/>
                      <a:pt x="43" y="83"/>
                    </a:cubicBezTo>
                    <a:cubicBezTo>
                      <a:pt x="40" y="92"/>
                      <a:pt x="48" y="87"/>
                      <a:pt x="46" y="95"/>
                    </a:cubicBezTo>
                    <a:cubicBezTo>
                      <a:pt x="43" y="96"/>
                      <a:pt x="45" y="88"/>
                      <a:pt x="43" y="92"/>
                    </a:cubicBezTo>
                    <a:lnTo>
                      <a:pt x="43" y="101"/>
                    </a:lnTo>
                    <a:cubicBezTo>
                      <a:pt x="42" y="100"/>
                      <a:pt x="40" y="99"/>
                      <a:pt x="40" y="96"/>
                    </a:cubicBezTo>
                    <a:cubicBezTo>
                      <a:pt x="37" y="120"/>
                      <a:pt x="24" y="132"/>
                      <a:pt x="27" y="154"/>
                    </a:cubicBezTo>
                    <a:cubicBezTo>
                      <a:pt x="24" y="157"/>
                      <a:pt x="25" y="152"/>
                      <a:pt x="24" y="150"/>
                    </a:cubicBezTo>
                    <a:cubicBezTo>
                      <a:pt x="27" y="165"/>
                      <a:pt x="17" y="172"/>
                      <a:pt x="17" y="185"/>
                    </a:cubicBezTo>
                    <a:lnTo>
                      <a:pt x="20" y="185"/>
                    </a:lnTo>
                    <a:cubicBezTo>
                      <a:pt x="12" y="204"/>
                      <a:pt x="17" y="226"/>
                      <a:pt x="13" y="247"/>
                    </a:cubicBezTo>
                    <a:lnTo>
                      <a:pt x="15" y="245"/>
                    </a:lnTo>
                    <a:cubicBezTo>
                      <a:pt x="17" y="248"/>
                      <a:pt x="17" y="253"/>
                      <a:pt x="18" y="256"/>
                    </a:cubicBezTo>
                    <a:cubicBezTo>
                      <a:pt x="17" y="257"/>
                      <a:pt x="14" y="253"/>
                      <a:pt x="14" y="260"/>
                    </a:cubicBezTo>
                    <a:cubicBezTo>
                      <a:pt x="15" y="258"/>
                      <a:pt x="16" y="256"/>
                      <a:pt x="17" y="257"/>
                    </a:cubicBezTo>
                    <a:cubicBezTo>
                      <a:pt x="11" y="275"/>
                      <a:pt x="12" y="313"/>
                      <a:pt x="9" y="343"/>
                    </a:cubicBezTo>
                    <a:cubicBezTo>
                      <a:pt x="11" y="383"/>
                      <a:pt x="6" y="427"/>
                      <a:pt x="7" y="466"/>
                    </a:cubicBezTo>
                    <a:cubicBezTo>
                      <a:pt x="7" y="460"/>
                      <a:pt x="12" y="463"/>
                      <a:pt x="11" y="467"/>
                    </a:cubicBezTo>
                    <a:cubicBezTo>
                      <a:pt x="1" y="480"/>
                      <a:pt x="13" y="489"/>
                      <a:pt x="6" y="501"/>
                    </a:cubicBezTo>
                    <a:cubicBezTo>
                      <a:pt x="9" y="524"/>
                      <a:pt x="0" y="545"/>
                      <a:pt x="7" y="566"/>
                    </a:cubicBezTo>
                    <a:lnTo>
                      <a:pt x="5" y="567"/>
                    </a:lnTo>
                    <a:cubicBezTo>
                      <a:pt x="3" y="570"/>
                      <a:pt x="5" y="571"/>
                      <a:pt x="6" y="574"/>
                    </a:cubicBezTo>
                    <a:lnTo>
                      <a:pt x="5" y="574"/>
                    </a:lnTo>
                    <a:cubicBezTo>
                      <a:pt x="4" y="582"/>
                      <a:pt x="6" y="592"/>
                      <a:pt x="5" y="596"/>
                    </a:cubicBezTo>
                    <a:lnTo>
                      <a:pt x="8" y="597"/>
                    </a:lnTo>
                    <a:cubicBezTo>
                      <a:pt x="8" y="601"/>
                      <a:pt x="6" y="599"/>
                      <a:pt x="8" y="604"/>
                    </a:cubicBezTo>
                    <a:lnTo>
                      <a:pt x="6" y="604"/>
                    </a:lnTo>
                    <a:lnTo>
                      <a:pt x="9" y="609"/>
                    </a:lnTo>
                    <a:cubicBezTo>
                      <a:pt x="3" y="609"/>
                      <a:pt x="8" y="623"/>
                      <a:pt x="6" y="627"/>
                    </a:cubicBezTo>
                    <a:cubicBezTo>
                      <a:pt x="7" y="633"/>
                      <a:pt x="9" y="644"/>
                      <a:pt x="8" y="653"/>
                    </a:cubicBezTo>
                    <a:cubicBezTo>
                      <a:pt x="5" y="655"/>
                      <a:pt x="5" y="667"/>
                      <a:pt x="4" y="674"/>
                    </a:cubicBezTo>
                    <a:cubicBezTo>
                      <a:pt x="4" y="688"/>
                      <a:pt x="5" y="708"/>
                      <a:pt x="4" y="726"/>
                    </a:cubicBezTo>
                    <a:lnTo>
                      <a:pt x="7" y="726"/>
                    </a:lnTo>
                    <a:lnTo>
                      <a:pt x="8" y="730"/>
                    </a:lnTo>
                    <a:cubicBezTo>
                      <a:pt x="7" y="730"/>
                      <a:pt x="7" y="731"/>
                      <a:pt x="6" y="730"/>
                    </a:cubicBezTo>
                    <a:cubicBezTo>
                      <a:pt x="2" y="734"/>
                      <a:pt x="7" y="741"/>
                      <a:pt x="5" y="745"/>
                    </a:cubicBezTo>
                    <a:cubicBezTo>
                      <a:pt x="8" y="743"/>
                      <a:pt x="6" y="742"/>
                      <a:pt x="6" y="739"/>
                    </a:cubicBezTo>
                    <a:cubicBezTo>
                      <a:pt x="7" y="735"/>
                      <a:pt x="11" y="739"/>
                      <a:pt x="9" y="744"/>
                    </a:cubicBezTo>
                    <a:lnTo>
                      <a:pt x="8" y="744"/>
                    </a:lnTo>
                    <a:lnTo>
                      <a:pt x="10" y="747"/>
                    </a:lnTo>
                    <a:cubicBezTo>
                      <a:pt x="7" y="748"/>
                      <a:pt x="6" y="751"/>
                      <a:pt x="3" y="751"/>
                    </a:cubicBezTo>
                    <a:cubicBezTo>
                      <a:pt x="4" y="767"/>
                      <a:pt x="9" y="778"/>
                      <a:pt x="8" y="794"/>
                    </a:cubicBezTo>
                    <a:cubicBezTo>
                      <a:pt x="5" y="792"/>
                      <a:pt x="9" y="805"/>
                      <a:pt x="3" y="802"/>
                    </a:cubicBezTo>
                    <a:cubicBezTo>
                      <a:pt x="5" y="811"/>
                      <a:pt x="8" y="800"/>
                      <a:pt x="11" y="805"/>
                    </a:cubicBezTo>
                    <a:cubicBezTo>
                      <a:pt x="11" y="807"/>
                      <a:pt x="13" y="810"/>
                      <a:pt x="11" y="811"/>
                    </a:cubicBezTo>
                    <a:cubicBezTo>
                      <a:pt x="10" y="809"/>
                      <a:pt x="8" y="813"/>
                      <a:pt x="7" y="811"/>
                    </a:cubicBezTo>
                    <a:lnTo>
                      <a:pt x="8" y="817"/>
                    </a:lnTo>
                    <a:cubicBezTo>
                      <a:pt x="7" y="818"/>
                      <a:pt x="6" y="816"/>
                      <a:pt x="6" y="816"/>
                    </a:cubicBezTo>
                    <a:cubicBezTo>
                      <a:pt x="9" y="829"/>
                      <a:pt x="3" y="839"/>
                      <a:pt x="6" y="850"/>
                    </a:cubicBezTo>
                    <a:cubicBezTo>
                      <a:pt x="8" y="851"/>
                      <a:pt x="7" y="846"/>
                      <a:pt x="9" y="847"/>
                    </a:cubicBezTo>
                    <a:cubicBezTo>
                      <a:pt x="13" y="858"/>
                      <a:pt x="6" y="857"/>
                      <a:pt x="9" y="868"/>
                    </a:cubicBezTo>
                    <a:lnTo>
                      <a:pt x="6" y="866"/>
                    </a:lnTo>
                    <a:cubicBezTo>
                      <a:pt x="8" y="869"/>
                      <a:pt x="10" y="871"/>
                      <a:pt x="8" y="877"/>
                    </a:cubicBezTo>
                    <a:cubicBezTo>
                      <a:pt x="5" y="878"/>
                      <a:pt x="6" y="872"/>
                      <a:pt x="4" y="869"/>
                    </a:cubicBezTo>
                    <a:cubicBezTo>
                      <a:pt x="4" y="873"/>
                      <a:pt x="5" y="883"/>
                      <a:pt x="8" y="880"/>
                    </a:cubicBezTo>
                    <a:cubicBezTo>
                      <a:pt x="9" y="885"/>
                      <a:pt x="6" y="887"/>
                      <a:pt x="5" y="889"/>
                    </a:cubicBezTo>
                    <a:cubicBezTo>
                      <a:pt x="6" y="889"/>
                      <a:pt x="7" y="885"/>
                      <a:pt x="9" y="887"/>
                    </a:cubicBezTo>
                    <a:cubicBezTo>
                      <a:pt x="7" y="894"/>
                      <a:pt x="8" y="904"/>
                      <a:pt x="8" y="912"/>
                    </a:cubicBezTo>
                    <a:cubicBezTo>
                      <a:pt x="7" y="912"/>
                      <a:pt x="6" y="913"/>
                      <a:pt x="5" y="912"/>
                    </a:cubicBezTo>
                    <a:cubicBezTo>
                      <a:pt x="9" y="918"/>
                      <a:pt x="2" y="918"/>
                      <a:pt x="4" y="927"/>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6" name="Freeform 2480"/>
              <p:cNvSpPr>
                <a:spLocks/>
              </p:cNvSpPr>
              <p:nvPr/>
            </p:nvSpPr>
            <p:spPr bwMode="auto">
              <a:xfrm>
                <a:off x="4495801" y="4364038"/>
                <a:ext cx="1588" cy="1588"/>
              </a:xfrm>
              <a:custGeom>
                <a:avLst/>
                <a:gdLst>
                  <a:gd name="T0" fmla="*/ 3 w 3"/>
                  <a:gd name="T1" fmla="*/ 5 h 5"/>
                  <a:gd name="T2" fmla="*/ 3 w 3"/>
                  <a:gd name="T3" fmla="*/ 5 h 5"/>
                  <a:gd name="T4" fmla="*/ 3 w 3"/>
                  <a:gd name="T5" fmla="*/ 2 h 5"/>
                  <a:gd name="T6" fmla="*/ 0 w 3"/>
                  <a:gd name="T7" fmla="*/ 0 h 5"/>
                  <a:gd name="T8" fmla="*/ 3 w 3"/>
                  <a:gd name="T9" fmla="*/ 5 h 5"/>
                </a:gdLst>
                <a:ahLst/>
                <a:cxnLst>
                  <a:cxn ang="0">
                    <a:pos x="T0" y="T1"/>
                  </a:cxn>
                  <a:cxn ang="0">
                    <a:pos x="T2" y="T3"/>
                  </a:cxn>
                  <a:cxn ang="0">
                    <a:pos x="T4" y="T5"/>
                  </a:cxn>
                  <a:cxn ang="0">
                    <a:pos x="T6" y="T7"/>
                  </a:cxn>
                  <a:cxn ang="0">
                    <a:pos x="T8" y="T9"/>
                  </a:cxn>
                </a:cxnLst>
                <a:rect l="0" t="0" r="r" b="b"/>
                <a:pathLst>
                  <a:path w="3" h="5">
                    <a:moveTo>
                      <a:pt x="3" y="5"/>
                    </a:moveTo>
                    <a:lnTo>
                      <a:pt x="3" y="5"/>
                    </a:lnTo>
                    <a:lnTo>
                      <a:pt x="3" y="2"/>
                    </a:lnTo>
                    <a:cubicBezTo>
                      <a:pt x="2" y="2"/>
                      <a:pt x="1" y="2"/>
                      <a:pt x="0" y="0"/>
                    </a:cubicBezTo>
                    <a:lnTo>
                      <a:pt x="3" y="5"/>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7" name="Freeform 2481"/>
              <p:cNvSpPr>
                <a:spLocks/>
              </p:cNvSpPr>
              <p:nvPr/>
            </p:nvSpPr>
            <p:spPr bwMode="auto">
              <a:xfrm>
                <a:off x="4494213" y="4316413"/>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1" y="1"/>
                      <a:pt x="0" y="0"/>
                    </a:cubicBezTo>
                    <a:cubicBezTo>
                      <a:pt x="1" y="1"/>
                      <a:pt x="1" y="1"/>
                      <a:pt x="1"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8" name="Freeform 2482"/>
              <p:cNvSpPr>
                <a:spLocks/>
              </p:cNvSpPr>
              <p:nvPr/>
            </p:nvSpPr>
            <p:spPr bwMode="auto">
              <a:xfrm>
                <a:off x="4491038" y="4305301"/>
                <a:ext cx="1588" cy="1588"/>
              </a:xfrm>
              <a:custGeom>
                <a:avLst/>
                <a:gdLst>
                  <a:gd name="T0" fmla="*/ 0 w 3"/>
                  <a:gd name="T1" fmla="*/ 1 h 3"/>
                  <a:gd name="T2" fmla="*/ 0 w 3"/>
                  <a:gd name="T3" fmla="*/ 1 h 3"/>
                  <a:gd name="T4" fmla="*/ 3 w 3"/>
                  <a:gd name="T5" fmla="*/ 0 h 3"/>
                  <a:gd name="T6" fmla="*/ 0 w 3"/>
                  <a:gd name="T7" fmla="*/ 1 h 3"/>
                </a:gdLst>
                <a:ahLst/>
                <a:cxnLst>
                  <a:cxn ang="0">
                    <a:pos x="T0" y="T1"/>
                  </a:cxn>
                  <a:cxn ang="0">
                    <a:pos x="T2" y="T3"/>
                  </a:cxn>
                  <a:cxn ang="0">
                    <a:pos x="T4" y="T5"/>
                  </a:cxn>
                  <a:cxn ang="0">
                    <a:pos x="T6" y="T7"/>
                  </a:cxn>
                </a:cxnLst>
                <a:rect l="0" t="0" r="r" b="b"/>
                <a:pathLst>
                  <a:path w="3" h="3">
                    <a:moveTo>
                      <a:pt x="0" y="1"/>
                    </a:moveTo>
                    <a:lnTo>
                      <a:pt x="0" y="1"/>
                    </a:lnTo>
                    <a:cubicBezTo>
                      <a:pt x="1" y="3"/>
                      <a:pt x="2" y="1"/>
                      <a:pt x="3" y="0"/>
                    </a:cubicBezTo>
                    <a:cubicBezTo>
                      <a:pt x="2" y="0"/>
                      <a:pt x="1"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9" name="Freeform 2483"/>
              <p:cNvSpPr>
                <a:spLocks/>
              </p:cNvSpPr>
              <p:nvPr/>
            </p:nvSpPr>
            <p:spPr bwMode="auto">
              <a:xfrm>
                <a:off x="4502151" y="4391026"/>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1" y="0"/>
                      <a:pt x="0" y="0"/>
                    </a:cubicBezTo>
                    <a:cubicBezTo>
                      <a:pt x="1" y="1"/>
                      <a:pt x="1" y="1"/>
                      <a:pt x="1"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0" name="Freeform 2484"/>
              <p:cNvSpPr>
                <a:spLocks/>
              </p:cNvSpPr>
              <p:nvPr/>
            </p:nvSpPr>
            <p:spPr bwMode="auto">
              <a:xfrm>
                <a:off x="4508501" y="446563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0"/>
                    </a:cubicBezTo>
                    <a:cubicBezTo>
                      <a:pt x="0" y="1"/>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1" name="Freeform 2485"/>
              <p:cNvSpPr>
                <a:spLocks/>
              </p:cNvSpPr>
              <p:nvPr/>
            </p:nvSpPr>
            <p:spPr bwMode="auto">
              <a:xfrm>
                <a:off x="4510088" y="4460876"/>
                <a:ext cx="0" cy="1588"/>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cubicBezTo>
                      <a:pt x="0" y="2"/>
                      <a:pt x="0" y="1"/>
                      <a:pt x="0" y="0"/>
                    </a:cubicBezTo>
                    <a:cubicBezTo>
                      <a:pt x="0" y="1"/>
                      <a:pt x="0" y="2"/>
                      <a:pt x="0" y="3"/>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2" name="Freeform 2486"/>
              <p:cNvSpPr>
                <a:spLocks/>
              </p:cNvSpPr>
              <p:nvPr/>
            </p:nvSpPr>
            <p:spPr bwMode="auto">
              <a:xfrm>
                <a:off x="4498976" y="4371976"/>
                <a:ext cx="1588" cy="158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1" y="2"/>
                      <a:pt x="1" y="1"/>
                      <a:pt x="0" y="0"/>
                    </a:cubicBezTo>
                    <a:cubicBezTo>
                      <a:pt x="0" y="2"/>
                      <a:pt x="1" y="2"/>
                      <a:pt x="1" y="3"/>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3" name="Freeform 2487"/>
              <p:cNvSpPr>
                <a:spLocks/>
              </p:cNvSpPr>
              <p:nvPr/>
            </p:nvSpPr>
            <p:spPr bwMode="auto">
              <a:xfrm>
                <a:off x="4508501" y="4459288"/>
                <a:ext cx="1588" cy="1588"/>
              </a:xfrm>
              <a:custGeom>
                <a:avLst/>
                <a:gdLst>
                  <a:gd name="T0" fmla="*/ 1 w 1"/>
                  <a:gd name="T1" fmla="*/ 3 h 3"/>
                  <a:gd name="T2" fmla="*/ 1 w 1"/>
                  <a:gd name="T3" fmla="*/ 3 h 3"/>
                  <a:gd name="T4" fmla="*/ 1 w 1"/>
                  <a:gd name="T5" fmla="*/ 0 h 3"/>
                  <a:gd name="T6" fmla="*/ 0 w 1"/>
                  <a:gd name="T7" fmla="*/ 0 h 3"/>
                  <a:gd name="T8" fmla="*/ 1 w 1"/>
                  <a:gd name="T9" fmla="*/ 3 h 3"/>
                </a:gdLst>
                <a:ahLst/>
                <a:cxnLst>
                  <a:cxn ang="0">
                    <a:pos x="T0" y="T1"/>
                  </a:cxn>
                  <a:cxn ang="0">
                    <a:pos x="T2" y="T3"/>
                  </a:cxn>
                  <a:cxn ang="0">
                    <a:pos x="T4" y="T5"/>
                  </a:cxn>
                  <a:cxn ang="0">
                    <a:pos x="T6" y="T7"/>
                  </a:cxn>
                  <a:cxn ang="0">
                    <a:pos x="T8" y="T9"/>
                  </a:cxn>
                </a:cxnLst>
                <a:rect l="0" t="0" r="r" b="b"/>
                <a:pathLst>
                  <a:path w="1" h="3">
                    <a:moveTo>
                      <a:pt x="1" y="3"/>
                    </a:moveTo>
                    <a:lnTo>
                      <a:pt x="1" y="3"/>
                    </a:lnTo>
                    <a:lnTo>
                      <a:pt x="1" y="0"/>
                    </a:lnTo>
                    <a:cubicBezTo>
                      <a:pt x="0" y="0"/>
                      <a:pt x="0" y="0"/>
                      <a:pt x="0" y="0"/>
                    </a:cubicBezTo>
                    <a:lnTo>
                      <a:pt x="1" y="3"/>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4" name="Freeform 2488"/>
              <p:cNvSpPr>
                <a:spLocks/>
              </p:cNvSpPr>
              <p:nvPr/>
            </p:nvSpPr>
            <p:spPr bwMode="auto">
              <a:xfrm>
                <a:off x="4508501" y="4465638"/>
                <a:ext cx="0" cy="1588"/>
              </a:xfrm>
              <a:custGeom>
                <a:avLst/>
                <a:gdLst>
                  <a:gd name="T0" fmla="*/ 5 h 5"/>
                  <a:gd name="T1" fmla="*/ 5 h 5"/>
                  <a:gd name="T2" fmla="*/ 0 h 5"/>
                  <a:gd name="T3" fmla="*/ 5 h 5"/>
                </a:gdLst>
                <a:ahLst/>
                <a:cxnLst>
                  <a:cxn ang="0">
                    <a:pos x="0" y="T0"/>
                  </a:cxn>
                  <a:cxn ang="0">
                    <a:pos x="0" y="T1"/>
                  </a:cxn>
                  <a:cxn ang="0">
                    <a:pos x="0" y="T2"/>
                  </a:cxn>
                  <a:cxn ang="0">
                    <a:pos x="0" y="T3"/>
                  </a:cxn>
                </a:cxnLst>
                <a:rect l="0" t="0" r="r" b="b"/>
                <a:pathLst>
                  <a:path h="5">
                    <a:moveTo>
                      <a:pt x="0" y="5"/>
                    </a:moveTo>
                    <a:lnTo>
                      <a:pt x="0" y="5"/>
                    </a:lnTo>
                    <a:cubicBezTo>
                      <a:pt x="0" y="3"/>
                      <a:pt x="0" y="2"/>
                      <a:pt x="0" y="0"/>
                    </a:cubicBezTo>
                    <a:cubicBezTo>
                      <a:pt x="0" y="2"/>
                      <a:pt x="0" y="4"/>
                      <a:pt x="0" y="5"/>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5" name="Freeform 2489"/>
              <p:cNvSpPr>
                <a:spLocks/>
              </p:cNvSpPr>
              <p:nvPr/>
            </p:nvSpPr>
            <p:spPr bwMode="auto">
              <a:xfrm>
                <a:off x="4505326" y="4418013"/>
                <a:ext cx="0" cy="1588"/>
              </a:xfrm>
              <a:custGeom>
                <a:avLst/>
                <a:gdLst>
                  <a:gd name="T0" fmla="*/ 2 w 2"/>
                  <a:gd name="T1" fmla="*/ 2 h 2"/>
                  <a:gd name="T2" fmla="*/ 2 w 2"/>
                  <a:gd name="T3" fmla="*/ 2 h 2"/>
                  <a:gd name="T4" fmla="*/ 2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2" y="2"/>
                    </a:lnTo>
                    <a:cubicBezTo>
                      <a:pt x="0" y="0"/>
                      <a:pt x="1" y="1"/>
                      <a:pt x="2"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6" name="Freeform 2490"/>
              <p:cNvSpPr>
                <a:spLocks/>
              </p:cNvSpPr>
              <p:nvPr/>
            </p:nvSpPr>
            <p:spPr bwMode="auto">
              <a:xfrm>
                <a:off x="4506913" y="4456113"/>
                <a:ext cx="0" cy="0"/>
              </a:xfrm>
              <a:custGeom>
                <a:avLst/>
                <a:gdLst>
                  <a:gd name="T0" fmla="*/ 1 w 1"/>
                  <a:gd name="T1" fmla="*/ 2 h 2"/>
                  <a:gd name="T2" fmla="*/ 1 w 1"/>
                  <a:gd name="T3" fmla="*/ 2 h 2"/>
                  <a:gd name="T4" fmla="*/ 1 w 1"/>
                  <a:gd name="T5" fmla="*/ 1 h 2"/>
                  <a:gd name="T6" fmla="*/ 0 w 1"/>
                  <a:gd name="T7" fmla="*/ 0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lnTo>
                      <a:pt x="1" y="2"/>
                    </a:lnTo>
                    <a:lnTo>
                      <a:pt x="1" y="1"/>
                    </a:lnTo>
                    <a:lnTo>
                      <a:pt x="0" y="0"/>
                    </a:lnTo>
                    <a:lnTo>
                      <a:pt x="1" y="2"/>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7" name="Freeform 2491"/>
              <p:cNvSpPr>
                <a:spLocks/>
              </p:cNvSpPr>
              <p:nvPr/>
            </p:nvSpPr>
            <p:spPr bwMode="auto">
              <a:xfrm>
                <a:off x="4508501" y="4471988"/>
                <a:ext cx="0" cy="0"/>
              </a:xfrm>
              <a:custGeom>
                <a:avLst/>
                <a:gdLst>
                  <a:gd name="T0" fmla="*/ 1 w 1"/>
                  <a:gd name="T1" fmla="*/ 1 h 1"/>
                  <a:gd name="T2" fmla="*/ 1 w 1"/>
                  <a:gd name="T3" fmla="*/ 1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cubicBezTo>
                      <a:pt x="1" y="1"/>
                      <a:pt x="0" y="0"/>
                      <a:pt x="0" y="0"/>
                    </a:cubicBezTo>
                    <a:cubicBezTo>
                      <a:pt x="0" y="0"/>
                      <a:pt x="0" y="1"/>
                      <a:pt x="0" y="1"/>
                    </a:cubicBezTo>
                    <a:cubicBezTo>
                      <a:pt x="0" y="1"/>
                      <a:pt x="1" y="1"/>
                      <a:pt x="1"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8" name="Freeform 2492"/>
              <p:cNvSpPr>
                <a:spLocks/>
              </p:cNvSpPr>
              <p:nvPr/>
            </p:nvSpPr>
            <p:spPr bwMode="auto">
              <a:xfrm>
                <a:off x="4505326" y="4433888"/>
                <a:ext cx="1588" cy="1588"/>
              </a:xfrm>
              <a:custGeom>
                <a:avLst/>
                <a:gdLst>
                  <a:gd name="T0" fmla="*/ 0 w 3"/>
                  <a:gd name="T1" fmla="*/ 1 h 2"/>
                  <a:gd name="T2" fmla="*/ 0 w 3"/>
                  <a:gd name="T3" fmla="*/ 1 h 2"/>
                  <a:gd name="T4" fmla="*/ 3 w 3"/>
                  <a:gd name="T5" fmla="*/ 2 h 2"/>
                  <a:gd name="T6" fmla="*/ 0 w 3"/>
                  <a:gd name="T7" fmla="*/ 1 h 2"/>
                </a:gdLst>
                <a:ahLst/>
                <a:cxnLst>
                  <a:cxn ang="0">
                    <a:pos x="T0" y="T1"/>
                  </a:cxn>
                  <a:cxn ang="0">
                    <a:pos x="T2" y="T3"/>
                  </a:cxn>
                  <a:cxn ang="0">
                    <a:pos x="T4" y="T5"/>
                  </a:cxn>
                  <a:cxn ang="0">
                    <a:pos x="T6" y="T7"/>
                  </a:cxn>
                </a:cxnLst>
                <a:rect l="0" t="0" r="r" b="b"/>
                <a:pathLst>
                  <a:path w="3" h="2">
                    <a:moveTo>
                      <a:pt x="0" y="1"/>
                    </a:moveTo>
                    <a:lnTo>
                      <a:pt x="0" y="1"/>
                    </a:lnTo>
                    <a:cubicBezTo>
                      <a:pt x="2" y="2"/>
                      <a:pt x="2" y="2"/>
                      <a:pt x="3" y="2"/>
                    </a:cubicBezTo>
                    <a:cubicBezTo>
                      <a:pt x="3" y="1"/>
                      <a:pt x="2"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9" name="Freeform 2493"/>
              <p:cNvSpPr>
                <a:spLocks/>
              </p:cNvSpPr>
              <p:nvPr/>
            </p:nvSpPr>
            <p:spPr bwMode="auto">
              <a:xfrm>
                <a:off x="4383088" y="4545013"/>
                <a:ext cx="0" cy="1588"/>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1" y="0"/>
                      <a:pt x="1" y="0"/>
                    </a:cubicBezTo>
                    <a:cubicBezTo>
                      <a:pt x="0" y="0"/>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0" name="Freeform 2494"/>
              <p:cNvSpPr>
                <a:spLocks/>
              </p:cNvSpPr>
              <p:nvPr/>
            </p:nvSpPr>
            <p:spPr bwMode="auto">
              <a:xfrm>
                <a:off x="4306888" y="4548188"/>
                <a:ext cx="1588" cy="0"/>
              </a:xfrm>
              <a:custGeom>
                <a:avLst/>
                <a:gdLst>
                  <a:gd name="T0" fmla="*/ 0 w 3"/>
                  <a:gd name="T1" fmla="*/ 1 h 1"/>
                  <a:gd name="T2" fmla="*/ 0 w 3"/>
                  <a:gd name="T3" fmla="*/ 1 h 1"/>
                  <a:gd name="T4" fmla="*/ 3 w 3"/>
                  <a:gd name="T5" fmla="*/ 0 h 1"/>
                  <a:gd name="T6" fmla="*/ 0 w 3"/>
                  <a:gd name="T7" fmla="*/ 1 h 1"/>
                </a:gdLst>
                <a:ahLst/>
                <a:cxnLst>
                  <a:cxn ang="0">
                    <a:pos x="T0" y="T1"/>
                  </a:cxn>
                  <a:cxn ang="0">
                    <a:pos x="T2" y="T3"/>
                  </a:cxn>
                  <a:cxn ang="0">
                    <a:pos x="T4" y="T5"/>
                  </a:cxn>
                  <a:cxn ang="0">
                    <a:pos x="T6" y="T7"/>
                  </a:cxn>
                </a:cxnLst>
                <a:rect l="0" t="0" r="r" b="b"/>
                <a:pathLst>
                  <a:path w="3" h="1">
                    <a:moveTo>
                      <a:pt x="0" y="1"/>
                    </a:moveTo>
                    <a:lnTo>
                      <a:pt x="0" y="1"/>
                    </a:lnTo>
                    <a:lnTo>
                      <a:pt x="3" y="0"/>
                    </a:lnTo>
                    <a:cubicBezTo>
                      <a:pt x="1" y="0"/>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1" name="Freeform 2495"/>
              <p:cNvSpPr>
                <a:spLocks/>
              </p:cNvSpPr>
              <p:nvPr/>
            </p:nvSpPr>
            <p:spPr bwMode="auto">
              <a:xfrm>
                <a:off x="4427538" y="4543426"/>
                <a:ext cx="3175" cy="0"/>
              </a:xfrm>
              <a:custGeom>
                <a:avLst/>
                <a:gdLst>
                  <a:gd name="T0" fmla="*/ 0 w 10"/>
                  <a:gd name="T1" fmla="*/ 1 h 1"/>
                  <a:gd name="T2" fmla="*/ 0 w 10"/>
                  <a:gd name="T3" fmla="*/ 1 h 1"/>
                  <a:gd name="T4" fmla="*/ 0 w 10"/>
                  <a:gd name="T5" fmla="*/ 1 h 1"/>
                  <a:gd name="T6" fmla="*/ 10 w 10"/>
                  <a:gd name="T7" fmla="*/ 0 h 1"/>
                  <a:gd name="T8" fmla="*/ 0 w 10"/>
                  <a:gd name="T9" fmla="*/ 1 h 1"/>
                </a:gdLst>
                <a:ahLst/>
                <a:cxnLst>
                  <a:cxn ang="0">
                    <a:pos x="T0" y="T1"/>
                  </a:cxn>
                  <a:cxn ang="0">
                    <a:pos x="T2" y="T3"/>
                  </a:cxn>
                  <a:cxn ang="0">
                    <a:pos x="T4" y="T5"/>
                  </a:cxn>
                  <a:cxn ang="0">
                    <a:pos x="T6" y="T7"/>
                  </a:cxn>
                  <a:cxn ang="0">
                    <a:pos x="T8" y="T9"/>
                  </a:cxn>
                </a:cxnLst>
                <a:rect l="0" t="0" r="r" b="b"/>
                <a:pathLst>
                  <a:path w="10" h="1">
                    <a:moveTo>
                      <a:pt x="0" y="1"/>
                    </a:moveTo>
                    <a:lnTo>
                      <a:pt x="0" y="1"/>
                    </a:lnTo>
                    <a:cubicBezTo>
                      <a:pt x="0" y="1"/>
                      <a:pt x="0" y="1"/>
                      <a:pt x="0" y="1"/>
                    </a:cubicBezTo>
                    <a:cubicBezTo>
                      <a:pt x="2" y="1"/>
                      <a:pt x="5" y="1"/>
                      <a:pt x="10" y="0"/>
                    </a:cubicBezTo>
                    <a:lnTo>
                      <a:pt x="0" y="1"/>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2" name="Freeform 2496"/>
              <p:cNvSpPr>
                <a:spLocks/>
              </p:cNvSpPr>
              <p:nvPr/>
            </p:nvSpPr>
            <p:spPr bwMode="auto">
              <a:xfrm>
                <a:off x="4146551" y="4548188"/>
                <a:ext cx="1588" cy="0"/>
              </a:xfrm>
              <a:custGeom>
                <a:avLst/>
                <a:gdLst>
                  <a:gd name="T0" fmla="*/ 0 w 4"/>
                  <a:gd name="T1" fmla="*/ 1 h 1"/>
                  <a:gd name="T2" fmla="*/ 0 w 4"/>
                  <a:gd name="T3" fmla="*/ 1 h 1"/>
                  <a:gd name="T4" fmla="*/ 4 w 4"/>
                  <a:gd name="T5" fmla="*/ 1 h 1"/>
                  <a:gd name="T6" fmla="*/ 0 w 4"/>
                  <a:gd name="T7" fmla="*/ 1 h 1"/>
                </a:gdLst>
                <a:ahLst/>
                <a:cxnLst>
                  <a:cxn ang="0">
                    <a:pos x="T0" y="T1"/>
                  </a:cxn>
                  <a:cxn ang="0">
                    <a:pos x="T2" y="T3"/>
                  </a:cxn>
                  <a:cxn ang="0">
                    <a:pos x="T4" y="T5"/>
                  </a:cxn>
                  <a:cxn ang="0">
                    <a:pos x="T6" y="T7"/>
                  </a:cxn>
                </a:cxnLst>
                <a:rect l="0" t="0" r="r" b="b"/>
                <a:pathLst>
                  <a:path w="4" h="1">
                    <a:moveTo>
                      <a:pt x="0" y="1"/>
                    </a:moveTo>
                    <a:lnTo>
                      <a:pt x="0" y="1"/>
                    </a:lnTo>
                    <a:lnTo>
                      <a:pt x="4" y="1"/>
                    </a:lnTo>
                    <a:cubicBezTo>
                      <a:pt x="2" y="1"/>
                      <a:pt x="1"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3" name="Freeform 2497"/>
              <p:cNvSpPr>
                <a:spLocks/>
              </p:cNvSpPr>
              <p:nvPr/>
            </p:nvSpPr>
            <p:spPr bwMode="auto">
              <a:xfrm>
                <a:off x="4240213" y="4549776"/>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1"/>
                      <a:pt x="2" y="1"/>
                      <a:pt x="0" y="1"/>
                    </a:cubicBezTo>
                    <a:cubicBezTo>
                      <a:pt x="2" y="1"/>
                      <a:pt x="4" y="1"/>
                      <a:pt x="4"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4" name="Freeform 2498"/>
              <p:cNvSpPr>
                <a:spLocks/>
              </p:cNvSpPr>
              <p:nvPr/>
            </p:nvSpPr>
            <p:spPr bwMode="auto">
              <a:xfrm>
                <a:off x="4451351" y="4549776"/>
                <a:ext cx="1588" cy="0"/>
              </a:xfrm>
              <a:custGeom>
                <a:avLst/>
                <a:gdLst>
                  <a:gd name="T0" fmla="*/ 4 w 4"/>
                  <a:gd name="T1" fmla="*/ 2 h 2"/>
                  <a:gd name="T2" fmla="*/ 4 w 4"/>
                  <a:gd name="T3" fmla="*/ 2 h 2"/>
                  <a:gd name="T4" fmla="*/ 0 w 4"/>
                  <a:gd name="T5" fmla="*/ 0 h 2"/>
                  <a:gd name="T6" fmla="*/ 4 w 4"/>
                  <a:gd name="T7" fmla="*/ 2 h 2"/>
                </a:gdLst>
                <a:ahLst/>
                <a:cxnLst>
                  <a:cxn ang="0">
                    <a:pos x="T0" y="T1"/>
                  </a:cxn>
                  <a:cxn ang="0">
                    <a:pos x="T2" y="T3"/>
                  </a:cxn>
                  <a:cxn ang="0">
                    <a:pos x="T4" y="T5"/>
                  </a:cxn>
                  <a:cxn ang="0">
                    <a:pos x="T6" y="T7"/>
                  </a:cxn>
                </a:cxnLst>
                <a:rect l="0" t="0" r="r" b="b"/>
                <a:pathLst>
                  <a:path w="4" h="2">
                    <a:moveTo>
                      <a:pt x="4" y="2"/>
                    </a:moveTo>
                    <a:lnTo>
                      <a:pt x="4" y="2"/>
                    </a:lnTo>
                    <a:lnTo>
                      <a:pt x="0" y="0"/>
                    </a:lnTo>
                    <a:cubicBezTo>
                      <a:pt x="0" y="1"/>
                      <a:pt x="2" y="2"/>
                      <a:pt x="4"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5" name="Freeform 2499"/>
              <p:cNvSpPr>
                <a:spLocks/>
              </p:cNvSpPr>
              <p:nvPr/>
            </p:nvSpPr>
            <p:spPr bwMode="auto">
              <a:xfrm>
                <a:off x="4497388" y="4541838"/>
                <a:ext cx="158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cubicBezTo>
                      <a:pt x="1" y="0"/>
                      <a:pt x="1" y="0"/>
                      <a:pt x="0" y="0"/>
                    </a:cubicBezTo>
                    <a:cubicBezTo>
                      <a:pt x="0" y="0"/>
                      <a:pt x="1" y="0"/>
                      <a:pt x="1"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6" name="Freeform 2500"/>
              <p:cNvSpPr>
                <a:spLocks/>
              </p:cNvSpPr>
              <p:nvPr/>
            </p:nvSpPr>
            <p:spPr bwMode="auto">
              <a:xfrm>
                <a:off x="4478338" y="4541838"/>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1" y="1"/>
                      <a:pt x="0" y="1"/>
                    </a:cubicBezTo>
                    <a:cubicBezTo>
                      <a:pt x="2" y="1"/>
                      <a:pt x="4" y="1"/>
                      <a:pt x="4"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7" name="Freeform 2501"/>
              <p:cNvSpPr>
                <a:spLocks/>
              </p:cNvSpPr>
              <p:nvPr/>
            </p:nvSpPr>
            <p:spPr bwMode="auto">
              <a:xfrm>
                <a:off x="4478338" y="4541838"/>
                <a:ext cx="0" cy="0"/>
              </a:xfrm>
              <a:custGeom>
                <a:avLst/>
                <a:gdLst>
                  <a:gd name="T0" fmla="*/ 0 w 2"/>
                  <a:gd name="T1" fmla="*/ 1 h 1"/>
                  <a:gd name="T2" fmla="*/ 0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0" y="1"/>
                    </a:lnTo>
                    <a:lnTo>
                      <a:pt x="2" y="0"/>
                    </a:lnTo>
                    <a:cubicBezTo>
                      <a:pt x="1" y="0"/>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8" name="Freeform 2502"/>
              <p:cNvSpPr>
                <a:spLocks/>
              </p:cNvSpPr>
              <p:nvPr/>
            </p:nvSpPr>
            <p:spPr bwMode="auto">
              <a:xfrm>
                <a:off x="3557588" y="4530726"/>
                <a:ext cx="3175" cy="0"/>
              </a:xfrm>
              <a:custGeom>
                <a:avLst/>
                <a:gdLst>
                  <a:gd name="T0" fmla="*/ 12 w 12"/>
                  <a:gd name="T1" fmla="*/ 0 h 3"/>
                  <a:gd name="T2" fmla="*/ 12 w 12"/>
                  <a:gd name="T3" fmla="*/ 0 h 3"/>
                  <a:gd name="T4" fmla="*/ 0 w 12"/>
                  <a:gd name="T5" fmla="*/ 3 h 3"/>
                  <a:gd name="T6" fmla="*/ 12 w 12"/>
                  <a:gd name="T7" fmla="*/ 0 h 3"/>
                </a:gdLst>
                <a:ahLst/>
                <a:cxnLst>
                  <a:cxn ang="0">
                    <a:pos x="T0" y="T1"/>
                  </a:cxn>
                  <a:cxn ang="0">
                    <a:pos x="T2" y="T3"/>
                  </a:cxn>
                  <a:cxn ang="0">
                    <a:pos x="T4" y="T5"/>
                  </a:cxn>
                  <a:cxn ang="0">
                    <a:pos x="T6" y="T7"/>
                  </a:cxn>
                </a:cxnLst>
                <a:rect l="0" t="0" r="r" b="b"/>
                <a:pathLst>
                  <a:path w="12" h="3">
                    <a:moveTo>
                      <a:pt x="12" y="0"/>
                    </a:moveTo>
                    <a:lnTo>
                      <a:pt x="12" y="0"/>
                    </a:lnTo>
                    <a:cubicBezTo>
                      <a:pt x="8" y="0"/>
                      <a:pt x="4" y="1"/>
                      <a:pt x="0" y="3"/>
                    </a:cubicBezTo>
                    <a:lnTo>
                      <a:pt x="12"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9" name="Freeform 2503"/>
              <p:cNvSpPr>
                <a:spLocks/>
              </p:cNvSpPr>
              <p:nvPr/>
            </p:nvSpPr>
            <p:spPr bwMode="auto">
              <a:xfrm>
                <a:off x="4000501" y="4545013"/>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0" y="0"/>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0" name="Freeform 2504"/>
              <p:cNvSpPr>
                <a:spLocks/>
              </p:cNvSpPr>
              <p:nvPr/>
            </p:nvSpPr>
            <p:spPr bwMode="auto">
              <a:xfrm>
                <a:off x="3559176" y="4535488"/>
                <a:ext cx="0" cy="0"/>
              </a:xfrm>
              <a:custGeom>
                <a:avLst/>
                <a:gdLst>
                  <a:gd name="T0" fmla="*/ 3 w 3"/>
                  <a:gd name="T1" fmla="*/ 1 h 1"/>
                  <a:gd name="T2" fmla="*/ 3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3" y="1"/>
                    </a:lnTo>
                    <a:lnTo>
                      <a:pt x="0" y="0"/>
                    </a:lnTo>
                    <a:cubicBezTo>
                      <a:pt x="1" y="1"/>
                      <a:pt x="2" y="1"/>
                      <a:pt x="3"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1" name="Freeform 2505"/>
              <p:cNvSpPr>
                <a:spLocks/>
              </p:cNvSpPr>
              <p:nvPr/>
            </p:nvSpPr>
            <p:spPr bwMode="auto">
              <a:xfrm>
                <a:off x="4424363" y="4554538"/>
                <a:ext cx="4763" cy="0"/>
              </a:xfrm>
              <a:custGeom>
                <a:avLst/>
                <a:gdLst>
                  <a:gd name="T0" fmla="*/ 13 w 13"/>
                  <a:gd name="T1" fmla="*/ 0 h 3"/>
                  <a:gd name="T2" fmla="*/ 13 w 13"/>
                  <a:gd name="T3" fmla="*/ 0 h 3"/>
                  <a:gd name="T4" fmla="*/ 1 w 13"/>
                  <a:gd name="T5" fmla="*/ 3 h 3"/>
                  <a:gd name="T6" fmla="*/ 13 w 13"/>
                  <a:gd name="T7" fmla="*/ 0 h 3"/>
                </a:gdLst>
                <a:ahLst/>
                <a:cxnLst>
                  <a:cxn ang="0">
                    <a:pos x="T0" y="T1"/>
                  </a:cxn>
                  <a:cxn ang="0">
                    <a:pos x="T2" y="T3"/>
                  </a:cxn>
                  <a:cxn ang="0">
                    <a:pos x="T4" y="T5"/>
                  </a:cxn>
                  <a:cxn ang="0">
                    <a:pos x="T6" y="T7"/>
                  </a:cxn>
                </a:cxnLst>
                <a:rect l="0" t="0" r="r" b="b"/>
                <a:pathLst>
                  <a:path w="13" h="3">
                    <a:moveTo>
                      <a:pt x="13" y="0"/>
                    </a:moveTo>
                    <a:lnTo>
                      <a:pt x="13" y="0"/>
                    </a:lnTo>
                    <a:cubicBezTo>
                      <a:pt x="9" y="3"/>
                      <a:pt x="0" y="1"/>
                      <a:pt x="1" y="3"/>
                    </a:cubicBezTo>
                    <a:cubicBezTo>
                      <a:pt x="5" y="2"/>
                      <a:pt x="12" y="3"/>
                      <a:pt x="13"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2" name="Freeform 2506"/>
              <p:cNvSpPr>
                <a:spLocks/>
              </p:cNvSpPr>
              <p:nvPr/>
            </p:nvSpPr>
            <p:spPr bwMode="auto">
              <a:xfrm>
                <a:off x="3968751" y="4567238"/>
                <a:ext cx="0" cy="0"/>
              </a:xfrm>
              <a:custGeom>
                <a:avLst/>
                <a:gdLst>
                  <a:gd name="T0" fmla="*/ 2 w 2"/>
                  <a:gd name="T1" fmla="*/ 0 h 1"/>
                  <a:gd name="T2" fmla="*/ 2 w 2"/>
                  <a:gd name="T3" fmla="*/ 0 h 1"/>
                  <a:gd name="T4" fmla="*/ 0 w 2"/>
                  <a:gd name="T5" fmla="*/ 0 h 1"/>
                  <a:gd name="T6" fmla="*/ 2 w 2"/>
                  <a:gd name="T7" fmla="*/ 0 h 1"/>
                </a:gdLst>
                <a:ahLst/>
                <a:cxnLst>
                  <a:cxn ang="0">
                    <a:pos x="T0" y="T1"/>
                  </a:cxn>
                  <a:cxn ang="0">
                    <a:pos x="T2" y="T3"/>
                  </a:cxn>
                  <a:cxn ang="0">
                    <a:pos x="T4" y="T5"/>
                  </a:cxn>
                  <a:cxn ang="0">
                    <a:pos x="T6" y="T7"/>
                  </a:cxn>
                </a:cxnLst>
                <a:rect l="0" t="0" r="r" b="b"/>
                <a:pathLst>
                  <a:path w="2" h="1">
                    <a:moveTo>
                      <a:pt x="2" y="0"/>
                    </a:moveTo>
                    <a:lnTo>
                      <a:pt x="2" y="0"/>
                    </a:lnTo>
                    <a:lnTo>
                      <a:pt x="0" y="0"/>
                    </a:lnTo>
                    <a:cubicBezTo>
                      <a:pt x="1" y="1"/>
                      <a:pt x="2" y="1"/>
                      <a:pt x="2"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3" name="Freeform 2507"/>
              <p:cNvSpPr>
                <a:spLocks/>
              </p:cNvSpPr>
              <p:nvPr/>
            </p:nvSpPr>
            <p:spPr bwMode="auto">
              <a:xfrm>
                <a:off x="3559176" y="4535488"/>
                <a:ext cx="1588" cy="0"/>
              </a:xfrm>
              <a:custGeom>
                <a:avLst/>
                <a:gdLst>
                  <a:gd name="T0" fmla="*/ 0 w 3"/>
                  <a:gd name="T1" fmla="*/ 1 h 1"/>
                  <a:gd name="T2" fmla="*/ 0 w 3"/>
                  <a:gd name="T3" fmla="*/ 1 h 1"/>
                  <a:gd name="T4" fmla="*/ 3 w 3"/>
                  <a:gd name="T5" fmla="*/ 1 h 1"/>
                  <a:gd name="T6" fmla="*/ 2 w 3"/>
                  <a:gd name="T7" fmla="*/ 0 h 1"/>
                  <a:gd name="T8" fmla="*/ 0 w 3"/>
                  <a:gd name="T9" fmla="*/ 1 h 1"/>
                </a:gdLst>
                <a:ahLst/>
                <a:cxnLst>
                  <a:cxn ang="0">
                    <a:pos x="T0" y="T1"/>
                  </a:cxn>
                  <a:cxn ang="0">
                    <a:pos x="T2" y="T3"/>
                  </a:cxn>
                  <a:cxn ang="0">
                    <a:pos x="T4" y="T5"/>
                  </a:cxn>
                  <a:cxn ang="0">
                    <a:pos x="T6" y="T7"/>
                  </a:cxn>
                  <a:cxn ang="0">
                    <a:pos x="T8" y="T9"/>
                  </a:cxn>
                </a:cxnLst>
                <a:rect l="0" t="0" r="r" b="b"/>
                <a:pathLst>
                  <a:path w="3" h="1">
                    <a:moveTo>
                      <a:pt x="0" y="1"/>
                    </a:moveTo>
                    <a:lnTo>
                      <a:pt x="0" y="1"/>
                    </a:lnTo>
                    <a:lnTo>
                      <a:pt x="3" y="1"/>
                    </a:lnTo>
                    <a:cubicBezTo>
                      <a:pt x="3" y="1"/>
                      <a:pt x="2" y="1"/>
                      <a:pt x="2" y="0"/>
                    </a:cubicBezTo>
                    <a:cubicBezTo>
                      <a:pt x="1" y="1"/>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4" name="Freeform 2508"/>
              <p:cNvSpPr>
                <a:spLocks/>
              </p:cNvSpPr>
              <p:nvPr/>
            </p:nvSpPr>
            <p:spPr bwMode="auto">
              <a:xfrm>
                <a:off x="3848101" y="4538663"/>
                <a:ext cx="1588"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0" y="0"/>
                      <a:pt x="0" y="0"/>
                    </a:cubicBezTo>
                    <a:cubicBezTo>
                      <a:pt x="0" y="0"/>
                      <a:pt x="1" y="0"/>
                      <a:pt x="1" y="0"/>
                    </a:cubicBezTo>
                    <a:lnTo>
                      <a:pt x="0"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5" name="Freeform 2509"/>
              <p:cNvSpPr>
                <a:spLocks/>
              </p:cNvSpPr>
              <p:nvPr/>
            </p:nvSpPr>
            <p:spPr bwMode="auto">
              <a:xfrm>
                <a:off x="3840163" y="4537076"/>
                <a:ext cx="1588" cy="0"/>
              </a:xfrm>
              <a:custGeom>
                <a:avLst/>
                <a:gdLst>
                  <a:gd name="T0" fmla="*/ 0 w 6"/>
                  <a:gd name="T1" fmla="*/ 1 h 1"/>
                  <a:gd name="T2" fmla="*/ 0 w 6"/>
                  <a:gd name="T3" fmla="*/ 1 h 1"/>
                  <a:gd name="T4" fmla="*/ 6 w 6"/>
                  <a:gd name="T5" fmla="*/ 0 h 1"/>
                  <a:gd name="T6" fmla="*/ 0 w 6"/>
                  <a:gd name="T7" fmla="*/ 1 h 1"/>
                </a:gdLst>
                <a:ahLst/>
                <a:cxnLst>
                  <a:cxn ang="0">
                    <a:pos x="T0" y="T1"/>
                  </a:cxn>
                  <a:cxn ang="0">
                    <a:pos x="T2" y="T3"/>
                  </a:cxn>
                  <a:cxn ang="0">
                    <a:pos x="T4" y="T5"/>
                  </a:cxn>
                  <a:cxn ang="0">
                    <a:pos x="T6" y="T7"/>
                  </a:cxn>
                </a:cxnLst>
                <a:rect l="0" t="0" r="r" b="b"/>
                <a:pathLst>
                  <a:path w="6" h="1">
                    <a:moveTo>
                      <a:pt x="0" y="1"/>
                    </a:moveTo>
                    <a:lnTo>
                      <a:pt x="0" y="1"/>
                    </a:lnTo>
                    <a:cubicBezTo>
                      <a:pt x="2" y="1"/>
                      <a:pt x="4" y="1"/>
                      <a:pt x="6" y="0"/>
                    </a:cubicBezTo>
                    <a:cubicBezTo>
                      <a:pt x="3" y="0"/>
                      <a:pt x="1"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6" name="Freeform 2510"/>
              <p:cNvSpPr>
                <a:spLocks/>
              </p:cNvSpPr>
              <p:nvPr/>
            </p:nvSpPr>
            <p:spPr bwMode="auto">
              <a:xfrm>
                <a:off x="3556001" y="4530726"/>
                <a:ext cx="1588" cy="1588"/>
              </a:xfrm>
              <a:custGeom>
                <a:avLst/>
                <a:gdLst>
                  <a:gd name="T0" fmla="*/ 7 w 7"/>
                  <a:gd name="T1" fmla="*/ 0 h 1"/>
                  <a:gd name="T2" fmla="*/ 7 w 7"/>
                  <a:gd name="T3" fmla="*/ 0 h 1"/>
                  <a:gd name="T4" fmla="*/ 0 w 7"/>
                  <a:gd name="T5" fmla="*/ 1 h 1"/>
                  <a:gd name="T6" fmla="*/ 7 w 7"/>
                  <a:gd name="T7" fmla="*/ 0 h 1"/>
                </a:gdLst>
                <a:ahLst/>
                <a:cxnLst>
                  <a:cxn ang="0">
                    <a:pos x="T0" y="T1"/>
                  </a:cxn>
                  <a:cxn ang="0">
                    <a:pos x="T2" y="T3"/>
                  </a:cxn>
                  <a:cxn ang="0">
                    <a:pos x="T4" y="T5"/>
                  </a:cxn>
                  <a:cxn ang="0">
                    <a:pos x="T6" y="T7"/>
                  </a:cxn>
                </a:cxnLst>
                <a:rect l="0" t="0" r="r" b="b"/>
                <a:pathLst>
                  <a:path w="7" h="1">
                    <a:moveTo>
                      <a:pt x="7" y="0"/>
                    </a:moveTo>
                    <a:lnTo>
                      <a:pt x="7" y="0"/>
                    </a:lnTo>
                    <a:lnTo>
                      <a:pt x="0" y="1"/>
                    </a:lnTo>
                    <a:cubicBezTo>
                      <a:pt x="3" y="1"/>
                      <a:pt x="5" y="0"/>
                      <a:pt x="7"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7" name="Freeform 2511"/>
              <p:cNvSpPr>
                <a:spLocks/>
              </p:cNvSpPr>
              <p:nvPr/>
            </p:nvSpPr>
            <p:spPr bwMode="auto">
              <a:xfrm>
                <a:off x="3754438" y="4535488"/>
                <a:ext cx="0"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cubicBezTo>
                      <a:pt x="1" y="0"/>
                      <a:pt x="2" y="0"/>
                      <a:pt x="3" y="0"/>
                    </a:cubicBezTo>
                    <a:cubicBezTo>
                      <a:pt x="2"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8" name="Freeform 2512"/>
              <p:cNvSpPr>
                <a:spLocks/>
              </p:cNvSpPr>
              <p:nvPr/>
            </p:nvSpPr>
            <p:spPr bwMode="auto">
              <a:xfrm>
                <a:off x="4248151" y="4549776"/>
                <a:ext cx="0" cy="0"/>
              </a:xfrm>
              <a:custGeom>
                <a:avLst/>
                <a:gdLst>
                  <a:gd name="T0" fmla="*/ 0 w 2"/>
                  <a:gd name="T1" fmla="*/ 1 h 1"/>
                  <a:gd name="T2" fmla="*/ 0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0" y="1"/>
                    </a:lnTo>
                    <a:cubicBezTo>
                      <a:pt x="0" y="1"/>
                      <a:pt x="1" y="1"/>
                      <a:pt x="2" y="1"/>
                    </a:cubicBezTo>
                    <a:cubicBezTo>
                      <a:pt x="2" y="1"/>
                      <a:pt x="2"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9" name="Rectangle 2513"/>
              <p:cNvSpPr>
                <a:spLocks noChangeArrowheads="1"/>
              </p:cNvSpPr>
              <p:nvPr/>
            </p:nvSpPr>
            <p:spPr bwMode="auto">
              <a:xfrm>
                <a:off x="4187826" y="4567238"/>
                <a:ext cx="1588" cy="1588"/>
              </a:xfrm>
              <a:prstGeom prst="rect">
                <a:avLst/>
              </a:prstGeom>
              <a:solidFill>
                <a:srgbClr val="29BA74"/>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0" name="Freeform 2514"/>
              <p:cNvSpPr>
                <a:spLocks/>
              </p:cNvSpPr>
              <p:nvPr/>
            </p:nvSpPr>
            <p:spPr bwMode="auto">
              <a:xfrm>
                <a:off x="4187826" y="4567238"/>
                <a:ext cx="3175" cy="0"/>
              </a:xfrm>
              <a:custGeom>
                <a:avLst/>
                <a:gdLst>
                  <a:gd name="T0" fmla="*/ 10 w 10"/>
                  <a:gd name="T1" fmla="*/ 0 h 3"/>
                  <a:gd name="T2" fmla="*/ 10 w 10"/>
                  <a:gd name="T3" fmla="*/ 0 h 3"/>
                  <a:gd name="T4" fmla="*/ 0 w 10"/>
                  <a:gd name="T5" fmla="*/ 3 h 3"/>
                  <a:gd name="T6" fmla="*/ 10 w 10"/>
                  <a:gd name="T7" fmla="*/ 0 h 3"/>
                </a:gdLst>
                <a:ahLst/>
                <a:cxnLst>
                  <a:cxn ang="0">
                    <a:pos x="T0" y="T1"/>
                  </a:cxn>
                  <a:cxn ang="0">
                    <a:pos x="T2" y="T3"/>
                  </a:cxn>
                  <a:cxn ang="0">
                    <a:pos x="T4" y="T5"/>
                  </a:cxn>
                  <a:cxn ang="0">
                    <a:pos x="T6" y="T7"/>
                  </a:cxn>
                </a:cxnLst>
                <a:rect l="0" t="0" r="r" b="b"/>
                <a:pathLst>
                  <a:path w="10" h="3">
                    <a:moveTo>
                      <a:pt x="10" y="0"/>
                    </a:moveTo>
                    <a:lnTo>
                      <a:pt x="10" y="0"/>
                    </a:lnTo>
                    <a:cubicBezTo>
                      <a:pt x="7" y="0"/>
                      <a:pt x="3" y="1"/>
                      <a:pt x="0" y="3"/>
                    </a:cubicBezTo>
                    <a:cubicBezTo>
                      <a:pt x="3" y="3"/>
                      <a:pt x="6" y="2"/>
                      <a:pt x="1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1" name="Freeform 2515"/>
              <p:cNvSpPr>
                <a:spLocks/>
              </p:cNvSpPr>
              <p:nvPr/>
            </p:nvSpPr>
            <p:spPr bwMode="auto">
              <a:xfrm>
                <a:off x="4181476" y="4567238"/>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cubicBezTo>
                      <a:pt x="1" y="0"/>
                      <a:pt x="1" y="0"/>
                      <a:pt x="1" y="0"/>
                    </a:cubicBezTo>
                    <a:cubicBezTo>
                      <a:pt x="1"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2" name="Freeform 2516"/>
              <p:cNvSpPr>
                <a:spLocks/>
              </p:cNvSpPr>
              <p:nvPr/>
            </p:nvSpPr>
            <p:spPr bwMode="auto">
              <a:xfrm>
                <a:off x="4246563" y="4567238"/>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lnTo>
                      <a:pt x="1" y="0"/>
                    </a:lnTo>
                    <a:cubicBezTo>
                      <a:pt x="1" y="0"/>
                      <a:pt x="1" y="0"/>
                      <a:pt x="1" y="0"/>
                    </a:cubicBezTo>
                    <a:lnTo>
                      <a:pt x="0" y="0"/>
                    </a:lnTo>
                    <a:lnTo>
                      <a:pt x="1"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3" name="Freeform 2517"/>
              <p:cNvSpPr>
                <a:spLocks/>
              </p:cNvSpPr>
              <p:nvPr/>
            </p:nvSpPr>
            <p:spPr bwMode="auto">
              <a:xfrm>
                <a:off x="4232276" y="4567238"/>
                <a:ext cx="1588" cy="1588"/>
              </a:xfrm>
              <a:custGeom>
                <a:avLst/>
                <a:gdLst>
                  <a:gd name="T0" fmla="*/ 3 w 3"/>
                  <a:gd name="T1" fmla="*/ 1 h 1"/>
                  <a:gd name="T2" fmla="*/ 3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3" y="1"/>
                    </a:lnTo>
                    <a:cubicBezTo>
                      <a:pt x="2" y="0"/>
                      <a:pt x="1" y="0"/>
                      <a:pt x="0" y="0"/>
                    </a:cubicBezTo>
                    <a:cubicBezTo>
                      <a:pt x="1" y="0"/>
                      <a:pt x="2" y="0"/>
                      <a:pt x="3"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4" name="Freeform 2518"/>
              <p:cNvSpPr>
                <a:spLocks/>
              </p:cNvSpPr>
              <p:nvPr/>
            </p:nvSpPr>
            <p:spPr bwMode="auto">
              <a:xfrm>
                <a:off x="4149726" y="4568826"/>
                <a:ext cx="0" cy="0"/>
              </a:xfrm>
              <a:custGeom>
                <a:avLst/>
                <a:gdLst>
                  <a:gd name="T0" fmla="*/ 1 h 1"/>
                  <a:gd name="T1" fmla="*/ 1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1"/>
                    </a:lnTo>
                    <a:lnTo>
                      <a:pt x="0" y="0"/>
                    </a:lnTo>
                    <a:cubicBezTo>
                      <a:pt x="0" y="0"/>
                      <a:pt x="0" y="0"/>
                      <a:pt x="0" y="1"/>
                    </a:cubicBezTo>
                    <a:cubicBezTo>
                      <a:pt x="0" y="1"/>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5" name="Freeform 2519"/>
              <p:cNvSpPr>
                <a:spLocks/>
              </p:cNvSpPr>
              <p:nvPr/>
            </p:nvSpPr>
            <p:spPr bwMode="auto">
              <a:xfrm>
                <a:off x="3552826" y="4525963"/>
                <a:ext cx="960438" cy="49213"/>
              </a:xfrm>
              <a:custGeom>
                <a:avLst/>
                <a:gdLst>
                  <a:gd name="T0" fmla="*/ 1690 w 3058"/>
                  <a:gd name="T1" fmla="*/ 141 h 152"/>
                  <a:gd name="T2" fmla="*/ 1809 w 3058"/>
                  <a:gd name="T3" fmla="*/ 139 h 152"/>
                  <a:gd name="T4" fmla="*/ 1918 w 3058"/>
                  <a:gd name="T5" fmla="*/ 134 h 152"/>
                  <a:gd name="T6" fmla="*/ 1964 w 3058"/>
                  <a:gd name="T7" fmla="*/ 131 h 152"/>
                  <a:gd name="T8" fmla="*/ 2003 w 3058"/>
                  <a:gd name="T9" fmla="*/ 135 h 152"/>
                  <a:gd name="T10" fmla="*/ 2067 w 3058"/>
                  <a:gd name="T11" fmla="*/ 128 h 152"/>
                  <a:gd name="T12" fmla="*/ 2124 w 3058"/>
                  <a:gd name="T13" fmla="*/ 132 h 152"/>
                  <a:gd name="T14" fmla="*/ 2183 w 3058"/>
                  <a:gd name="T15" fmla="*/ 127 h 152"/>
                  <a:gd name="T16" fmla="*/ 2260 w 3058"/>
                  <a:gd name="T17" fmla="*/ 122 h 152"/>
                  <a:gd name="T18" fmla="*/ 2327 w 3058"/>
                  <a:gd name="T19" fmla="*/ 114 h 152"/>
                  <a:gd name="T20" fmla="*/ 2384 w 3058"/>
                  <a:gd name="T21" fmla="*/ 122 h 152"/>
                  <a:gd name="T22" fmla="*/ 2497 w 3058"/>
                  <a:gd name="T23" fmla="*/ 111 h 152"/>
                  <a:gd name="T24" fmla="*/ 2563 w 3058"/>
                  <a:gd name="T25" fmla="*/ 103 h 152"/>
                  <a:gd name="T26" fmla="*/ 2661 w 3058"/>
                  <a:gd name="T27" fmla="*/ 98 h 152"/>
                  <a:gd name="T28" fmla="*/ 2725 w 3058"/>
                  <a:gd name="T29" fmla="*/ 89 h 152"/>
                  <a:gd name="T30" fmla="*/ 2754 w 3058"/>
                  <a:gd name="T31" fmla="*/ 91 h 152"/>
                  <a:gd name="T32" fmla="*/ 2797 w 3058"/>
                  <a:gd name="T33" fmla="*/ 76 h 152"/>
                  <a:gd name="T34" fmla="*/ 2838 w 3058"/>
                  <a:gd name="T35" fmla="*/ 78 h 152"/>
                  <a:gd name="T36" fmla="*/ 2867 w 3058"/>
                  <a:gd name="T37" fmla="*/ 70 h 152"/>
                  <a:gd name="T38" fmla="*/ 2975 w 3058"/>
                  <a:gd name="T39" fmla="*/ 60 h 152"/>
                  <a:gd name="T40" fmla="*/ 3035 w 3058"/>
                  <a:gd name="T41" fmla="*/ 57 h 152"/>
                  <a:gd name="T42" fmla="*/ 2996 w 3058"/>
                  <a:gd name="T43" fmla="*/ 45 h 152"/>
                  <a:gd name="T44" fmla="*/ 2949 w 3058"/>
                  <a:gd name="T45" fmla="*/ 49 h 152"/>
                  <a:gd name="T46" fmla="*/ 2914 w 3058"/>
                  <a:gd name="T47" fmla="*/ 46 h 152"/>
                  <a:gd name="T48" fmla="*/ 2822 w 3058"/>
                  <a:gd name="T49" fmla="*/ 52 h 152"/>
                  <a:gd name="T50" fmla="*/ 2772 w 3058"/>
                  <a:gd name="T51" fmla="*/ 54 h 152"/>
                  <a:gd name="T52" fmla="*/ 2666 w 3058"/>
                  <a:gd name="T53" fmla="*/ 61 h 152"/>
                  <a:gd name="T54" fmla="*/ 2596 w 3058"/>
                  <a:gd name="T55" fmla="*/ 63 h 152"/>
                  <a:gd name="T56" fmla="*/ 2538 w 3058"/>
                  <a:gd name="T57" fmla="*/ 66 h 152"/>
                  <a:gd name="T58" fmla="*/ 2468 w 3058"/>
                  <a:gd name="T59" fmla="*/ 68 h 152"/>
                  <a:gd name="T60" fmla="*/ 2398 w 3058"/>
                  <a:gd name="T61" fmla="*/ 70 h 152"/>
                  <a:gd name="T62" fmla="*/ 2283 w 3058"/>
                  <a:gd name="T63" fmla="*/ 69 h 152"/>
                  <a:gd name="T64" fmla="*/ 2191 w 3058"/>
                  <a:gd name="T65" fmla="*/ 74 h 152"/>
                  <a:gd name="T66" fmla="*/ 2119 w 3058"/>
                  <a:gd name="T67" fmla="*/ 74 h 152"/>
                  <a:gd name="T68" fmla="*/ 2046 w 3058"/>
                  <a:gd name="T69" fmla="*/ 79 h 152"/>
                  <a:gd name="T70" fmla="*/ 1962 w 3058"/>
                  <a:gd name="T71" fmla="*/ 71 h 152"/>
                  <a:gd name="T72" fmla="*/ 1851 w 3058"/>
                  <a:gd name="T73" fmla="*/ 72 h 152"/>
                  <a:gd name="T74" fmla="*/ 1721 w 3058"/>
                  <a:gd name="T75" fmla="*/ 69 h 152"/>
                  <a:gd name="T76" fmla="*/ 1524 w 3058"/>
                  <a:gd name="T77" fmla="*/ 59 h 152"/>
                  <a:gd name="T78" fmla="*/ 1426 w 3058"/>
                  <a:gd name="T79" fmla="*/ 58 h 152"/>
                  <a:gd name="T80" fmla="*/ 1355 w 3058"/>
                  <a:gd name="T81" fmla="*/ 56 h 152"/>
                  <a:gd name="T82" fmla="*/ 1243 w 3058"/>
                  <a:gd name="T83" fmla="*/ 48 h 152"/>
                  <a:gd name="T84" fmla="*/ 1036 w 3058"/>
                  <a:gd name="T85" fmla="*/ 43 h 152"/>
                  <a:gd name="T86" fmla="*/ 845 w 3058"/>
                  <a:gd name="T87" fmla="*/ 35 h 152"/>
                  <a:gd name="T88" fmla="*/ 640 w 3058"/>
                  <a:gd name="T89" fmla="*/ 28 h 152"/>
                  <a:gd name="T90" fmla="*/ 4 w 3058"/>
                  <a:gd name="T91" fmla="*/ 18 h 152"/>
                  <a:gd name="T92" fmla="*/ 48 w 3058"/>
                  <a:gd name="T93" fmla="*/ 29 h 152"/>
                  <a:gd name="T94" fmla="*/ 72 w 3058"/>
                  <a:gd name="T95" fmla="*/ 37 h 152"/>
                  <a:gd name="T96" fmla="*/ 150 w 3058"/>
                  <a:gd name="T97" fmla="*/ 51 h 152"/>
                  <a:gd name="T98" fmla="*/ 400 w 3058"/>
                  <a:gd name="T99" fmla="*/ 90 h 152"/>
                  <a:gd name="T100" fmla="*/ 927 w 3058"/>
                  <a:gd name="T101" fmla="*/ 115 h 152"/>
                  <a:gd name="T102" fmla="*/ 998 w 3058"/>
                  <a:gd name="T103" fmla="*/ 116 h 152"/>
                  <a:gd name="T104" fmla="*/ 1219 w 3058"/>
                  <a:gd name="T105" fmla="*/ 126 h 152"/>
                  <a:gd name="T106" fmla="*/ 1317 w 3058"/>
                  <a:gd name="T107" fmla="*/ 124 h 152"/>
                  <a:gd name="T108" fmla="*/ 1416 w 3058"/>
                  <a:gd name="T109" fmla="*/ 134 h 152"/>
                  <a:gd name="T110" fmla="*/ 1515 w 3058"/>
                  <a:gd name="T111" fmla="*/ 14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58" h="152">
                    <a:moveTo>
                      <a:pt x="1515" y="141"/>
                    </a:moveTo>
                    <a:lnTo>
                      <a:pt x="1515" y="141"/>
                    </a:lnTo>
                    <a:cubicBezTo>
                      <a:pt x="1554" y="141"/>
                      <a:pt x="1604" y="139"/>
                      <a:pt x="1642" y="141"/>
                    </a:cubicBezTo>
                    <a:cubicBezTo>
                      <a:pt x="1650" y="138"/>
                      <a:pt x="1663" y="138"/>
                      <a:pt x="1675" y="137"/>
                    </a:cubicBezTo>
                    <a:lnTo>
                      <a:pt x="1676" y="143"/>
                    </a:lnTo>
                    <a:lnTo>
                      <a:pt x="1686" y="141"/>
                    </a:lnTo>
                    <a:cubicBezTo>
                      <a:pt x="1690" y="143"/>
                      <a:pt x="1678" y="142"/>
                      <a:pt x="1686" y="144"/>
                    </a:cubicBezTo>
                    <a:lnTo>
                      <a:pt x="1690" y="141"/>
                    </a:lnTo>
                    <a:cubicBezTo>
                      <a:pt x="1690" y="143"/>
                      <a:pt x="1716" y="143"/>
                      <a:pt x="1699" y="146"/>
                    </a:cubicBezTo>
                    <a:lnTo>
                      <a:pt x="1738" y="147"/>
                    </a:lnTo>
                    <a:cubicBezTo>
                      <a:pt x="1747" y="148"/>
                      <a:pt x="1743" y="143"/>
                      <a:pt x="1753" y="145"/>
                    </a:cubicBezTo>
                    <a:cubicBezTo>
                      <a:pt x="1755" y="146"/>
                      <a:pt x="1750" y="146"/>
                      <a:pt x="1750" y="148"/>
                    </a:cubicBezTo>
                    <a:cubicBezTo>
                      <a:pt x="1779" y="152"/>
                      <a:pt x="1784" y="138"/>
                      <a:pt x="1811" y="141"/>
                    </a:cubicBezTo>
                    <a:lnTo>
                      <a:pt x="1809" y="142"/>
                    </a:lnTo>
                    <a:cubicBezTo>
                      <a:pt x="1814" y="140"/>
                      <a:pt x="1822" y="140"/>
                      <a:pt x="1822" y="140"/>
                    </a:cubicBezTo>
                    <a:cubicBezTo>
                      <a:pt x="1819" y="134"/>
                      <a:pt x="1818" y="143"/>
                      <a:pt x="1809" y="139"/>
                    </a:cubicBezTo>
                    <a:cubicBezTo>
                      <a:pt x="1810" y="135"/>
                      <a:pt x="1820" y="137"/>
                      <a:pt x="1819" y="133"/>
                    </a:cubicBezTo>
                    <a:cubicBezTo>
                      <a:pt x="1825" y="135"/>
                      <a:pt x="1829" y="132"/>
                      <a:pt x="1835" y="132"/>
                    </a:cubicBezTo>
                    <a:cubicBezTo>
                      <a:pt x="1844" y="135"/>
                      <a:pt x="1858" y="133"/>
                      <a:pt x="1865" y="137"/>
                    </a:cubicBezTo>
                    <a:cubicBezTo>
                      <a:pt x="1869" y="135"/>
                      <a:pt x="1875" y="131"/>
                      <a:pt x="1885" y="131"/>
                    </a:cubicBezTo>
                    <a:cubicBezTo>
                      <a:pt x="1892" y="134"/>
                      <a:pt x="1883" y="134"/>
                      <a:pt x="1893" y="136"/>
                    </a:cubicBezTo>
                    <a:lnTo>
                      <a:pt x="1894" y="133"/>
                    </a:lnTo>
                    <a:cubicBezTo>
                      <a:pt x="1902" y="133"/>
                      <a:pt x="1901" y="134"/>
                      <a:pt x="1900" y="135"/>
                    </a:cubicBezTo>
                    <a:cubicBezTo>
                      <a:pt x="1909" y="136"/>
                      <a:pt x="1908" y="132"/>
                      <a:pt x="1918" y="134"/>
                    </a:cubicBezTo>
                    <a:lnTo>
                      <a:pt x="1912" y="136"/>
                    </a:lnTo>
                    <a:cubicBezTo>
                      <a:pt x="1920" y="135"/>
                      <a:pt x="1923" y="136"/>
                      <a:pt x="1934" y="136"/>
                    </a:cubicBezTo>
                    <a:cubicBezTo>
                      <a:pt x="1934" y="138"/>
                      <a:pt x="1930" y="137"/>
                      <a:pt x="1926" y="137"/>
                    </a:cubicBezTo>
                    <a:cubicBezTo>
                      <a:pt x="1932" y="141"/>
                      <a:pt x="1937" y="135"/>
                      <a:pt x="1940" y="136"/>
                    </a:cubicBezTo>
                    <a:cubicBezTo>
                      <a:pt x="1939" y="135"/>
                      <a:pt x="1931" y="134"/>
                      <a:pt x="1935" y="131"/>
                    </a:cubicBezTo>
                    <a:cubicBezTo>
                      <a:pt x="1941" y="132"/>
                      <a:pt x="1947" y="128"/>
                      <a:pt x="1951" y="131"/>
                    </a:cubicBezTo>
                    <a:lnTo>
                      <a:pt x="1945" y="134"/>
                    </a:lnTo>
                    <a:cubicBezTo>
                      <a:pt x="1956" y="132"/>
                      <a:pt x="1951" y="130"/>
                      <a:pt x="1964" y="131"/>
                    </a:cubicBezTo>
                    <a:cubicBezTo>
                      <a:pt x="1963" y="131"/>
                      <a:pt x="1963" y="132"/>
                      <a:pt x="1963" y="133"/>
                    </a:cubicBezTo>
                    <a:cubicBezTo>
                      <a:pt x="1971" y="129"/>
                      <a:pt x="1982" y="132"/>
                      <a:pt x="1994" y="132"/>
                    </a:cubicBezTo>
                    <a:lnTo>
                      <a:pt x="1992" y="133"/>
                    </a:lnTo>
                    <a:cubicBezTo>
                      <a:pt x="1997" y="132"/>
                      <a:pt x="2000" y="130"/>
                      <a:pt x="2002" y="130"/>
                    </a:cubicBezTo>
                    <a:cubicBezTo>
                      <a:pt x="1995" y="128"/>
                      <a:pt x="1997" y="128"/>
                      <a:pt x="1996" y="125"/>
                    </a:cubicBezTo>
                    <a:cubicBezTo>
                      <a:pt x="2006" y="129"/>
                      <a:pt x="2010" y="120"/>
                      <a:pt x="2025" y="122"/>
                    </a:cubicBezTo>
                    <a:cubicBezTo>
                      <a:pt x="2025" y="124"/>
                      <a:pt x="2022" y="126"/>
                      <a:pt x="2017" y="124"/>
                    </a:cubicBezTo>
                    <a:cubicBezTo>
                      <a:pt x="2012" y="129"/>
                      <a:pt x="2012" y="133"/>
                      <a:pt x="2003" y="135"/>
                    </a:cubicBezTo>
                    <a:cubicBezTo>
                      <a:pt x="2008" y="134"/>
                      <a:pt x="2015" y="133"/>
                      <a:pt x="2014" y="135"/>
                    </a:cubicBezTo>
                    <a:lnTo>
                      <a:pt x="2015" y="131"/>
                    </a:lnTo>
                    <a:cubicBezTo>
                      <a:pt x="2019" y="130"/>
                      <a:pt x="2022" y="131"/>
                      <a:pt x="2024" y="131"/>
                    </a:cubicBezTo>
                    <a:cubicBezTo>
                      <a:pt x="2026" y="128"/>
                      <a:pt x="2017" y="126"/>
                      <a:pt x="2025" y="125"/>
                    </a:cubicBezTo>
                    <a:cubicBezTo>
                      <a:pt x="2034" y="123"/>
                      <a:pt x="2030" y="129"/>
                      <a:pt x="2031" y="127"/>
                    </a:cubicBezTo>
                    <a:cubicBezTo>
                      <a:pt x="2044" y="125"/>
                      <a:pt x="2036" y="122"/>
                      <a:pt x="2048" y="124"/>
                    </a:cubicBezTo>
                    <a:cubicBezTo>
                      <a:pt x="2047" y="124"/>
                      <a:pt x="2045" y="125"/>
                      <a:pt x="2044" y="124"/>
                    </a:cubicBezTo>
                    <a:cubicBezTo>
                      <a:pt x="2052" y="126"/>
                      <a:pt x="2065" y="123"/>
                      <a:pt x="2067" y="128"/>
                    </a:cubicBezTo>
                    <a:cubicBezTo>
                      <a:pt x="2066" y="130"/>
                      <a:pt x="2066" y="131"/>
                      <a:pt x="2063" y="131"/>
                    </a:cubicBezTo>
                    <a:lnTo>
                      <a:pt x="2063" y="130"/>
                    </a:lnTo>
                    <a:cubicBezTo>
                      <a:pt x="2053" y="134"/>
                      <a:pt x="2071" y="129"/>
                      <a:pt x="2068" y="134"/>
                    </a:cubicBezTo>
                    <a:cubicBezTo>
                      <a:pt x="2067" y="131"/>
                      <a:pt x="2079" y="131"/>
                      <a:pt x="2084" y="132"/>
                    </a:cubicBezTo>
                    <a:lnTo>
                      <a:pt x="2083" y="129"/>
                    </a:lnTo>
                    <a:cubicBezTo>
                      <a:pt x="2100" y="119"/>
                      <a:pt x="2082" y="135"/>
                      <a:pt x="2100" y="133"/>
                    </a:cubicBezTo>
                    <a:cubicBezTo>
                      <a:pt x="2111" y="131"/>
                      <a:pt x="2095" y="133"/>
                      <a:pt x="2102" y="130"/>
                    </a:cubicBezTo>
                    <a:cubicBezTo>
                      <a:pt x="2110" y="131"/>
                      <a:pt x="2113" y="133"/>
                      <a:pt x="2124" y="132"/>
                    </a:cubicBezTo>
                    <a:cubicBezTo>
                      <a:pt x="2127" y="133"/>
                      <a:pt x="2133" y="134"/>
                      <a:pt x="2134" y="138"/>
                    </a:cubicBezTo>
                    <a:cubicBezTo>
                      <a:pt x="2141" y="136"/>
                      <a:pt x="2155" y="139"/>
                      <a:pt x="2158" y="135"/>
                    </a:cubicBezTo>
                    <a:cubicBezTo>
                      <a:pt x="2147" y="133"/>
                      <a:pt x="2147" y="139"/>
                      <a:pt x="2133" y="135"/>
                    </a:cubicBezTo>
                    <a:lnTo>
                      <a:pt x="2137" y="132"/>
                    </a:lnTo>
                    <a:cubicBezTo>
                      <a:pt x="2146" y="132"/>
                      <a:pt x="2158" y="130"/>
                      <a:pt x="2165" y="131"/>
                    </a:cubicBezTo>
                    <a:cubicBezTo>
                      <a:pt x="2164" y="130"/>
                      <a:pt x="2163" y="129"/>
                      <a:pt x="2164" y="128"/>
                    </a:cubicBezTo>
                    <a:cubicBezTo>
                      <a:pt x="2177" y="127"/>
                      <a:pt x="2181" y="123"/>
                      <a:pt x="2194" y="124"/>
                    </a:cubicBezTo>
                    <a:cubicBezTo>
                      <a:pt x="2196" y="127"/>
                      <a:pt x="2188" y="127"/>
                      <a:pt x="2183" y="127"/>
                    </a:cubicBezTo>
                    <a:cubicBezTo>
                      <a:pt x="2191" y="129"/>
                      <a:pt x="2191" y="127"/>
                      <a:pt x="2204" y="128"/>
                    </a:cubicBezTo>
                    <a:cubicBezTo>
                      <a:pt x="2205" y="131"/>
                      <a:pt x="2196" y="128"/>
                      <a:pt x="2194" y="131"/>
                    </a:cubicBezTo>
                    <a:lnTo>
                      <a:pt x="2209" y="129"/>
                    </a:lnTo>
                    <a:cubicBezTo>
                      <a:pt x="2208" y="130"/>
                      <a:pt x="2209" y="130"/>
                      <a:pt x="2209" y="130"/>
                    </a:cubicBezTo>
                    <a:cubicBezTo>
                      <a:pt x="2211" y="125"/>
                      <a:pt x="2220" y="130"/>
                      <a:pt x="2228" y="128"/>
                    </a:cubicBezTo>
                    <a:cubicBezTo>
                      <a:pt x="2249" y="128"/>
                      <a:pt x="2252" y="121"/>
                      <a:pt x="2264" y="117"/>
                    </a:cubicBezTo>
                    <a:cubicBezTo>
                      <a:pt x="2267" y="118"/>
                      <a:pt x="2268" y="120"/>
                      <a:pt x="2266" y="121"/>
                    </a:cubicBezTo>
                    <a:cubicBezTo>
                      <a:pt x="2261" y="119"/>
                      <a:pt x="2262" y="120"/>
                      <a:pt x="2260" y="122"/>
                    </a:cubicBezTo>
                    <a:cubicBezTo>
                      <a:pt x="2268" y="121"/>
                      <a:pt x="2276" y="126"/>
                      <a:pt x="2272" y="128"/>
                    </a:cubicBezTo>
                    <a:cubicBezTo>
                      <a:pt x="2283" y="126"/>
                      <a:pt x="2268" y="125"/>
                      <a:pt x="2275" y="124"/>
                    </a:cubicBezTo>
                    <a:lnTo>
                      <a:pt x="2290" y="123"/>
                    </a:lnTo>
                    <a:cubicBezTo>
                      <a:pt x="2288" y="121"/>
                      <a:pt x="2283" y="121"/>
                      <a:pt x="2291" y="119"/>
                    </a:cubicBezTo>
                    <a:cubicBezTo>
                      <a:pt x="2297" y="118"/>
                      <a:pt x="2301" y="118"/>
                      <a:pt x="2309" y="118"/>
                    </a:cubicBezTo>
                    <a:cubicBezTo>
                      <a:pt x="2308" y="119"/>
                      <a:pt x="2312" y="121"/>
                      <a:pt x="2306" y="122"/>
                    </a:cubicBezTo>
                    <a:cubicBezTo>
                      <a:pt x="2310" y="122"/>
                      <a:pt x="2317" y="122"/>
                      <a:pt x="2319" y="120"/>
                    </a:cubicBezTo>
                    <a:cubicBezTo>
                      <a:pt x="2309" y="118"/>
                      <a:pt x="2335" y="117"/>
                      <a:pt x="2327" y="114"/>
                    </a:cubicBezTo>
                    <a:lnTo>
                      <a:pt x="2337" y="116"/>
                    </a:lnTo>
                    <a:cubicBezTo>
                      <a:pt x="2335" y="116"/>
                      <a:pt x="2335" y="117"/>
                      <a:pt x="2331" y="117"/>
                    </a:cubicBezTo>
                    <a:cubicBezTo>
                      <a:pt x="2334" y="120"/>
                      <a:pt x="2339" y="116"/>
                      <a:pt x="2343" y="115"/>
                    </a:cubicBezTo>
                    <a:cubicBezTo>
                      <a:pt x="2346" y="116"/>
                      <a:pt x="2355" y="115"/>
                      <a:pt x="2355" y="117"/>
                    </a:cubicBezTo>
                    <a:cubicBezTo>
                      <a:pt x="2358" y="116"/>
                      <a:pt x="2366" y="116"/>
                      <a:pt x="2367" y="118"/>
                    </a:cubicBezTo>
                    <a:cubicBezTo>
                      <a:pt x="2372" y="117"/>
                      <a:pt x="2368" y="115"/>
                      <a:pt x="2369" y="114"/>
                    </a:cubicBezTo>
                    <a:lnTo>
                      <a:pt x="2384" y="114"/>
                    </a:lnTo>
                    <a:cubicBezTo>
                      <a:pt x="2385" y="116"/>
                      <a:pt x="2387" y="121"/>
                      <a:pt x="2384" y="122"/>
                    </a:cubicBezTo>
                    <a:cubicBezTo>
                      <a:pt x="2390" y="120"/>
                      <a:pt x="2386" y="116"/>
                      <a:pt x="2395" y="116"/>
                    </a:cubicBezTo>
                    <a:cubicBezTo>
                      <a:pt x="2390" y="120"/>
                      <a:pt x="2407" y="118"/>
                      <a:pt x="2400" y="123"/>
                    </a:cubicBezTo>
                    <a:cubicBezTo>
                      <a:pt x="2405" y="126"/>
                      <a:pt x="2419" y="125"/>
                      <a:pt x="2427" y="123"/>
                    </a:cubicBezTo>
                    <a:cubicBezTo>
                      <a:pt x="2432" y="120"/>
                      <a:pt x="2418" y="122"/>
                      <a:pt x="2419" y="119"/>
                    </a:cubicBezTo>
                    <a:cubicBezTo>
                      <a:pt x="2441" y="117"/>
                      <a:pt x="2441" y="108"/>
                      <a:pt x="2458" y="109"/>
                    </a:cubicBezTo>
                    <a:lnTo>
                      <a:pt x="2454" y="108"/>
                    </a:lnTo>
                    <a:cubicBezTo>
                      <a:pt x="2464" y="106"/>
                      <a:pt x="2462" y="106"/>
                      <a:pt x="2468" y="103"/>
                    </a:cubicBezTo>
                    <a:cubicBezTo>
                      <a:pt x="2466" y="107"/>
                      <a:pt x="2480" y="113"/>
                      <a:pt x="2497" y="111"/>
                    </a:cubicBezTo>
                    <a:cubicBezTo>
                      <a:pt x="2498" y="109"/>
                      <a:pt x="2487" y="108"/>
                      <a:pt x="2490" y="104"/>
                    </a:cubicBezTo>
                    <a:lnTo>
                      <a:pt x="2501" y="103"/>
                    </a:lnTo>
                    <a:cubicBezTo>
                      <a:pt x="2502" y="103"/>
                      <a:pt x="2500" y="104"/>
                      <a:pt x="2499" y="105"/>
                    </a:cubicBezTo>
                    <a:cubicBezTo>
                      <a:pt x="2509" y="103"/>
                      <a:pt x="2518" y="109"/>
                      <a:pt x="2520" y="104"/>
                    </a:cubicBezTo>
                    <a:lnTo>
                      <a:pt x="2531" y="109"/>
                    </a:lnTo>
                    <a:lnTo>
                      <a:pt x="2527" y="107"/>
                    </a:lnTo>
                    <a:cubicBezTo>
                      <a:pt x="2528" y="105"/>
                      <a:pt x="2539" y="103"/>
                      <a:pt x="2541" y="103"/>
                    </a:cubicBezTo>
                    <a:cubicBezTo>
                      <a:pt x="2552" y="100"/>
                      <a:pt x="2557" y="101"/>
                      <a:pt x="2563" y="103"/>
                    </a:cubicBezTo>
                    <a:cubicBezTo>
                      <a:pt x="2561" y="102"/>
                      <a:pt x="2556" y="98"/>
                      <a:pt x="2565" y="97"/>
                    </a:cubicBezTo>
                    <a:cubicBezTo>
                      <a:pt x="2565" y="103"/>
                      <a:pt x="2583" y="98"/>
                      <a:pt x="2583" y="101"/>
                    </a:cubicBezTo>
                    <a:cubicBezTo>
                      <a:pt x="2587" y="101"/>
                      <a:pt x="2593" y="102"/>
                      <a:pt x="2594" y="100"/>
                    </a:cubicBezTo>
                    <a:lnTo>
                      <a:pt x="2593" y="104"/>
                    </a:lnTo>
                    <a:cubicBezTo>
                      <a:pt x="2594" y="98"/>
                      <a:pt x="2607" y="98"/>
                      <a:pt x="2617" y="96"/>
                    </a:cubicBezTo>
                    <a:cubicBezTo>
                      <a:pt x="2615" y="103"/>
                      <a:pt x="2628" y="94"/>
                      <a:pt x="2633" y="101"/>
                    </a:cubicBezTo>
                    <a:cubicBezTo>
                      <a:pt x="2634" y="96"/>
                      <a:pt x="2650" y="97"/>
                      <a:pt x="2652" y="93"/>
                    </a:cubicBezTo>
                    <a:cubicBezTo>
                      <a:pt x="2660" y="92"/>
                      <a:pt x="2659" y="97"/>
                      <a:pt x="2661" y="98"/>
                    </a:cubicBezTo>
                    <a:lnTo>
                      <a:pt x="2665" y="96"/>
                    </a:lnTo>
                    <a:cubicBezTo>
                      <a:pt x="2669" y="98"/>
                      <a:pt x="2683" y="97"/>
                      <a:pt x="2692" y="98"/>
                    </a:cubicBezTo>
                    <a:lnTo>
                      <a:pt x="2700" y="93"/>
                    </a:lnTo>
                    <a:lnTo>
                      <a:pt x="2703" y="95"/>
                    </a:lnTo>
                    <a:cubicBezTo>
                      <a:pt x="2704" y="93"/>
                      <a:pt x="2711" y="92"/>
                      <a:pt x="2706" y="91"/>
                    </a:cubicBezTo>
                    <a:lnTo>
                      <a:pt x="2711" y="91"/>
                    </a:lnTo>
                    <a:cubicBezTo>
                      <a:pt x="2711" y="86"/>
                      <a:pt x="2717" y="89"/>
                      <a:pt x="2725" y="86"/>
                    </a:cubicBezTo>
                    <a:cubicBezTo>
                      <a:pt x="2727" y="87"/>
                      <a:pt x="2727" y="88"/>
                      <a:pt x="2725" y="89"/>
                    </a:cubicBezTo>
                    <a:cubicBezTo>
                      <a:pt x="2729" y="88"/>
                      <a:pt x="2728" y="91"/>
                      <a:pt x="2730" y="92"/>
                    </a:cubicBezTo>
                    <a:cubicBezTo>
                      <a:pt x="2727" y="91"/>
                      <a:pt x="2745" y="82"/>
                      <a:pt x="2733" y="81"/>
                    </a:cubicBezTo>
                    <a:cubicBezTo>
                      <a:pt x="2732" y="79"/>
                      <a:pt x="2739" y="77"/>
                      <a:pt x="2743" y="78"/>
                    </a:cubicBezTo>
                    <a:lnTo>
                      <a:pt x="2746" y="82"/>
                    </a:lnTo>
                    <a:lnTo>
                      <a:pt x="2751" y="77"/>
                    </a:lnTo>
                    <a:cubicBezTo>
                      <a:pt x="2757" y="76"/>
                      <a:pt x="2761" y="78"/>
                      <a:pt x="2766" y="78"/>
                    </a:cubicBezTo>
                    <a:cubicBezTo>
                      <a:pt x="2760" y="79"/>
                      <a:pt x="2754" y="88"/>
                      <a:pt x="2769" y="86"/>
                    </a:cubicBezTo>
                    <a:cubicBezTo>
                      <a:pt x="2761" y="87"/>
                      <a:pt x="2758" y="90"/>
                      <a:pt x="2754" y="91"/>
                    </a:cubicBezTo>
                    <a:cubicBezTo>
                      <a:pt x="2757" y="91"/>
                      <a:pt x="2759" y="91"/>
                      <a:pt x="2754" y="94"/>
                    </a:cubicBezTo>
                    <a:cubicBezTo>
                      <a:pt x="2765" y="91"/>
                      <a:pt x="2758" y="91"/>
                      <a:pt x="2769" y="89"/>
                    </a:cubicBezTo>
                    <a:cubicBezTo>
                      <a:pt x="2768" y="93"/>
                      <a:pt x="2772" y="94"/>
                      <a:pt x="2781" y="94"/>
                    </a:cubicBezTo>
                    <a:lnTo>
                      <a:pt x="2774" y="92"/>
                    </a:lnTo>
                    <a:cubicBezTo>
                      <a:pt x="2774" y="92"/>
                      <a:pt x="2775" y="91"/>
                      <a:pt x="2775" y="91"/>
                    </a:cubicBezTo>
                    <a:cubicBezTo>
                      <a:pt x="2772" y="91"/>
                      <a:pt x="2771" y="90"/>
                      <a:pt x="2771" y="89"/>
                    </a:cubicBezTo>
                    <a:cubicBezTo>
                      <a:pt x="2773" y="89"/>
                      <a:pt x="2783" y="83"/>
                      <a:pt x="2785" y="85"/>
                    </a:cubicBezTo>
                    <a:cubicBezTo>
                      <a:pt x="2773" y="80"/>
                      <a:pt x="2804" y="78"/>
                      <a:pt x="2797" y="76"/>
                    </a:cubicBezTo>
                    <a:cubicBezTo>
                      <a:pt x="2798" y="74"/>
                      <a:pt x="2805" y="73"/>
                      <a:pt x="2806" y="75"/>
                    </a:cubicBezTo>
                    <a:cubicBezTo>
                      <a:pt x="2797" y="79"/>
                      <a:pt x="2814" y="79"/>
                      <a:pt x="2812" y="82"/>
                    </a:cubicBezTo>
                    <a:cubicBezTo>
                      <a:pt x="2816" y="80"/>
                      <a:pt x="2805" y="80"/>
                      <a:pt x="2809" y="78"/>
                    </a:cubicBezTo>
                    <a:cubicBezTo>
                      <a:pt x="2815" y="77"/>
                      <a:pt x="2819" y="79"/>
                      <a:pt x="2822" y="80"/>
                    </a:cubicBezTo>
                    <a:lnTo>
                      <a:pt x="2820" y="81"/>
                    </a:lnTo>
                    <a:lnTo>
                      <a:pt x="2829" y="82"/>
                    </a:lnTo>
                    <a:cubicBezTo>
                      <a:pt x="2830" y="79"/>
                      <a:pt x="2820" y="79"/>
                      <a:pt x="2828" y="77"/>
                    </a:cubicBezTo>
                    <a:cubicBezTo>
                      <a:pt x="2830" y="78"/>
                      <a:pt x="2838" y="76"/>
                      <a:pt x="2838" y="78"/>
                    </a:cubicBezTo>
                    <a:cubicBezTo>
                      <a:pt x="2834" y="81"/>
                      <a:pt x="2837" y="84"/>
                      <a:pt x="2831" y="85"/>
                    </a:cubicBezTo>
                    <a:cubicBezTo>
                      <a:pt x="2836" y="84"/>
                      <a:pt x="2854" y="82"/>
                      <a:pt x="2846" y="79"/>
                    </a:cubicBezTo>
                    <a:lnTo>
                      <a:pt x="2853" y="79"/>
                    </a:lnTo>
                    <a:cubicBezTo>
                      <a:pt x="2849" y="77"/>
                      <a:pt x="2837" y="76"/>
                      <a:pt x="2850" y="74"/>
                    </a:cubicBezTo>
                    <a:lnTo>
                      <a:pt x="2850" y="75"/>
                    </a:lnTo>
                    <a:lnTo>
                      <a:pt x="2859" y="71"/>
                    </a:lnTo>
                    <a:lnTo>
                      <a:pt x="2863" y="72"/>
                    </a:lnTo>
                    <a:cubicBezTo>
                      <a:pt x="2863" y="71"/>
                      <a:pt x="2864" y="70"/>
                      <a:pt x="2867" y="70"/>
                    </a:cubicBezTo>
                    <a:cubicBezTo>
                      <a:pt x="2868" y="71"/>
                      <a:pt x="2872" y="71"/>
                      <a:pt x="2872" y="73"/>
                    </a:cubicBezTo>
                    <a:cubicBezTo>
                      <a:pt x="2881" y="71"/>
                      <a:pt x="2880" y="69"/>
                      <a:pt x="2882" y="68"/>
                    </a:cubicBezTo>
                    <a:cubicBezTo>
                      <a:pt x="2887" y="67"/>
                      <a:pt x="2889" y="68"/>
                      <a:pt x="2887" y="70"/>
                    </a:cubicBezTo>
                    <a:cubicBezTo>
                      <a:pt x="2895" y="70"/>
                      <a:pt x="2908" y="68"/>
                      <a:pt x="2913" y="69"/>
                    </a:cubicBezTo>
                    <a:cubicBezTo>
                      <a:pt x="2923" y="66"/>
                      <a:pt x="2911" y="69"/>
                      <a:pt x="2916" y="66"/>
                    </a:cubicBezTo>
                    <a:cubicBezTo>
                      <a:pt x="2926" y="71"/>
                      <a:pt x="2950" y="64"/>
                      <a:pt x="2967" y="61"/>
                    </a:cubicBezTo>
                    <a:cubicBezTo>
                      <a:pt x="2961" y="56"/>
                      <a:pt x="2971" y="60"/>
                      <a:pt x="2973" y="54"/>
                    </a:cubicBezTo>
                    <a:cubicBezTo>
                      <a:pt x="2970" y="56"/>
                      <a:pt x="2990" y="57"/>
                      <a:pt x="2975" y="60"/>
                    </a:cubicBezTo>
                    <a:lnTo>
                      <a:pt x="2984" y="58"/>
                    </a:lnTo>
                    <a:cubicBezTo>
                      <a:pt x="2990" y="61"/>
                      <a:pt x="2970" y="63"/>
                      <a:pt x="2979" y="66"/>
                    </a:cubicBezTo>
                    <a:cubicBezTo>
                      <a:pt x="2989" y="64"/>
                      <a:pt x="2995" y="57"/>
                      <a:pt x="3007" y="58"/>
                    </a:cubicBezTo>
                    <a:cubicBezTo>
                      <a:pt x="3004" y="62"/>
                      <a:pt x="3016" y="55"/>
                      <a:pt x="3013" y="60"/>
                    </a:cubicBezTo>
                    <a:cubicBezTo>
                      <a:pt x="3011" y="62"/>
                      <a:pt x="3008" y="62"/>
                      <a:pt x="3005" y="63"/>
                    </a:cubicBezTo>
                    <a:lnTo>
                      <a:pt x="3007" y="63"/>
                    </a:lnTo>
                    <a:cubicBezTo>
                      <a:pt x="3029" y="61"/>
                      <a:pt x="3012" y="57"/>
                      <a:pt x="3023" y="53"/>
                    </a:cubicBezTo>
                    <a:cubicBezTo>
                      <a:pt x="3036" y="51"/>
                      <a:pt x="3034" y="55"/>
                      <a:pt x="3035" y="57"/>
                    </a:cubicBezTo>
                    <a:cubicBezTo>
                      <a:pt x="3037" y="57"/>
                      <a:pt x="3044" y="55"/>
                      <a:pt x="3047" y="54"/>
                    </a:cubicBezTo>
                    <a:cubicBezTo>
                      <a:pt x="3040" y="58"/>
                      <a:pt x="3032" y="53"/>
                      <a:pt x="3035" y="50"/>
                    </a:cubicBezTo>
                    <a:cubicBezTo>
                      <a:pt x="3042" y="54"/>
                      <a:pt x="3055" y="48"/>
                      <a:pt x="3058" y="45"/>
                    </a:cubicBezTo>
                    <a:cubicBezTo>
                      <a:pt x="3039" y="43"/>
                      <a:pt x="3045" y="47"/>
                      <a:pt x="3027" y="44"/>
                    </a:cubicBezTo>
                    <a:cubicBezTo>
                      <a:pt x="3024" y="46"/>
                      <a:pt x="3026" y="50"/>
                      <a:pt x="3015" y="50"/>
                    </a:cubicBezTo>
                    <a:cubicBezTo>
                      <a:pt x="3021" y="47"/>
                      <a:pt x="3014" y="48"/>
                      <a:pt x="3012" y="47"/>
                    </a:cubicBezTo>
                    <a:cubicBezTo>
                      <a:pt x="3014" y="50"/>
                      <a:pt x="3005" y="49"/>
                      <a:pt x="3002" y="51"/>
                    </a:cubicBezTo>
                    <a:cubicBezTo>
                      <a:pt x="2998" y="49"/>
                      <a:pt x="3007" y="44"/>
                      <a:pt x="2996" y="45"/>
                    </a:cubicBezTo>
                    <a:lnTo>
                      <a:pt x="2995" y="51"/>
                    </a:lnTo>
                    <a:cubicBezTo>
                      <a:pt x="2991" y="51"/>
                      <a:pt x="2996" y="46"/>
                      <a:pt x="2988" y="49"/>
                    </a:cubicBezTo>
                    <a:cubicBezTo>
                      <a:pt x="2992" y="45"/>
                      <a:pt x="2985" y="45"/>
                      <a:pt x="2997" y="42"/>
                    </a:cubicBezTo>
                    <a:cubicBezTo>
                      <a:pt x="2982" y="39"/>
                      <a:pt x="2976" y="48"/>
                      <a:pt x="2965" y="51"/>
                    </a:cubicBezTo>
                    <a:cubicBezTo>
                      <a:pt x="2966" y="51"/>
                      <a:pt x="2966" y="50"/>
                      <a:pt x="2967" y="49"/>
                    </a:cubicBezTo>
                    <a:cubicBezTo>
                      <a:pt x="2965" y="51"/>
                      <a:pt x="2960" y="52"/>
                      <a:pt x="2957" y="52"/>
                    </a:cubicBezTo>
                    <a:cubicBezTo>
                      <a:pt x="2950" y="52"/>
                      <a:pt x="2963" y="49"/>
                      <a:pt x="2960" y="48"/>
                    </a:cubicBezTo>
                    <a:lnTo>
                      <a:pt x="2949" y="49"/>
                    </a:lnTo>
                    <a:cubicBezTo>
                      <a:pt x="2948" y="49"/>
                      <a:pt x="2948" y="49"/>
                      <a:pt x="2948" y="49"/>
                    </a:cubicBezTo>
                    <a:cubicBezTo>
                      <a:pt x="2945" y="50"/>
                      <a:pt x="2942" y="51"/>
                      <a:pt x="2941" y="50"/>
                    </a:cubicBezTo>
                    <a:cubicBezTo>
                      <a:pt x="2944" y="47"/>
                      <a:pt x="2945" y="45"/>
                      <a:pt x="2948" y="44"/>
                    </a:cubicBezTo>
                    <a:lnTo>
                      <a:pt x="2936" y="49"/>
                    </a:lnTo>
                    <a:cubicBezTo>
                      <a:pt x="2937" y="47"/>
                      <a:pt x="2925" y="47"/>
                      <a:pt x="2934" y="45"/>
                    </a:cubicBezTo>
                    <a:lnTo>
                      <a:pt x="2915" y="48"/>
                    </a:lnTo>
                    <a:lnTo>
                      <a:pt x="2913" y="44"/>
                    </a:lnTo>
                    <a:cubicBezTo>
                      <a:pt x="2909" y="45"/>
                      <a:pt x="2909" y="46"/>
                      <a:pt x="2914" y="46"/>
                    </a:cubicBezTo>
                    <a:cubicBezTo>
                      <a:pt x="2907" y="46"/>
                      <a:pt x="2887" y="56"/>
                      <a:pt x="2889" y="48"/>
                    </a:cubicBezTo>
                    <a:cubicBezTo>
                      <a:pt x="2875" y="53"/>
                      <a:pt x="2869" y="52"/>
                      <a:pt x="2852" y="56"/>
                    </a:cubicBezTo>
                    <a:cubicBezTo>
                      <a:pt x="2865" y="51"/>
                      <a:pt x="2836" y="53"/>
                      <a:pt x="2850" y="50"/>
                    </a:cubicBezTo>
                    <a:cubicBezTo>
                      <a:pt x="2841" y="49"/>
                      <a:pt x="2840" y="54"/>
                      <a:pt x="2833" y="55"/>
                    </a:cubicBezTo>
                    <a:cubicBezTo>
                      <a:pt x="2827" y="54"/>
                      <a:pt x="2829" y="50"/>
                      <a:pt x="2836" y="48"/>
                    </a:cubicBezTo>
                    <a:lnTo>
                      <a:pt x="2828" y="50"/>
                    </a:lnTo>
                    <a:lnTo>
                      <a:pt x="2828" y="50"/>
                    </a:lnTo>
                    <a:lnTo>
                      <a:pt x="2822" y="52"/>
                    </a:lnTo>
                    <a:cubicBezTo>
                      <a:pt x="2814" y="51"/>
                      <a:pt x="2820" y="49"/>
                      <a:pt x="2812" y="49"/>
                    </a:cubicBezTo>
                    <a:lnTo>
                      <a:pt x="2811" y="53"/>
                    </a:lnTo>
                    <a:lnTo>
                      <a:pt x="2805" y="51"/>
                    </a:lnTo>
                    <a:cubicBezTo>
                      <a:pt x="2808" y="52"/>
                      <a:pt x="2803" y="54"/>
                      <a:pt x="2798" y="54"/>
                    </a:cubicBezTo>
                    <a:lnTo>
                      <a:pt x="2798" y="54"/>
                    </a:lnTo>
                    <a:lnTo>
                      <a:pt x="2791" y="55"/>
                    </a:lnTo>
                    <a:cubicBezTo>
                      <a:pt x="2798" y="52"/>
                      <a:pt x="2785" y="55"/>
                      <a:pt x="2788" y="52"/>
                    </a:cubicBezTo>
                    <a:cubicBezTo>
                      <a:pt x="2782" y="52"/>
                      <a:pt x="2782" y="53"/>
                      <a:pt x="2772" y="54"/>
                    </a:cubicBezTo>
                    <a:lnTo>
                      <a:pt x="2774" y="56"/>
                    </a:lnTo>
                    <a:cubicBezTo>
                      <a:pt x="2761" y="60"/>
                      <a:pt x="2773" y="53"/>
                      <a:pt x="2762" y="54"/>
                    </a:cubicBezTo>
                    <a:lnTo>
                      <a:pt x="2763" y="56"/>
                    </a:lnTo>
                    <a:cubicBezTo>
                      <a:pt x="2747" y="53"/>
                      <a:pt x="2737" y="62"/>
                      <a:pt x="2725" y="60"/>
                    </a:cubicBezTo>
                    <a:cubicBezTo>
                      <a:pt x="2731" y="58"/>
                      <a:pt x="2729" y="55"/>
                      <a:pt x="2729" y="56"/>
                    </a:cubicBezTo>
                    <a:cubicBezTo>
                      <a:pt x="2719" y="58"/>
                      <a:pt x="2703" y="59"/>
                      <a:pt x="2693" y="63"/>
                    </a:cubicBezTo>
                    <a:cubicBezTo>
                      <a:pt x="2689" y="59"/>
                      <a:pt x="2688" y="58"/>
                      <a:pt x="2677" y="57"/>
                    </a:cubicBezTo>
                    <a:cubicBezTo>
                      <a:pt x="2670" y="58"/>
                      <a:pt x="2669" y="59"/>
                      <a:pt x="2666" y="61"/>
                    </a:cubicBezTo>
                    <a:cubicBezTo>
                      <a:pt x="2659" y="61"/>
                      <a:pt x="2645" y="64"/>
                      <a:pt x="2644" y="61"/>
                    </a:cubicBezTo>
                    <a:cubicBezTo>
                      <a:pt x="2643" y="63"/>
                      <a:pt x="2637" y="61"/>
                      <a:pt x="2634" y="63"/>
                    </a:cubicBezTo>
                    <a:lnTo>
                      <a:pt x="2633" y="62"/>
                    </a:lnTo>
                    <a:lnTo>
                      <a:pt x="2633" y="65"/>
                    </a:lnTo>
                    <a:cubicBezTo>
                      <a:pt x="2620" y="60"/>
                      <a:pt x="2611" y="70"/>
                      <a:pt x="2598" y="66"/>
                    </a:cubicBezTo>
                    <a:lnTo>
                      <a:pt x="2600" y="65"/>
                    </a:lnTo>
                    <a:lnTo>
                      <a:pt x="2594" y="66"/>
                    </a:lnTo>
                    <a:cubicBezTo>
                      <a:pt x="2593" y="65"/>
                      <a:pt x="2596" y="64"/>
                      <a:pt x="2596" y="63"/>
                    </a:cubicBezTo>
                    <a:lnTo>
                      <a:pt x="2570" y="64"/>
                    </a:lnTo>
                    <a:lnTo>
                      <a:pt x="2575" y="66"/>
                    </a:lnTo>
                    <a:cubicBezTo>
                      <a:pt x="2569" y="67"/>
                      <a:pt x="2566" y="70"/>
                      <a:pt x="2559" y="68"/>
                    </a:cubicBezTo>
                    <a:cubicBezTo>
                      <a:pt x="2570" y="64"/>
                      <a:pt x="2551" y="69"/>
                      <a:pt x="2549" y="66"/>
                    </a:cubicBezTo>
                    <a:lnTo>
                      <a:pt x="2554" y="64"/>
                    </a:lnTo>
                    <a:cubicBezTo>
                      <a:pt x="2547" y="65"/>
                      <a:pt x="2547" y="65"/>
                      <a:pt x="2548" y="68"/>
                    </a:cubicBezTo>
                    <a:cubicBezTo>
                      <a:pt x="2538" y="69"/>
                      <a:pt x="2540" y="63"/>
                      <a:pt x="2531" y="66"/>
                    </a:cubicBezTo>
                    <a:lnTo>
                      <a:pt x="2538" y="66"/>
                    </a:lnTo>
                    <a:cubicBezTo>
                      <a:pt x="2540" y="68"/>
                      <a:pt x="2535" y="70"/>
                      <a:pt x="2531" y="70"/>
                    </a:cubicBezTo>
                    <a:cubicBezTo>
                      <a:pt x="2530" y="70"/>
                      <a:pt x="2527" y="69"/>
                      <a:pt x="2530" y="68"/>
                    </a:cubicBezTo>
                    <a:cubicBezTo>
                      <a:pt x="2522" y="70"/>
                      <a:pt x="2511" y="69"/>
                      <a:pt x="2507" y="71"/>
                    </a:cubicBezTo>
                    <a:cubicBezTo>
                      <a:pt x="2503" y="70"/>
                      <a:pt x="2504" y="68"/>
                      <a:pt x="2506" y="67"/>
                    </a:cubicBezTo>
                    <a:cubicBezTo>
                      <a:pt x="2490" y="71"/>
                      <a:pt x="2499" y="67"/>
                      <a:pt x="2482" y="71"/>
                    </a:cubicBezTo>
                    <a:lnTo>
                      <a:pt x="2482" y="69"/>
                    </a:lnTo>
                    <a:lnTo>
                      <a:pt x="2477" y="71"/>
                    </a:lnTo>
                    <a:lnTo>
                      <a:pt x="2468" y="68"/>
                    </a:lnTo>
                    <a:lnTo>
                      <a:pt x="2471" y="70"/>
                    </a:lnTo>
                    <a:cubicBezTo>
                      <a:pt x="2466" y="71"/>
                      <a:pt x="2462" y="72"/>
                      <a:pt x="2456" y="72"/>
                    </a:cubicBezTo>
                    <a:lnTo>
                      <a:pt x="2458" y="69"/>
                    </a:lnTo>
                    <a:cubicBezTo>
                      <a:pt x="2443" y="71"/>
                      <a:pt x="2440" y="66"/>
                      <a:pt x="2426" y="70"/>
                    </a:cubicBezTo>
                    <a:cubicBezTo>
                      <a:pt x="2425" y="70"/>
                      <a:pt x="2427" y="69"/>
                      <a:pt x="2428" y="69"/>
                    </a:cubicBezTo>
                    <a:cubicBezTo>
                      <a:pt x="2415" y="73"/>
                      <a:pt x="2418" y="65"/>
                      <a:pt x="2404" y="70"/>
                    </a:cubicBezTo>
                    <a:cubicBezTo>
                      <a:pt x="2405" y="70"/>
                      <a:pt x="2403" y="69"/>
                      <a:pt x="2404" y="68"/>
                    </a:cubicBezTo>
                    <a:lnTo>
                      <a:pt x="2398" y="70"/>
                    </a:lnTo>
                    <a:lnTo>
                      <a:pt x="2398" y="67"/>
                    </a:lnTo>
                    <a:lnTo>
                      <a:pt x="2393" y="71"/>
                    </a:lnTo>
                    <a:lnTo>
                      <a:pt x="2389" y="68"/>
                    </a:lnTo>
                    <a:lnTo>
                      <a:pt x="2387" y="70"/>
                    </a:lnTo>
                    <a:cubicBezTo>
                      <a:pt x="2380" y="65"/>
                      <a:pt x="2370" y="69"/>
                      <a:pt x="2361" y="65"/>
                    </a:cubicBezTo>
                    <a:lnTo>
                      <a:pt x="2363" y="69"/>
                    </a:lnTo>
                    <a:cubicBezTo>
                      <a:pt x="2340" y="79"/>
                      <a:pt x="2310" y="67"/>
                      <a:pt x="2282" y="72"/>
                    </a:cubicBezTo>
                    <a:lnTo>
                      <a:pt x="2283" y="69"/>
                    </a:lnTo>
                    <a:lnTo>
                      <a:pt x="2271" y="73"/>
                    </a:lnTo>
                    <a:cubicBezTo>
                      <a:pt x="2265" y="71"/>
                      <a:pt x="2275" y="70"/>
                      <a:pt x="2273" y="69"/>
                    </a:cubicBezTo>
                    <a:cubicBezTo>
                      <a:pt x="2261" y="71"/>
                      <a:pt x="2268" y="73"/>
                      <a:pt x="2254" y="75"/>
                    </a:cubicBezTo>
                    <a:cubicBezTo>
                      <a:pt x="2246" y="73"/>
                      <a:pt x="2256" y="72"/>
                      <a:pt x="2259" y="71"/>
                    </a:cubicBezTo>
                    <a:cubicBezTo>
                      <a:pt x="2246" y="73"/>
                      <a:pt x="2226" y="76"/>
                      <a:pt x="2217" y="74"/>
                    </a:cubicBezTo>
                    <a:cubicBezTo>
                      <a:pt x="2217" y="75"/>
                      <a:pt x="2216" y="75"/>
                      <a:pt x="2217" y="75"/>
                    </a:cubicBezTo>
                    <a:cubicBezTo>
                      <a:pt x="2208" y="77"/>
                      <a:pt x="2196" y="76"/>
                      <a:pt x="2186" y="76"/>
                    </a:cubicBezTo>
                    <a:cubicBezTo>
                      <a:pt x="2186" y="75"/>
                      <a:pt x="2189" y="75"/>
                      <a:pt x="2191" y="74"/>
                    </a:cubicBezTo>
                    <a:cubicBezTo>
                      <a:pt x="2187" y="74"/>
                      <a:pt x="2183" y="73"/>
                      <a:pt x="2180" y="75"/>
                    </a:cubicBezTo>
                    <a:lnTo>
                      <a:pt x="2183" y="72"/>
                    </a:lnTo>
                    <a:cubicBezTo>
                      <a:pt x="2176" y="72"/>
                      <a:pt x="2161" y="74"/>
                      <a:pt x="2159" y="71"/>
                    </a:cubicBezTo>
                    <a:cubicBezTo>
                      <a:pt x="2160" y="72"/>
                      <a:pt x="2160" y="75"/>
                      <a:pt x="2153" y="75"/>
                    </a:cubicBezTo>
                    <a:cubicBezTo>
                      <a:pt x="2150" y="70"/>
                      <a:pt x="2136" y="77"/>
                      <a:pt x="2125" y="75"/>
                    </a:cubicBezTo>
                    <a:cubicBezTo>
                      <a:pt x="2126" y="74"/>
                      <a:pt x="2134" y="73"/>
                      <a:pt x="2132" y="73"/>
                    </a:cubicBezTo>
                    <a:cubicBezTo>
                      <a:pt x="2127" y="72"/>
                      <a:pt x="2122" y="75"/>
                      <a:pt x="2117" y="76"/>
                    </a:cubicBezTo>
                    <a:lnTo>
                      <a:pt x="2119" y="74"/>
                    </a:lnTo>
                    <a:lnTo>
                      <a:pt x="2094" y="77"/>
                    </a:lnTo>
                    <a:cubicBezTo>
                      <a:pt x="2091" y="73"/>
                      <a:pt x="2071" y="78"/>
                      <a:pt x="2073" y="75"/>
                    </a:cubicBezTo>
                    <a:cubicBezTo>
                      <a:pt x="2064" y="75"/>
                      <a:pt x="2080" y="77"/>
                      <a:pt x="2069" y="78"/>
                    </a:cubicBezTo>
                    <a:cubicBezTo>
                      <a:pt x="2066" y="76"/>
                      <a:pt x="2059" y="79"/>
                      <a:pt x="2060" y="76"/>
                    </a:cubicBezTo>
                    <a:lnTo>
                      <a:pt x="2061" y="75"/>
                    </a:lnTo>
                    <a:lnTo>
                      <a:pt x="2053" y="75"/>
                    </a:lnTo>
                    <a:lnTo>
                      <a:pt x="2058" y="72"/>
                    </a:lnTo>
                    <a:cubicBezTo>
                      <a:pt x="2051" y="73"/>
                      <a:pt x="2046" y="76"/>
                      <a:pt x="2046" y="79"/>
                    </a:cubicBezTo>
                    <a:cubicBezTo>
                      <a:pt x="2040" y="77"/>
                      <a:pt x="2031" y="78"/>
                      <a:pt x="2028" y="76"/>
                    </a:cubicBezTo>
                    <a:lnTo>
                      <a:pt x="2030" y="75"/>
                    </a:lnTo>
                    <a:cubicBezTo>
                      <a:pt x="2013" y="76"/>
                      <a:pt x="2001" y="67"/>
                      <a:pt x="1987" y="72"/>
                    </a:cubicBezTo>
                    <a:cubicBezTo>
                      <a:pt x="1986" y="72"/>
                      <a:pt x="1986" y="71"/>
                      <a:pt x="1988" y="71"/>
                    </a:cubicBezTo>
                    <a:lnTo>
                      <a:pt x="1977" y="71"/>
                    </a:lnTo>
                    <a:lnTo>
                      <a:pt x="1980" y="68"/>
                    </a:lnTo>
                    <a:lnTo>
                      <a:pt x="1962" y="72"/>
                    </a:lnTo>
                    <a:lnTo>
                      <a:pt x="1962" y="71"/>
                    </a:lnTo>
                    <a:cubicBezTo>
                      <a:pt x="1950" y="70"/>
                      <a:pt x="1932" y="71"/>
                      <a:pt x="1916" y="71"/>
                    </a:cubicBezTo>
                    <a:lnTo>
                      <a:pt x="1919" y="70"/>
                    </a:lnTo>
                    <a:cubicBezTo>
                      <a:pt x="1902" y="73"/>
                      <a:pt x="1902" y="69"/>
                      <a:pt x="1890" y="70"/>
                    </a:cubicBezTo>
                    <a:cubicBezTo>
                      <a:pt x="1891" y="70"/>
                      <a:pt x="1891" y="70"/>
                      <a:pt x="1891" y="70"/>
                    </a:cubicBezTo>
                    <a:lnTo>
                      <a:pt x="1880" y="70"/>
                    </a:lnTo>
                    <a:lnTo>
                      <a:pt x="1883" y="68"/>
                    </a:lnTo>
                    <a:cubicBezTo>
                      <a:pt x="1875" y="71"/>
                      <a:pt x="1860" y="64"/>
                      <a:pt x="1865" y="66"/>
                    </a:cubicBezTo>
                    <a:cubicBezTo>
                      <a:pt x="1860" y="68"/>
                      <a:pt x="1852" y="70"/>
                      <a:pt x="1851" y="72"/>
                    </a:cubicBezTo>
                    <a:cubicBezTo>
                      <a:pt x="1839" y="72"/>
                      <a:pt x="1848" y="70"/>
                      <a:pt x="1840" y="68"/>
                    </a:cubicBezTo>
                    <a:cubicBezTo>
                      <a:pt x="1832" y="68"/>
                      <a:pt x="1830" y="71"/>
                      <a:pt x="1818" y="69"/>
                    </a:cubicBezTo>
                    <a:lnTo>
                      <a:pt x="1819" y="68"/>
                    </a:lnTo>
                    <a:cubicBezTo>
                      <a:pt x="1813" y="68"/>
                      <a:pt x="1810" y="69"/>
                      <a:pt x="1802" y="69"/>
                    </a:cubicBezTo>
                    <a:lnTo>
                      <a:pt x="1804" y="68"/>
                    </a:lnTo>
                    <a:cubicBezTo>
                      <a:pt x="1792" y="71"/>
                      <a:pt x="1789" y="63"/>
                      <a:pt x="1779" y="70"/>
                    </a:cubicBezTo>
                    <a:cubicBezTo>
                      <a:pt x="1773" y="68"/>
                      <a:pt x="1763" y="69"/>
                      <a:pt x="1764" y="66"/>
                    </a:cubicBezTo>
                    <a:cubicBezTo>
                      <a:pt x="1748" y="68"/>
                      <a:pt x="1736" y="68"/>
                      <a:pt x="1721" y="69"/>
                    </a:cubicBezTo>
                    <a:cubicBezTo>
                      <a:pt x="1718" y="64"/>
                      <a:pt x="1717" y="69"/>
                      <a:pt x="1708" y="66"/>
                    </a:cubicBezTo>
                    <a:lnTo>
                      <a:pt x="1709" y="69"/>
                    </a:lnTo>
                    <a:cubicBezTo>
                      <a:pt x="1687" y="69"/>
                      <a:pt x="1662" y="62"/>
                      <a:pt x="1638" y="62"/>
                    </a:cubicBezTo>
                    <a:lnTo>
                      <a:pt x="1637" y="59"/>
                    </a:lnTo>
                    <a:lnTo>
                      <a:pt x="1632" y="62"/>
                    </a:lnTo>
                    <a:cubicBezTo>
                      <a:pt x="1606" y="60"/>
                      <a:pt x="1572" y="58"/>
                      <a:pt x="1551" y="57"/>
                    </a:cubicBezTo>
                    <a:cubicBezTo>
                      <a:pt x="1545" y="58"/>
                      <a:pt x="1534" y="61"/>
                      <a:pt x="1523" y="60"/>
                    </a:cubicBezTo>
                    <a:lnTo>
                      <a:pt x="1524" y="59"/>
                    </a:lnTo>
                    <a:cubicBezTo>
                      <a:pt x="1506" y="60"/>
                      <a:pt x="1486" y="61"/>
                      <a:pt x="1465" y="58"/>
                    </a:cubicBezTo>
                    <a:cubicBezTo>
                      <a:pt x="1466" y="57"/>
                      <a:pt x="1464" y="56"/>
                      <a:pt x="1467" y="56"/>
                    </a:cubicBezTo>
                    <a:cubicBezTo>
                      <a:pt x="1462" y="59"/>
                      <a:pt x="1455" y="55"/>
                      <a:pt x="1450" y="55"/>
                    </a:cubicBezTo>
                    <a:lnTo>
                      <a:pt x="1455" y="57"/>
                    </a:lnTo>
                    <a:cubicBezTo>
                      <a:pt x="1449" y="60"/>
                      <a:pt x="1441" y="57"/>
                      <a:pt x="1438" y="55"/>
                    </a:cubicBezTo>
                    <a:lnTo>
                      <a:pt x="1429" y="58"/>
                    </a:lnTo>
                    <a:cubicBezTo>
                      <a:pt x="1428" y="57"/>
                      <a:pt x="1427" y="57"/>
                      <a:pt x="1427" y="56"/>
                    </a:cubicBezTo>
                    <a:lnTo>
                      <a:pt x="1426" y="58"/>
                    </a:lnTo>
                    <a:lnTo>
                      <a:pt x="1421" y="54"/>
                    </a:lnTo>
                    <a:cubicBezTo>
                      <a:pt x="1418" y="55"/>
                      <a:pt x="1406" y="55"/>
                      <a:pt x="1402" y="58"/>
                    </a:cubicBezTo>
                    <a:cubicBezTo>
                      <a:pt x="1401" y="57"/>
                      <a:pt x="1393" y="56"/>
                      <a:pt x="1399" y="56"/>
                    </a:cubicBezTo>
                    <a:lnTo>
                      <a:pt x="1366" y="53"/>
                    </a:lnTo>
                    <a:lnTo>
                      <a:pt x="1371" y="55"/>
                    </a:lnTo>
                    <a:cubicBezTo>
                      <a:pt x="1372" y="58"/>
                      <a:pt x="1361" y="59"/>
                      <a:pt x="1356" y="58"/>
                    </a:cubicBezTo>
                    <a:cubicBezTo>
                      <a:pt x="1363" y="56"/>
                      <a:pt x="1357" y="54"/>
                      <a:pt x="1354" y="52"/>
                    </a:cubicBezTo>
                    <a:cubicBezTo>
                      <a:pt x="1349" y="53"/>
                      <a:pt x="1358" y="54"/>
                      <a:pt x="1355" y="56"/>
                    </a:cubicBezTo>
                    <a:cubicBezTo>
                      <a:pt x="1350" y="57"/>
                      <a:pt x="1337" y="58"/>
                      <a:pt x="1334" y="56"/>
                    </a:cubicBezTo>
                    <a:lnTo>
                      <a:pt x="1338" y="55"/>
                    </a:lnTo>
                    <a:cubicBezTo>
                      <a:pt x="1330" y="56"/>
                      <a:pt x="1326" y="51"/>
                      <a:pt x="1319" y="51"/>
                    </a:cubicBezTo>
                    <a:cubicBezTo>
                      <a:pt x="1312" y="53"/>
                      <a:pt x="1307" y="51"/>
                      <a:pt x="1308" y="56"/>
                    </a:cubicBezTo>
                    <a:cubicBezTo>
                      <a:pt x="1298" y="56"/>
                      <a:pt x="1304" y="52"/>
                      <a:pt x="1301" y="52"/>
                    </a:cubicBezTo>
                    <a:cubicBezTo>
                      <a:pt x="1296" y="54"/>
                      <a:pt x="1282" y="52"/>
                      <a:pt x="1280" y="50"/>
                    </a:cubicBezTo>
                    <a:cubicBezTo>
                      <a:pt x="1275" y="56"/>
                      <a:pt x="1254" y="46"/>
                      <a:pt x="1251" y="52"/>
                    </a:cubicBezTo>
                    <a:lnTo>
                      <a:pt x="1243" y="48"/>
                    </a:lnTo>
                    <a:cubicBezTo>
                      <a:pt x="1243" y="50"/>
                      <a:pt x="1241" y="53"/>
                      <a:pt x="1234" y="54"/>
                    </a:cubicBezTo>
                    <a:cubicBezTo>
                      <a:pt x="1228" y="52"/>
                      <a:pt x="1230" y="49"/>
                      <a:pt x="1228" y="47"/>
                    </a:cubicBezTo>
                    <a:lnTo>
                      <a:pt x="1223" y="53"/>
                    </a:lnTo>
                    <a:cubicBezTo>
                      <a:pt x="1187" y="46"/>
                      <a:pt x="1140" y="48"/>
                      <a:pt x="1100" y="42"/>
                    </a:cubicBezTo>
                    <a:cubicBezTo>
                      <a:pt x="1082" y="42"/>
                      <a:pt x="1060" y="44"/>
                      <a:pt x="1039" y="43"/>
                    </a:cubicBezTo>
                    <a:lnTo>
                      <a:pt x="1041" y="42"/>
                    </a:lnTo>
                    <a:lnTo>
                      <a:pt x="1021" y="40"/>
                    </a:lnTo>
                    <a:lnTo>
                      <a:pt x="1036" y="43"/>
                    </a:lnTo>
                    <a:cubicBezTo>
                      <a:pt x="1031" y="43"/>
                      <a:pt x="1028" y="44"/>
                      <a:pt x="1023" y="44"/>
                    </a:cubicBezTo>
                    <a:cubicBezTo>
                      <a:pt x="1001" y="41"/>
                      <a:pt x="971" y="37"/>
                      <a:pt x="943" y="39"/>
                    </a:cubicBezTo>
                    <a:cubicBezTo>
                      <a:pt x="925" y="45"/>
                      <a:pt x="931" y="33"/>
                      <a:pt x="914" y="37"/>
                    </a:cubicBezTo>
                    <a:cubicBezTo>
                      <a:pt x="915" y="36"/>
                      <a:pt x="916" y="36"/>
                      <a:pt x="917" y="35"/>
                    </a:cubicBezTo>
                    <a:cubicBezTo>
                      <a:pt x="899" y="36"/>
                      <a:pt x="888" y="37"/>
                      <a:pt x="870" y="41"/>
                    </a:cubicBezTo>
                    <a:cubicBezTo>
                      <a:pt x="872" y="34"/>
                      <a:pt x="858" y="40"/>
                      <a:pt x="859" y="37"/>
                    </a:cubicBezTo>
                    <a:lnTo>
                      <a:pt x="858" y="40"/>
                    </a:lnTo>
                    <a:cubicBezTo>
                      <a:pt x="854" y="38"/>
                      <a:pt x="844" y="37"/>
                      <a:pt x="845" y="35"/>
                    </a:cubicBezTo>
                    <a:lnTo>
                      <a:pt x="837" y="38"/>
                    </a:lnTo>
                    <a:lnTo>
                      <a:pt x="836" y="35"/>
                    </a:lnTo>
                    <a:cubicBezTo>
                      <a:pt x="826" y="35"/>
                      <a:pt x="802" y="36"/>
                      <a:pt x="797" y="30"/>
                    </a:cubicBezTo>
                    <a:cubicBezTo>
                      <a:pt x="770" y="34"/>
                      <a:pt x="727" y="31"/>
                      <a:pt x="693" y="29"/>
                    </a:cubicBezTo>
                    <a:cubicBezTo>
                      <a:pt x="689" y="31"/>
                      <a:pt x="679" y="31"/>
                      <a:pt x="671" y="31"/>
                    </a:cubicBezTo>
                    <a:lnTo>
                      <a:pt x="663" y="27"/>
                    </a:lnTo>
                    <a:cubicBezTo>
                      <a:pt x="655" y="28"/>
                      <a:pt x="646" y="32"/>
                      <a:pt x="639" y="29"/>
                    </a:cubicBezTo>
                    <a:cubicBezTo>
                      <a:pt x="639" y="29"/>
                      <a:pt x="640" y="29"/>
                      <a:pt x="640" y="28"/>
                    </a:cubicBezTo>
                    <a:cubicBezTo>
                      <a:pt x="632" y="29"/>
                      <a:pt x="625" y="27"/>
                      <a:pt x="617" y="30"/>
                    </a:cubicBezTo>
                    <a:cubicBezTo>
                      <a:pt x="608" y="29"/>
                      <a:pt x="600" y="27"/>
                      <a:pt x="603" y="24"/>
                    </a:cubicBezTo>
                    <a:cubicBezTo>
                      <a:pt x="602" y="30"/>
                      <a:pt x="584" y="23"/>
                      <a:pt x="584" y="23"/>
                    </a:cubicBezTo>
                    <a:cubicBezTo>
                      <a:pt x="584" y="23"/>
                      <a:pt x="556" y="21"/>
                      <a:pt x="513" y="18"/>
                    </a:cubicBezTo>
                    <a:cubicBezTo>
                      <a:pt x="469" y="15"/>
                      <a:pt x="410" y="12"/>
                      <a:pt x="347" y="9"/>
                    </a:cubicBezTo>
                    <a:cubicBezTo>
                      <a:pt x="222" y="3"/>
                      <a:pt x="82" y="0"/>
                      <a:pt x="27" y="12"/>
                    </a:cubicBezTo>
                    <a:cubicBezTo>
                      <a:pt x="23" y="15"/>
                      <a:pt x="13" y="16"/>
                      <a:pt x="16" y="19"/>
                    </a:cubicBezTo>
                    <a:cubicBezTo>
                      <a:pt x="9" y="20"/>
                      <a:pt x="5" y="15"/>
                      <a:pt x="4" y="18"/>
                    </a:cubicBezTo>
                    <a:cubicBezTo>
                      <a:pt x="14" y="20"/>
                      <a:pt x="0" y="25"/>
                      <a:pt x="10" y="28"/>
                    </a:cubicBezTo>
                    <a:lnTo>
                      <a:pt x="3" y="29"/>
                    </a:lnTo>
                    <a:cubicBezTo>
                      <a:pt x="2" y="30"/>
                      <a:pt x="13" y="27"/>
                      <a:pt x="11" y="30"/>
                    </a:cubicBezTo>
                    <a:lnTo>
                      <a:pt x="13" y="25"/>
                    </a:lnTo>
                    <a:cubicBezTo>
                      <a:pt x="18" y="26"/>
                      <a:pt x="21" y="28"/>
                      <a:pt x="23" y="29"/>
                    </a:cubicBezTo>
                    <a:cubicBezTo>
                      <a:pt x="28" y="28"/>
                      <a:pt x="32" y="21"/>
                      <a:pt x="44" y="25"/>
                    </a:cubicBezTo>
                    <a:lnTo>
                      <a:pt x="40" y="25"/>
                    </a:lnTo>
                    <a:cubicBezTo>
                      <a:pt x="50" y="25"/>
                      <a:pt x="46" y="28"/>
                      <a:pt x="48" y="29"/>
                    </a:cubicBezTo>
                    <a:lnTo>
                      <a:pt x="46" y="29"/>
                    </a:lnTo>
                    <a:lnTo>
                      <a:pt x="54" y="32"/>
                    </a:lnTo>
                    <a:cubicBezTo>
                      <a:pt x="48" y="30"/>
                      <a:pt x="38" y="34"/>
                      <a:pt x="43" y="34"/>
                    </a:cubicBezTo>
                    <a:cubicBezTo>
                      <a:pt x="55" y="35"/>
                      <a:pt x="40" y="32"/>
                      <a:pt x="49" y="32"/>
                    </a:cubicBezTo>
                    <a:cubicBezTo>
                      <a:pt x="54" y="32"/>
                      <a:pt x="53" y="35"/>
                      <a:pt x="52" y="36"/>
                    </a:cubicBezTo>
                    <a:lnTo>
                      <a:pt x="62" y="36"/>
                    </a:lnTo>
                    <a:cubicBezTo>
                      <a:pt x="62" y="39"/>
                      <a:pt x="56" y="36"/>
                      <a:pt x="60" y="39"/>
                    </a:cubicBezTo>
                    <a:lnTo>
                      <a:pt x="72" y="37"/>
                    </a:lnTo>
                    <a:cubicBezTo>
                      <a:pt x="74" y="43"/>
                      <a:pt x="86" y="35"/>
                      <a:pt x="91" y="40"/>
                    </a:cubicBezTo>
                    <a:cubicBezTo>
                      <a:pt x="82" y="41"/>
                      <a:pt x="92" y="42"/>
                      <a:pt x="91" y="44"/>
                    </a:cubicBezTo>
                    <a:lnTo>
                      <a:pt x="112" y="45"/>
                    </a:lnTo>
                    <a:cubicBezTo>
                      <a:pt x="115" y="46"/>
                      <a:pt x="107" y="46"/>
                      <a:pt x="110" y="46"/>
                    </a:cubicBezTo>
                    <a:cubicBezTo>
                      <a:pt x="114" y="48"/>
                      <a:pt x="117" y="45"/>
                      <a:pt x="119" y="45"/>
                    </a:cubicBezTo>
                    <a:cubicBezTo>
                      <a:pt x="121" y="47"/>
                      <a:pt x="135" y="46"/>
                      <a:pt x="135" y="50"/>
                    </a:cubicBezTo>
                    <a:cubicBezTo>
                      <a:pt x="149" y="53"/>
                      <a:pt x="141" y="45"/>
                      <a:pt x="155" y="48"/>
                    </a:cubicBezTo>
                    <a:cubicBezTo>
                      <a:pt x="157" y="51"/>
                      <a:pt x="144" y="48"/>
                      <a:pt x="150" y="51"/>
                    </a:cubicBezTo>
                    <a:lnTo>
                      <a:pt x="164" y="51"/>
                    </a:lnTo>
                    <a:cubicBezTo>
                      <a:pt x="163" y="52"/>
                      <a:pt x="161" y="55"/>
                      <a:pt x="156" y="54"/>
                    </a:cubicBezTo>
                    <a:cubicBezTo>
                      <a:pt x="195" y="59"/>
                      <a:pt x="215" y="72"/>
                      <a:pt x="251" y="71"/>
                    </a:cubicBezTo>
                    <a:cubicBezTo>
                      <a:pt x="256" y="74"/>
                      <a:pt x="247" y="72"/>
                      <a:pt x="244" y="74"/>
                    </a:cubicBezTo>
                    <a:cubicBezTo>
                      <a:pt x="270" y="72"/>
                      <a:pt x="280" y="82"/>
                      <a:pt x="302" y="83"/>
                    </a:cubicBezTo>
                    <a:lnTo>
                      <a:pt x="302" y="81"/>
                    </a:lnTo>
                    <a:cubicBezTo>
                      <a:pt x="332" y="89"/>
                      <a:pt x="369" y="87"/>
                      <a:pt x="404" y="91"/>
                    </a:cubicBezTo>
                    <a:lnTo>
                      <a:pt x="400" y="90"/>
                    </a:lnTo>
                    <a:cubicBezTo>
                      <a:pt x="405" y="88"/>
                      <a:pt x="412" y="88"/>
                      <a:pt x="418" y="87"/>
                    </a:cubicBezTo>
                    <a:cubicBezTo>
                      <a:pt x="419" y="88"/>
                      <a:pt x="414" y="92"/>
                      <a:pt x="424" y="91"/>
                    </a:cubicBezTo>
                    <a:cubicBezTo>
                      <a:pt x="422" y="90"/>
                      <a:pt x="418" y="89"/>
                      <a:pt x="419" y="88"/>
                    </a:cubicBezTo>
                    <a:cubicBezTo>
                      <a:pt x="449" y="96"/>
                      <a:pt x="511" y="97"/>
                      <a:pt x="560" y="102"/>
                    </a:cubicBezTo>
                    <a:cubicBezTo>
                      <a:pt x="626" y="103"/>
                      <a:pt x="698" y="110"/>
                      <a:pt x="763" y="111"/>
                    </a:cubicBezTo>
                    <a:cubicBezTo>
                      <a:pt x="753" y="110"/>
                      <a:pt x="757" y="105"/>
                      <a:pt x="764" y="106"/>
                    </a:cubicBezTo>
                    <a:cubicBezTo>
                      <a:pt x="784" y="117"/>
                      <a:pt x="800" y="106"/>
                      <a:pt x="820" y="113"/>
                    </a:cubicBezTo>
                    <a:cubicBezTo>
                      <a:pt x="858" y="112"/>
                      <a:pt x="892" y="121"/>
                      <a:pt x="927" y="115"/>
                    </a:cubicBezTo>
                    <a:lnTo>
                      <a:pt x="928" y="118"/>
                    </a:lnTo>
                    <a:cubicBezTo>
                      <a:pt x="933" y="119"/>
                      <a:pt x="934" y="117"/>
                      <a:pt x="940" y="117"/>
                    </a:cubicBezTo>
                    <a:lnTo>
                      <a:pt x="940" y="118"/>
                    </a:lnTo>
                    <a:cubicBezTo>
                      <a:pt x="953" y="119"/>
                      <a:pt x="969" y="117"/>
                      <a:pt x="976" y="119"/>
                    </a:cubicBezTo>
                    <a:lnTo>
                      <a:pt x="977" y="116"/>
                    </a:lnTo>
                    <a:cubicBezTo>
                      <a:pt x="984" y="116"/>
                      <a:pt x="981" y="118"/>
                      <a:pt x="989" y="117"/>
                    </a:cubicBezTo>
                    <a:lnTo>
                      <a:pt x="988" y="118"/>
                    </a:lnTo>
                    <a:lnTo>
                      <a:pt x="998" y="116"/>
                    </a:lnTo>
                    <a:cubicBezTo>
                      <a:pt x="997" y="121"/>
                      <a:pt x="1019" y="117"/>
                      <a:pt x="1025" y="119"/>
                    </a:cubicBezTo>
                    <a:cubicBezTo>
                      <a:pt x="1036" y="119"/>
                      <a:pt x="1055" y="117"/>
                      <a:pt x="1070" y="119"/>
                    </a:cubicBezTo>
                    <a:cubicBezTo>
                      <a:pt x="1072" y="122"/>
                      <a:pt x="1091" y="122"/>
                      <a:pt x="1103" y="124"/>
                    </a:cubicBezTo>
                    <a:cubicBezTo>
                      <a:pt x="1126" y="124"/>
                      <a:pt x="1159" y="124"/>
                      <a:pt x="1188" y="126"/>
                    </a:cubicBezTo>
                    <a:lnTo>
                      <a:pt x="1188" y="123"/>
                    </a:lnTo>
                    <a:lnTo>
                      <a:pt x="1196" y="123"/>
                    </a:lnTo>
                    <a:cubicBezTo>
                      <a:pt x="1196" y="124"/>
                      <a:pt x="1197" y="124"/>
                      <a:pt x="1195" y="124"/>
                    </a:cubicBezTo>
                    <a:cubicBezTo>
                      <a:pt x="1201" y="128"/>
                      <a:pt x="1213" y="124"/>
                      <a:pt x="1219" y="126"/>
                    </a:cubicBezTo>
                    <a:cubicBezTo>
                      <a:pt x="1216" y="123"/>
                      <a:pt x="1214" y="126"/>
                      <a:pt x="1210" y="125"/>
                    </a:cubicBezTo>
                    <a:cubicBezTo>
                      <a:pt x="1203" y="124"/>
                      <a:pt x="1209" y="120"/>
                      <a:pt x="1218" y="122"/>
                    </a:cubicBezTo>
                    <a:lnTo>
                      <a:pt x="1218" y="123"/>
                    </a:lnTo>
                    <a:lnTo>
                      <a:pt x="1224" y="122"/>
                    </a:lnTo>
                    <a:cubicBezTo>
                      <a:pt x="1224" y="124"/>
                      <a:pt x="1229" y="126"/>
                      <a:pt x="1230" y="128"/>
                    </a:cubicBezTo>
                    <a:cubicBezTo>
                      <a:pt x="1255" y="129"/>
                      <a:pt x="1273" y="125"/>
                      <a:pt x="1299" y="127"/>
                    </a:cubicBezTo>
                    <a:cubicBezTo>
                      <a:pt x="1296" y="130"/>
                      <a:pt x="1317" y="127"/>
                      <a:pt x="1312" y="132"/>
                    </a:cubicBezTo>
                    <a:cubicBezTo>
                      <a:pt x="1328" y="130"/>
                      <a:pt x="1310" y="127"/>
                      <a:pt x="1317" y="124"/>
                    </a:cubicBezTo>
                    <a:cubicBezTo>
                      <a:pt x="1321" y="124"/>
                      <a:pt x="1326" y="123"/>
                      <a:pt x="1327" y="125"/>
                    </a:cubicBezTo>
                    <a:cubicBezTo>
                      <a:pt x="1324" y="126"/>
                      <a:pt x="1330" y="128"/>
                      <a:pt x="1326" y="128"/>
                    </a:cubicBezTo>
                    <a:lnTo>
                      <a:pt x="1337" y="128"/>
                    </a:lnTo>
                    <a:cubicBezTo>
                      <a:pt x="1338" y="129"/>
                      <a:pt x="1336" y="130"/>
                      <a:pt x="1334" y="130"/>
                    </a:cubicBezTo>
                    <a:cubicBezTo>
                      <a:pt x="1356" y="128"/>
                      <a:pt x="1372" y="135"/>
                      <a:pt x="1391" y="132"/>
                    </a:cubicBezTo>
                    <a:cubicBezTo>
                      <a:pt x="1393" y="130"/>
                      <a:pt x="1384" y="131"/>
                      <a:pt x="1385" y="129"/>
                    </a:cubicBezTo>
                    <a:cubicBezTo>
                      <a:pt x="1405" y="126"/>
                      <a:pt x="1402" y="134"/>
                      <a:pt x="1420" y="131"/>
                    </a:cubicBezTo>
                    <a:lnTo>
                      <a:pt x="1416" y="134"/>
                    </a:lnTo>
                    <a:cubicBezTo>
                      <a:pt x="1422" y="132"/>
                      <a:pt x="1425" y="130"/>
                      <a:pt x="1434" y="133"/>
                    </a:cubicBezTo>
                    <a:cubicBezTo>
                      <a:pt x="1436" y="136"/>
                      <a:pt x="1426" y="135"/>
                      <a:pt x="1421" y="136"/>
                    </a:cubicBezTo>
                    <a:cubicBezTo>
                      <a:pt x="1428" y="136"/>
                      <a:pt x="1445" y="136"/>
                      <a:pt x="1440" y="133"/>
                    </a:cubicBezTo>
                    <a:cubicBezTo>
                      <a:pt x="1447" y="132"/>
                      <a:pt x="1450" y="135"/>
                      <a:pt x="1454" y="136"/>
                    </a:cubicBezTo>
                    <a:cubicBezTo>
                      <a:pt x="1455" y="136"/>
                      <a:pt x="1447" y="134"/>
                      <a:pt x="1452" y="133"/>
                    </a:cubicBezTo>
                    <a:cubicBezTo>
                      <a:pt x="1462" y="135"/>
                      <a:pt x="1479" y="135"/>
                      <a:pt x="1492" y="136"/>
                    </a:cubicBezTo>
                    <a:cubicBezTo>
                      <a:pt x="1492" y="137"/>
                      <a:pt x="1493" y="138"/>
                      <a:pt x="1492" y="138"/>
                    </a:cubicBezTo>
                    <a:cubicBezTo>
                      <a:pt x="1502" y="135"/>
                      <a:pt x="1501" y="142"/>
                      <a:pt x="1515" y="14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6" name="Freeform 2520"/>
              <p:cNvSpPr>
                <a:spLocks/>
              </p:cNvSpPr>
              <p:nvPr/>
            </p:nvSpPr>
            <p:spPr bwMode="auto">
              <a:xfrm>
                <a:off x="4244976" y="4567238"/>
                <a:ext cx="3175" cy="1588"/>
              </a:xfrm>
              <a:custGeom>
                <a:avLst/>
                <a:gdLst>
                  <a:gd name="T0" fmla="*/ 8 w 8"/>
                  <a:gd name="T1" fmla="*/ 1 h 3"/>
                  <a:gd name="T2" fmla="*/ 8 w 8"/>
                  <a:gd name="T3" fmla="*/ 1 h 3"/>
                  <a:gd name="T4" fmla="*/ 3 w 8"/>
                  <a:gd name="T5" fmla="*/ 0 h 3"/>
                  <a:gd name="T6" fmla="*/ 0 w 8"/>
                  <a:gd name="T7" fmla="*/ 3 h 3"/>
                  <a:gd name="T8" fmla="*/ 8 w 8"/>
                  <a:gd name="T9" fmla="*/ 1 h 3"/>
                </a:gdLst>
                <a:ahLst/>
                <a:cxnLst>
                  <a:cxn ang="0">
                    <a:pos x="T0" y="T1"/>
                  </a:cxn>
                  <a:cxn ang="0">
                    <a:pos x="T2" y="T3"/>
                  </a:cxn>
                  <a:cxn ang="0">
                    <a:pos x="T4" y="T5"/>
                  </a:cxn>
                  <a:cxn ang="0">
                    <a:pos x="T6" y="T7"/>
                  </a:cxn>
                  <a:cxn ang="0">
                    <a:pos x="T8" y="T9"/>
                  </a:cxn>
                </a:cxnLst>
                <a:rect l="0" t="0" r="r" b="b"/>
                <a:pathLst>
                  <a:path w="8" h="3">
                    <a:moveTo>
                      <a:pt x="8" y="1"/>
                    </a:moveTo>
                    <a:lnTo>
                      <a:pt x="8" y="1"/>
                    </a:lnTo>
                    <a:lnTo>
                      <a:pt x="3" y="0"/>
                    </a:lnTo>
                    <a:cubicBezTo>
                      <a:pt x="3" y="1"/>
                      <a:pt x="2" y="2"/>
                      <a:pt x="0" y="3"/>
                    </a:cubicBezTo>
                    <a:lnTo>
                      <a:pt x="8" y="1"/>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7" name="Freeform 2521"/>
              <p:cNvSpPr>
                <a:spLocks/>
              </p:cNvSpPr>
              <p:nvPr/>
            </p:nvSpPr>
            <p:spPr bwMode="auto">
              <a:xfrm>
                <a:off x="4168776" y="4568826"/>
                <a:ext cx="0"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1" y="0"/>
                      <a:pt x="1" y="0"/>
                      <a:pt x="0" y="1"/>
                    </a:cubicBezTo>
                    <a:cubicBezTo>
                      <a:pt x="1" y="0"/>
                      <a:pt x="2" y="0"/>
                      <a:pt x="2"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8" name="Freeform 2522"/>
              <p:cNvSpPr>
                <a:spLocks/>
              </p:cNvSpPr>
              <p:nvPr/>
            </p:nvSpPr>
            <p:spPr bwMode="auto">
              <a:xfrm>
                <a:off x="4149726" y="4568826"/>
                <a:ext cx="1588" cy="1588"/>
              </a:xfrm>
              <a:custGeom>
                <a:avLst/>
                <a:gdLst>
                  <a:gd name="T0" fmla="*/ 2 w 6"/>
                  <a:gd name="T1" fmla="*/ 2 h 2"/>
                  <a:gd name="T2" fmla="*/ 2 w 6"/>
                  <a:gd name="T3" fmla="*/ 2 h 2"/>
                  <a:gd name="T4" fmla="*/ 0 w 6"/>
                  <a:gd name="T5" fmla="*/ 0 h 2"/>
                  <a:gd name="T6" fmla="*/ 2 w 6"/>
                  <a:gd name="T7" fmla="*/ 2 h 2"/>
                </a:gdLst>
                <a:ahLst/>
                <a:cxnLst>
                  <a:cxn ang="0">
                    <a:pos x="T0" y="T1"/>
                  </a:cxn>
                  <a:cxn ang="0">
                    <a:pos x="T2" y="T3"/>
                  </a:cxn>
                  <a:cxn ang="0">
                    <a:pos x="T4" y="T5"/>
                  </a:cxn>
                  <a:cxn ang="0">
                    <a:pos x="T6" y="T7"/>
                  </a:cxn>
                </a:cxnLst>
                <a:rect l="0" t="0" r="r" b="b"/>
                <a:pathLst>
                  <a:path w="6" h="2">
                    <a:moveTo>
                      <a:pt x="2" y="2"/>
                    </a:moveTo>
                    <a:lnTo>
                      <a:pt x="2" y="2"/>
                    </a:lnTo>
                    <a:cubicBezTo>
                      <a:pt x="6" y="1"/>
                      <a:pt x="3" y="0"/>
                      <a:pt x="0" y="0"/>
                    </a:cubicBezTo>
                    <a:cubicBezTo>
                      <a:pt x="0" y="0"/>
                      <a:pt x="0" y="1"/>
                      <a:pt x="2"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9" name="Freeform 2523"/>
              <p:cNvSpPr>
                <a:spLocks/>
              </p:cNvSpPr>
              <p:nvPr/>
            </p:nvSpPr>
            <p:spPr bwMode="auto">
              <a:xfrm>
                <a:off x="4291013" y="4564063"/>
                <a:ext cx="1588" cy="0"/>
              </a:xfrm>
              <a:custGeom>
                <a:avLst/>
                <a:gdLst>
                  <a:gd name="T0" fmla="*/ 1 w 2"/>
                  <a:gd name="T1" fmla="*/ 0 h 1"/>
                  <a:gd name="T2" fmla="*/ 1 w 2"/>
                  <a:gd name="T3" fmla="*/ 0 h 1"/>
                  <a:gd name="T4" fmla="*/ 0 w 2"/>
                  <a:gd name="T5" fmla="*/ 1 h 1"/>
                  <a:gd name="T6" fmla="*/ 1 w 2"/>
                  <a:gd name="T7" fmla="*/ 0 h 1"/>
                </a:gdLst>
                <a:ahLst/>
                <a:cxnLst>
                  <a:cxn ang="0">
                    <a:pos x="T0" y="T1"/>
                  </a:cxn>
                  <a:cxn ang="0">
                    <a:pos x="T2" y="T3"/>
                  </a:cxn>
                  <a:cxn ang="0">
                    <a:pos x="T4" y="T5"/>
                  </a:cxn>
                  <a:cxn ang="0">
                    <a:pos x="T6" y="T7"/>
                  </a:cxn>
                </a:cxnLst>
                <a:rect l="0" t="0" r="r" b="b"/>
                <a:pathLst>
                  <a:path w="2" h="1">
                    <a:moveTo>
                      <a:pt x="1" y="0"/>
                    </a:moveTo>
                    <a:lnTo>
                      <a:pt x="1" y="0"/>
                    </a:lnTo>
                    <a:cubicBezTo>
                      <a:pt x="1" y="0"/>
                      <a:pt x="0" y="1"/>
                      <a:pt x="0" y="1"/>
                    </a:cubicBezTo>
                    <a:cubicBezTo>
                      <a:pt x="1" y="1"/>
                      <a:pt x="2" y="0"/>
                      <a:pt x="1"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0" name="Freeform 2524"/>
              <p:cNvSpPr>
                <a:spLocks/>
              </p:cNvSpPr>
              <p:nvPr/>
            </p:nvSpPr>
            <p:spPr bwMode="auto">
              <a:xfrm>
                <a:off x="4414838" y="4554538"/>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0" y="0"/>
                      <a:pt x="0" y="0"/>
                    </a:cubicBezTo>
                    <a:cubicBezTo>
                      <a:pt x="0" y="0"/>
                      <a:pt x="0" y="1"/>
                      <a:pt x="1"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1" name="Freeform 2525"/>
              <p:cNvSpPr>
                <a:spLocks/>
              </p:cNvSpPr>
              <p:nvPr/>
            </p:nvSpPr>
            <p:spPr bwMode="auto">
              <a:xfrm>
                <a:off x="4406901" y="4554538"/>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2" y="1"/>
                      <a:pt x="3" y="0"/>
                      <a:pt x="4"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2" name="Freeform 2526"/>
              <p:cNvSpPr>
                <a:spLocks/>
              </p:cNvSpPr>
              <p:nvPr/>
            </p:nvSpPr>
            <p:spPr bwMode="auto">
              <a:xfrm>
                <a:off x="4260851" y="4565651"/>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3" y="1"/>
                      <a:pt x="4" y="0"/>
                      <a:pt x="4"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3" name="Freeform 2527"/>
              <p:cNvSpPr>
                <a:spLocks/>
              </p:cNvSpPr>
              <p:nvPr/>
            </p:nvSpPr>
            <p:spPr bwMode="auto">
              <a:xfrm>
                <a:off x="4403726" y="4554538"/>
                <a:ext cx="1588" cy="0"/>
              </a:xfrm>
              <a:custGeom>
                <a:avLst/>
                <a:gdLst>
                  <a:gd name="T0" fmla="*/ 5 w 5"/>
                  <a:gd name="T1" fmla="*/ 5 w 5"/>
                  <a:gd name="T2" fmla="*/ 0 w 5"/>
                  <a:gd name="T3" fmla="*/ 0 w 5"/>
                  <a:gd name="T4" fmla="*/ 5 w 5"/>
                </a:gdLst>
                <a:ahLst/>
                <a:cxnLst>
                  <a:cxn ang="0">
                    <a:pos x="T0" y="0"/>
                  </a:cxn>
                  <a:cxn ang="0">
                    <a:pos x="T1" y="0"/>
                  </a:cxn>
                  <a:cxn ang="0">
                    <a:pos x="T2" y="0"/>
                  </a:cxn>
                  <a:cxn ang="0">
                    <a:pos x="T3" y="0"/>
                  </a:cxn>
                  <a:cxn ang="0">
                    <a:pos x="T4" y="0"/>
                  </a:cxn>
                </a:cxnLst>
                <a:rect l="0" t="0" r="r" b="b"/>
                <a:pathLst>
                  <a:path w="5">
                    <a:moveTo>
                      <a:pt x="5" y="0"/>
                    </a:moveTo>
                    <a:lnTo>
                      <a:pt x="5" y="0"/>
                    </a:lnTo>
                    <a:lnTo>
                      <a:pt x="0" y="0"/>
                    </a:lnTo>
                    <a:cubicBezTo>
                      <a:pt x="0" y="0"/>
                      <a:pt x="0" y="0"/>
                      <a:pt x="0" y="0"/>
                    </a:cubicBezTo>
                    <a:lnTo>
                      <a:pt x="5"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4" name="Freeform 2528"/>
              <p:cNvSpPr>
                <a:spLocks/>
              </p:cNvSpPr>
              <p:nvPr/>
            </p:nvSpPr>
            <p:spPr bwMode="auto">
              <a:xfrm>
                <a:off x="4414838" y="4554538"/>
                <a:ext cx="3175" cy="1588"/>
              </a:xfrm>
              <a:custGeom>
                <a:avLst/>
                <a:gdLst>
                  <a:gd name="T0" fmla="*/ 7 w 7"/>
                  <a:gd name="T1" fmla="*/ 0 h 1"/>
                  <a:gd name="T2" fmla="*/ 7 w 7"/>
                  <a:gd name="T3" fmla="*/ 0 h 1"/>
                  <a:gd name="T4" fmla="*/ 0 w 7"/>
                  <a:gd name="T5" fmla="*/ 1 h 1"/>
                  <a:gd name="T6" fmla="*/ 7 w 7"/>
                  <a:gd name="T7" fmla="*/ 0 h 1"/>
                </a:gdLst>
                <a:ahLst/>
                <a:cxnLst>
                  <a:cxn ang="0">
                    <a:pos x="T0" y="T1"/>
                  </a:cxn>
                  <a:cxn ang="0">
                    <a:pos x="T2" y="T3"/>
                  </a:cxn>
                  <a:cxn ang="0">
                    <a:pos x="T4" y="T5"/>
                  </a:cxn>
                  <a:cxn ang="0">
                    <a:pos x="T6" y="T7"/>
                  </a:cxn>
                </a:cxnLst>
                <a:rect l="0" t="0" r="r" b="b"/>
                <a:pathLst>
                  <a:path w="7" h="1">
                    <a:moveTo>
                      <a:pt x="7" y="0"/>
                    </a:moveTo>
                    <a:lnTo>
                      <a:pt x="7" y="0"/>
                    </a:lnTo>
                    <a:cubicBezTo>
                      <a:pt x="5" y="0"/>
                      <a:pt x="2" y="1"/>
                      <a:pt x="0" y="1"/>
                    </a:cubicBezTo>
                    <a:cubicBezTo>
                      <a:pt x="3" y="1"/>
                      <a:pt x="5" y="1"/>
                      <a:pt x="7"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5" name="Freeform 2529"/>
              <p:cNvSpPr>
                <a:spLocks/>
              </p:cNvSpPr>
              <p:nvPr/>
            </p:nvSpPr>
            <p:spPr bwMode="auto">
              <a:xfrm>
                <a:off x="4335463" y="4559301"/>
                <a:ext cx="1588" cy="0"/>
              </a:xfrm>
              <a:custGeom>
                <a:avLst/>
                <a:gdLst>
                  <a:gd name="T0" fmla="*/ 5 w 5"/>
                  <a:gd name="T1" fmla="*/ 0 h 1"/>
                  <a:gd name="T2" fmla="*/ 5 w 5"/>
                  <a:gd name="T3" fmla="*/ 0 h 1"/>
                  <a:gd name="T4" fmla="*/ 4 w 5"/>
                  <a:gd name="T5" fmla="*/ 0 h 1"/>
                  <a:gd name="T6" fmla="*/ 5 w 5"/>
                  <a:gd name="T7" fmla="*/ 0 h 1"/>
                </a:gdLst>
                <a:ahLst/>
                <a:cxnLst>
                  <a:cxn ang="0">
                    <a:pos x="T0" y="T1"/>
                  </a:cxn>
                  <a:cxn ang="0">
                    <a:pos x="T2" y="T3"/>
                  </a:cxn>
                  <a:cxn ang="0">
                    <a:pos x="T4" y="T5"/>
                  </a:cxn>
                  <a:cxn ang="0">
                    <a:pos x="T6" y="T7"/>
                  </a:cxn>
                </a:cxnLst>
                <a:rect l="0" t="0" r="r" b="b"/>
                <a:pathLst>
                  <a:path w="5" h="1">
                    <a:moveTo>
                      <a:pt x="5" y="0"/>
                    </a:moveTo>
                    <a:lnTo>
                      <a:pt x="5" y="0"/>
                    </a:lnTo>
                    <a:cubicBezTo>
                      <a:pt x="5" y="0"/>
                      <a:pt x="5" y="0"/>
                      <a:pt x="4" y="0"/>
                    </a:cubicBezTo>
                    <a:cubicBezTo>
                      <a:pt x="0" y="1"/>
                      <a:pt x="3" y="1"/>
                      <a:pt x="5"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6" name="Freeform 2530"/>
              <p:cNvSpPr>
                <a:spLocks/>
              </p:cNvSpPr>
              <p:nvPr/>
            </p:nvSpPr>
            <p:spPr bwMode="auto">
              <a:xfrm>
                <a:off x="4397376" y="4557713"/>
                <a:ext cx="0" cy="0"/>
              </a:xfrm>
              <a:custGeom>
                <a:avLst/>
                <a:gdLst>
                  <a:gd name="T0" fmla="*/ 2 w 2"/>
                  <a:gd name="T1" fmla="*/ 0 h 1"/>
                  <a:gd name="T2" fmla="*/ 2 w 2"/>
                  <a:gd name="T3" fmla="*/ 0 h 1"/>
                  <a:gd name="T4" fmla="*/ 1 w 2"/>
                  <a:gd name="T5" fmla="*/ 0 h 1"/>
                  <a:gd name="T6" fmla="*/ 0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lnTo>
                      <a:pt x="2" y="0"/>
                    </a:lnTo>
                    <a:lnTo>
                      <a:pt x="1" y="0"/>
                    </a:lnTo>
                    <a:lnTo>
                      <a:pt x="0" y="1"/>
                    </a:lnTo>
                    <a:lnTo>
                      <a:pt x="2"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7" name="Freeform 2531"/>
              <p:cNvSpPr>
                <a:spLocks/>
              </p:cNvSpPr>
              <p:nvPr/>
            </p:nvSpPr>
            <p:spPr bwMode="auto">
              <a:xfrm>
                <a:off x="4424363" y="4554538"/>
                <a:ext cx="0" cy="0"/>
              </a:xfrm>
              <a:custGeom>
                <a:avLst/>
                <a:gdLst>
                  <a:gd name="T0" fmla="*/ 3 w 3"/>
                  <a:gd name="T1" fmla="*/ 0 h 1"/>
                  <a:gd name="T2" fmla="*/ 3 w 3"/>
                  <a:gd name="T3" fmla="*/ 0 h 1"/>
                  <a:gd name="T4" fmla="*/ 0 w 3"/>
                  <a:gd name="T5" fmla="*/ 1 h 1"/>
                  <a:gd name="T6" fmla="*/ 3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3" y="0"/>
                    </a:lnTo>
                    <a:cubicBezTo>
                      <a:pt x="2" y="0"/>
                      <a:pt x="1" y="1"/>
                      <a:pt x="0" y="1"/>
                    </a:cubicBezTo>
                    <a:cubicBezTo>
                      <a:pt x="1" y="1"/>
                      <a:pt x="2" y="1"/>
                      <a:pt x="3" y="1"/>
                    </a:cubicBezTo>
                    <a:cubicBezTo>
                      <a:pt x="3" y="1"/>
                      <a:pt x="3" y="0"/>
                      <a:pt x="3"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8" name="Freeform 2532"/>
              <p:cNvSpPr>
                <a:spLocks/>
              </p:cNvSpPr>
              <p:nvPr/>
            </p:nvSpPr>
            <p:spPr bwMode="auto">
              <a:xfrm>
                <a:off x="4362451" y="4557713"/>
                <a:ext cx="1588" cy="1588"/>
              </a:xfrm>
              <a:custGeom>
                <a:avLst/>
                <a:gdLst>
                  <a:gd name="T0" fmla="*/ 1 w 3"/>
                  <a:gd name="T1" fmla="*/ 3 h 3"/>
                  <a:gd name="T2" fmla="*/ 1 w 3"/>
                  <a:gd name="T3" fmla="*/ 3 h 3"/>
                  <a:gd name="T4" fmla="*/ 3 w 3"/>
                  <a:gd name="T5" fmla="*/ 0 h 3"/>
                  <a:gd name="T6" fmla="*/ 1 w 3"/>
                  <a:gd name="T7" fmla="*/ 3 h 3"/>
                </a:gdLst>
                <a:ahLst/>
                <a:cxnLst>
                  <a:cxn ang="0">
                    <a:pos x="T0" y="T1"/>
                  </a:cxn>
                  <a:cxn ang="0">
                    <a:pos x="T2" y="T3"/>
                  </a:cxn>
                  <a:cxn ang="0">
                    <a:pos x="T4" y="T5"/>
                  </a:cxn>
                  <a:cxn ang="0">
                    <a:pos x="T6" y="T7"/>
                  </a:cxn>
                </a:cxnLst>
                <a:rect l="0" t="0" r="r" b="b"/>
                <a:pathLst>
                  <a:path w="3" h="3">
                    <a:moveTo>
                      <a:pt x="1" y="3"/>
                    </a:moveTo>
                    <a:lnTo>
                      <a:pt x="1" y="3"/>
                    </a:lnTo>
                    <a:cubicBezTo>
                      <a:pt x="3" y="2"/>
                      <a:pt x="3" y="1"/>
                      <a:pt x="3" y="0"/>
                    </a:cubicBezTo>
                    <a:cubicBezTo>
                      <a:pt x="2" y="1"/>
                      <a:pt x="0" y="1"/>
                      <a:pt x="1" y="3"/>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9" name="Freeform 2533"/>
              <p:cNvSpPr>
                <a:spLocks/>
              </p:cNvSpPr>
              <p:nvPr/>
            </p:nvSpPr>
            <p:spPr bwMode="auto">
              <a:xfrm>
                <a:off x="3551238" y="4464051"/>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cubicBezTo>
                      <a:pt x="1" y="0"/>
                      <a:pt x="1" y="0"/>
                      <a:pt x="2" y="0"/>
                    </a:cubicBezTo>
                    <a:cubicBezTo>
                      <a:pt x="1"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0" name="Freeform 2534"/>
              <p:cNvSpPr>
                <a:spLocks/>
              </p:cNvSpPr>
              <p:nvPr/>
            </p:nvSpPr>
            <p:spPr bwMode="auto">
              <a:xfrm>
                <a:off x="3554413" y="4418013"/>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cubicBezTo>
                      <a:pt x="0" y="0"/>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1" name="Freeform 2535"/>
              <p:cNvSpPr>
                <a:spLocks/>
              </p:cNvSpPr>
              <p:nvPr/>
            </p:nvSpPr>
            <p:spPr bwMode="auto">
              <a:xfrm>
                <a:off x="3551238" y="4492626"/>
                <a:ext cx="0" cy="1588"/>
              </a:xfrm>
              <a:custGeom>
                <a:avLst/>
                <a:gdLst>
                  <a:gd name="T0" fmla="*/ 1 w 1"/>
                  <a:gd name="T1" fmla="*/ 1 h 7"/>
                  <a:gd name="T2" fmla="*/ 1 w 1"/>
                  <a:gd name="T3" fmla="*/ 1 h 7"/>
                  <a:gd name="T4" fmla="*/ 0 w 1"/>
                  <a:gd name="T5" fmla="*/ 0 h 7"/>
                  <a:gd name="T6" fmla="*/ 1 w 1"/>
                  <a:gd name="T7" fmla="*/ 7 h 7"/>
                  <a:gd name="T8" fmla="*/ 1 w 1"/>
                  <a:gd name="T9" fmla="*/ 1 h 7"/>
                </a:gdLst>
                <a:ahLst/>
                <a:cxnLst>
                  <a:cxn ang="0">
                    <a:pos x="T0" y="T1"/>
                  </a:cxn>
                  <a:cxn ang="0">
                    <a:pos x="T2" y="T3"/>
                  </a:cxn>
                  <a:cxn ang="0">
                    <a:pos x="T4" y="T5"/>
                  </a:cxn>
                  <a:cxn ang="0">
                    <a:pos x="T6" y="T7"/>
                  </a:cxn>
                  <a:cxn ang="0">
                    <a:pos x="T8" y="T9"/>
                  </a:cxn>
                </a:cxnLst>
                <a:rect l="0" t="0" r="r" b="b"/>
                <a:pathLst>
                  <a:path w="1" h="7">
                    <a:moveTo>
                      <a:pt x="1" y="1"/>
                    </a:moveTo>
                    <a:lnTo>
                      <a:pt x="1" y="1"/>
                    </a:lnTo>
                    <a:cubicBezTo>
                      <a:pt x="1" y="1"/>
                      <a:pt x="1" y="1"/>
                      <a:pt x="0" y="0"/>
                    </a:cubicBezTo>
                    <a:cubicBezTo>
                      <a:pt x="1" y="2"/>
                      <a:pt x="1" y="4"/>
                      <a:pt x="1" y="7"/>
                    </a:cubicBezTo>
                    <a:lnTo>
                      <a:pt x="1" y="1"/>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2" name="Freeform 2536"/>
              <p:cNvSpPr>
                <a:spLocks/>
              </p:cNvSpPr>
              <p:nvPr/>
            </p:nvSpPr>
            <p:spPr bwMode="auto">
              <a:xfrm>
                <a:off x="3554413" y="4316413"/>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3" name="Freeform 2537"/>
              <p:cNvSpPr>
                <a:spLocks/>
              </p:cNvSpPr>
              <p:nvPr/>
            </p:nvSpPr>
            <p:spPr bwMode="auto">
              <a:xfrm>
                <a:off x="3554413" y="4375151"/>
                <a:ext cx="0" cy="1588"/>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0" y="2"/>
                      <a:pt x="0" y="1"/>
                      <a:pt x="0" y="0"/>
                    </a:cubicBezTo>
                    <a:cubicBezTo>
                      <a:pt x="0" y="1"/>
                      <a:pt x="0" y="2"/>
                      <a:pt x="1"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4" name="Freeform 2538"/>
              <p:cNvSpPr>
                <a:spLocks/>
              </p:cNvSpPr>
              <p:nvPr/>
            </p:nvSpPr>
            <p:spPr bwMode="auto">
              <a:xfrm>
                <a:off x="3543301" y="4506913"/>
                <a:ext cx="0" cy="1588"/>
              </a:xfrm>
              <a:custGeom>
                <a:avLst/>
                <a:gdLst>
                  <a:gd name="T0" fmla="*/ 0 w 2"/>
                  <a:gd name="T1" fmla="*/ 2 h 2"/>
                  <a:gd name="T2" fmla="*/ 0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0" y="2"/>
                    </a:lnTo>
                    <a:lnTo>
                      <a:pt x="2" y="0"/>
                    </a:lnTo>
                    <a:cubicBezTo>
                      <a:pt x="1" y="0"/>
                      <a:pt x="0" y="1"/>
                      <a:pt x="0"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5" name="Freeform 2539"/>
              <p:cNvSpPr>
                <a:spLocks/>
              </p:cNvSpPr>
              <p:nvPr/>
            </p:nvSpPr>
            <p:spPr bwMode="auto">
              <a:xfrm>
                <a:off x="3548063" y="4535488"/>
                <a:ext cx="0" cy="1588"/>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0"/>
                    </a:cubicBezTo>
                    <a:cubicBezTo>
                      <a:pt x="0" y="0"/>
                      <a:pt x="0"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6" name="Freeform 2540"/>
              <p:cNvSpPr>
                <a:spLocks/>
              </p:cNvSpPr>
              <p:nvPr/>
            </p:nvSpPr>
            <p:spPr bwMode="auto">
              <a:xfrm>
                <a:off x="3549651" y="452437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2"/>
                      <a:pt x="0" y="1"/>
                      <a:pt x="0" y="0"/>
                    </a:cubicBezTo>
                    <a:cubicBezTo>
                      <a:pt x="0" y="1"/>
                      <a:pt x="0" y="2"/>
                      <a:pt x="1"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7" name="Freeform 2541"/>
              <p:cNvSpPr>
                <a:spLocks/>
              </p:cNvSpPr>
              <p:nvPr/>
            </p:nvSpPr>
            <p:spPr bwMode="auto">
              <a:xfrm>
                <a:off x="3549651" y="4524376"/>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1" y="0"/>
                      <a:pt x="1"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8" name="Freeform 2542"/>
              <p:cNvSpPr>
                <a:spLocks/>
              </p:cNvSpPr>
              <p:nvPr/>
            </p:nvSpPr>
            <p:spPr bwMode="auto">
              <a:xfrm>
                <a:off x="3557588" y="3951288"/>
                <a:ext cx="1588" cy="1588"/>
              </a:xfrm>
              <a:custGeom>
                <a:avLst/>
                <a:gdLst>
                  <a:gd name="T0" fmla="*/ 2 w 2"/>
                  <a:gd name="T1" fmla="*/ 7 h 7"/>
                  <a:gd name="T2" fmla="*/ 2 w 2"/>
                  <a:gd name="T3" fmla="*/ 7 h 7"/>
                  <a:gd name="T4" fmla="*/ 0 w 2"/>
                  <a:gd name="T5" fmla="*/ 0 h 7"/>
                  <a:gd name="T6" fmla="*/ 2 w 2"/>
                  <a:gd name="T7" fmla="*/ 7 h 7"/>
                </a:gdLst>
                <a:ahLst/>
                <a:cxnLst>
                  <a:cxn ang="0">
                    <a:pos x="T0" y="T1"/>
                  </a:cxn>
                  <a:cxn ang="0">
                    <a:pos x="T2" y="T3"/>
                  </a:cxn>
                  <a:cxn ang="0">
                    <a:pos x="T4" y="T5"/>
                  </a:cxn>
                  <a:cxn ang="0">
                    <a:pos x="T6" y="T7"/>
                  </a:cxn>
                </a:cxnLst>
                <a:rect l="0" t="0" r="r" b="b"/>
                <a:pathLst>
                  <a:path w="2" h="7">
                    <a:moveTo>
                      <a:pt x="2" y="7"/>
                    </a:moveTo>
                    <a:lnTo>
                      <a:pt x="2" y="7"/>
                    </a:lnTo>
                    <a:cubicBezTo>
                      <a:pt x="2" y="4"/>
                      <a:pt x="1" y="2"/>
                      <a:pt x="0" y="0"/>
                    </a:cubicBezTo>
                    <a:lnTo>
                      <a:pt x="2" y="7"/>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9" name="Freeform 2543"/>
              <p:cNvSpPr>
                <a:spLocks/>
              </p:cNvSpPr>
              <p:nvPr/>
            </p:nvSpPr>
            <p:spPr bwMode="auto">
              <a:xfrm>
                <a:off x="3549651" y="4225926"/>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0" y="0"/>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0" name="Freeform 2544"/>
              <p:cNvSpPr>
                <a:spLocks/>
              </p:cNvSpPr>
              <p:nvPr/>
            </p:nvSpPr>
            <p:spPr bwMode="auto">
              <a:xfrm>
                <a:off x="3552826" y="3951288"/>
                <a:ext cx="0" cy="0"/>
              </a:xfrm>
              <a:custGeom>
                <a:avLst/>
                <a:gdLst>
                  <a:gd name="T0" fmla="*/ 0 w 1"/>
                  <a:gd name="T1" fmla="*/ 2 h 2"/>
                  <a:gd name="T2" fmla="*/ 0 w 1"/>
                  <a:gd name="T3" fmla="*/ 2 h 2"/>
                  <a:gd name="T4" fmla="*/ 1 w 1"/>
                  <a:gd name="T5" fmla="*/ 0 h 2"/>
                  <a:gd name="T6" fmla="*/ 0 w 1"/>
                  <a:gd name="T7" fmla="*/ 2 h 2"/>
                </a:gdLst>
                <a:ahLst/>
                <a:cxnLst>
                  <a:cxn ang="0">
                    <a:pos x="T0" y="T1"/>
                  </a:cxn>
                  <a:cxn ang="0">
                    <a:pos x="T2" y="T3"/>
                  </a:cxn>
                  <a:cxn ang="0">
                    <a:pos x="T4" y="T5"/>
                  </a:cxn>
                  <a:cxn ang="0">
                    <a:pos x="T6" y="T7"/>
                  </a:cxn>
                </a:cxnLst>
                <a:rect l="0" t="0" r="r" b="b"/>
                <a:pathLst>
                  <a:path w="1" h="2">
                    <a:moveTo>
                      <a:pt x="0" y="2"/>
                    </a:moveTo>
                    <a:lnTo>
                      <a:pt x="0" y="2"/>
                    </a:lnTo>
                    <a:lnTo>
                      <a:pt x="1" y="0"/>
                    </a:lnTo>
                    <a:cubicBezTo>
                      <a:pt x="1" y="1"/>
                      <a:pt x="0" y="2"/>
                      <a:pt x="0"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1" name="Freeform 2545"/>
              <p:cNvSpPr>
                <a:spLocks/>
              </p:cNvSpPr>
              <p:nvPr/>
            </p:nvSpPr>
            <p:spPr bwMode="auto">
              <a:xfrm>
                <a:off x="3538538" y="4491038"/>
                <a:ext cx="1588" cy="1588"/>
              </a:xfrm>
              <a:custGeom>
                <a:avLst/>
                <a:gdLst>
                  <a:gd name="T0" fmla="*/ 3 w 3"/>
                  <a:gd name="T1" fmla="*/ 8 h 8"/>
                  <a:gd name="T2" fmla="*/ 3 w 3"/>
                  <a:gd name="T3" fmla="*/ 8 h 8"/>
                  <a:gd name="T4" fmla="*/ 1 w 3"/>
                  <a:gd name="T5" fmla="*/ 0 h 8"/>
                  <a:gd name="T6" fmla="*/ 3 w 3"/>
                  <a:gd name="T7" fmla="*/ 8 h 8"/>
                </a:gdLst>
                <a:ahLst/>
                <a:cxnLst>
                  <a:cxn ang="0">
                    <a:pos x="T0" y="T1"/>
                  </a:cxn>
                  <a:cxn ang="0">
                    <a:pos x="T2" y="T3"/>
                  </a:cxn>
                  <a:cxn ang="0">
                    <a:pos x="T4" y="T5"/>
                  </a:cxn>
                  <a:cxn ang="0">
                    <a:pos x="T6" y="T7"/>
                  </a:cxn>
                </a:cxnLst>
                <a:rect l="0" t="0" r="r" b="b"/>
                <a:pathLst>
                  <a:path w="3" h="8">
                    <a:moveTo>
                      <a:pt x="3" y="8"/>
                    </a:moveTo>
                    <a:lnTo>
                      <a:pt x="3" y="8"/>
                    </a:lnTo>
                    <a:cubicBezTo>
                      <a:pt x="1" y="6"/>
                      <a:pt x="3" y="0"/>
                      <a:pt x="1" y="0"/>
                    </a:cubicBezTo>
                    <a:cubicBezTo>
                      <a:pt x="2" y="3"/>
                      <a:pt x="0" y="7"/>
                      <a:pt x="3" y="8"/>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2" name="Freeform 2546"/>
              <p:cNvSpPr>
                <a:spLocks/>
              </p:cNvSpPr>
              <p:nvPr/>
            </p:nvSpPr>
            <p:spPr bwMode="auto">
              <a:xfrm>
                <a:off x="3524251" y="420687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lnTo>
                      <a:pt x="0" y="0"/>
                    </a:lnTo>
                    <a:cubicBezTo>
                      <a:pt x="0" y="1"/>
                      <a:pt x="0" y="1"/>
                      <a:pt x="1"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3" name="Freeform 2547"/>
              <p:cNvSpPr>
                <a:spLocks/>
              </p:cNvSpPr>
              <p:nvPr/>
            </p:nvSpPr>
            <p:spPr bwMode="auto">
              <a:xfrm>
                <a:off x="3552826" y="3951288"/>
                <a:ext cx="0" cy="1588"/>
              </a:xfrm>
              <a:custGeom>
                <a:avLst/>
                <a:gdLst>
                  <a:gd name="T0" fmla="*/ 0 w 1"/>
                  <a:gd name="T1" fmla="*/ 0 h 2"/>
                  <a:gd name="T2" fmla="*/ 0 w 1"/>
                  <a:gd name="T3" fmla="*/ 0 h 2"/>
                  <a:gd name="T4" fmla="*/ 0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0" y="2"/>
                    </a:lnTo>
                    <a:cubicBezTo>
                      <a:pt x="0" y="2"/>
                      <a:pt x="0" y="2"/>
                      <a:pt x="1" y="2"/>
                    </a:cubicBezTo>
                    <a:cubicBezTo>
                      <a:pt x="1" y="1"/>
                      <a:pt x="0" y="1"/>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4" name="Freeform 2548"/>
              <p:cNvSpPr>
                <a:spLocks/>
              </p:cNvSpPr>
              <p:nvPr/>
            </p:nvSpPr>
            <p:spPr bwMode="auto">
              <a:xfrm>
                <a:off x="3548063" y="4132263"/>
                <a:ext cx="0" cy="0"/>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0"/>
                    </a:lnTo>
                    <a:cubicBezTo>
                      <a:pt x="1" y="1"/>
                      <a:pt x="1" y="1"/>
                      <a:pt x="1" y="1"/>
                    </a:cubicBezTo>
                    <a:lnTo>
                      <a:pt x="0"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5" name="Freeform 2549"/>
              <p:cNvSpPr>
                <a:spLocks/>
              </p:cNvSpPr>
              <p:nvPr/>
            </p:nvSpPr>
            <p:spPr bwMode="auto">
              <a:xfrm>
                <a:off x="3549651" y="4127501"/>
                <a:ext cx="0" cy="0"/>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cubicBezTo>
                      <a:pt x="0" y="1"/>
                      <a:pt x="0" y="2"/>
                      <a:pt x="0" y="3"/>
                    </a:cubicBezTo>
                    <a:cubicBezTo>
                      <a:pt x="0" y="1"/>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6" name="Freeform 2550"/>
              <p:cNvSpPr>
                <a:spLocks/>
              </p:cNvSpPr>
              <p:nvPr/>
            </p:nvSpPr>
            <p:spPr bwMode="auto">
              <a:xfrm>
                <a:off x="3557588" y="3949701"/>
                <a:ext cx="0" cy="1588"/>
              </a:xfrm>
              <a:custGeom>
                <a:avLst/>
                <a:gdLst>
                  <a:gd name="T0" fmla="*/ 1 w 1"/>
                  <a:gd name="T1" fmla="*/ 5 h 5"/>
                  <a:gd name="T2" fmla="*/ 1 w 1"/>
                  <a:gd name="T3" fmla="*/ 5 h 5"/>
                  <a:gd name="T4" fmla="*/ 0 w 1"/>
                  <a:gd name="T5" fmla="*/ 0 h 5"/>
                  <a:gd name="T6" fmla="*/ 1 w 1"/>
                  <a:gd name="T7" fmla="*/ 5 h 5"/>
                </a:gdLst>
                <a:ahLst/>
                <a:cxnLst>
                  <a:cxn ang="0">
                    <a:pos x="T0" y="T1"/>
                  </a:cxn>
                  <a:cxn ang="0">
                    <a:pos x="T2" y="T3"/>
                  </a:cxn>
                  <a:cxn ang="0">
                    <a:pos x="T4" y="T5"/>
                  </a:cxn>
                  <a:cxn ang="0">
                    <a:pos x="T6" y="T7"/>
                  </a:cxn>
                </a:cxnLst>
                <a:rect l="0" t="0" r="r" b="b"/>
                <a:pathLst>
                  <a:path w="1" h="5">
                    <a:moveTo>
                      <a:pt x="1" y="5"/>
                    </a:moveTo>
                    <a:lnTo>
                      <a:pt x="1" y="5"/>
                    </a:lnTo>
                    <a:lnTo>
                      <a:pt x="0" y="0"/>
                    </a:lnTo>
                    <a:cubicBezTo>
                      <a:pt x="0" y="2"/>
                      <a:pt x="0" y="3"/>
                      <a:pt x="1" y="5"/>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7" name="Freeform 2551"/>
              <p:cNvSpPr>
                <a:spLocks/>
              </p:cNvSpPr>
              <p:nvPr/>
            </p:nvSpPr>
            <p:spPr bwMode="auto">
              <a:xfrm>
                <a:off x="3552826" y="4073526"/>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cubicBezTo>
                      <a:pt x="0" y="0"/>
                      <a:pt x="0" y="1"/>
                      <a:pt x="0" y="2"/>
                    </a:cubicBezTo>
                    <a:cubicBezTo>
                      <a:pt x="0" y="1"/>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8" name="Freeform 2552"/>
              <p:cNvSpPr>
                <a:spLocks/>
              </p:cNvSpPr>
              <p:nvPr/>
            </p:nvSpPr>
            <p:spPr bwMode="auto">
              <a:xfrm>
                <a:off x="3554413" y="4379913"/>
                <a:ext cx="0" cy="0"/>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1"/>
                      <a:pt x="0" y="1"/>
                      <a:pt x="0" y="2"/>
                    </a:cubicBezTo>
                    <a:cubicBezTo>
                      <a:pt x="0" y="2"/>
                      <a:pt x="1" y="2"/>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9" name="Rectangle 2553"/>
              <p:cNvSpPr>
                <a:spLocks noChangeArrowheads="1"/>
              </p:cNvSpPr>
              <p:nvPr/>
            </p:nvSpPr>
            <p:spPr bwMode="auto">
              <a:xfrm>
                <a:off x="3536951" y="4343401"/>
                <a:ext cx="1588" cy="1588"/>
              </a:xfrm>
              <a:prstGeom prst="rect">
                <a:avLst/>
              </a:prstGeom>
              <a:solidFill>
                <a:srgbClr val="29BA74"/>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0" name="Freeform 2554"/>
              <p:cNvSpPr>
                <a:spLocks/>
              </p:cNvSpPr>
              <p:nvPr/>
            </p:nvSpPr>
            <p:spPr bwMode="auto">
              <a:xfrm>
                <a:off x="3536951" y="4343401"/>
                <a:ext cx="0" cy="1588"/>
              </a:xfrm>
              <a:custGeom>
                <a:avLst/>
                <a:gdLst>
                  <a:gd name="T0" fmla="*/ 2 w 3"/>
                  <a:gd name="T1" fmla="*/ 6 h 6"/>
                  <a:gd name="T2" fmla="*/ 2 w 3"/>
                  <a:gd name="T3" fmla="*/ 6 h 6"/>
                  <a:gd name="T4" fmla="*/ 0 w 3"/>
                  <a:gd name="T5" fmla="*/ 0 h 6"/>
                  <a:gd name="T6" fmla="*/ 2 w 3"/>
                  <a:gd name="T7" fmla="*/ 6 h 6"/>
                </a:gdLst>
                <a:ahLst/>
                <a:cxnLst>
                  <a:cxn ang="0">
                    <a:pos x="T0" y="T1"/>
                  </a:cxn>
                  <a:cxn ang="0">
                    <a:pos x="T2" y="T3"/>
                  </a:cxn>
                  <a:cxn ang="0">
                    <a:pos x="T4" y="T5"/>
                  </a:cxn>
                  <a:cxn ang="0">
                    <a:pos x="T6" y="T7"/>
                  </a:cxn>
                </a:cxnLst>
                <a:rect l="0" t="0" r="r" b="b"/>
                <a:pathLst>
                  <a:path w="3" h="6">
                    <a:moveTo>
                      <a:pt x="2" y="6"/>
                    </a:moveTo>
                    <a:lnTo>
                      <a:pt x="2" y="6"/>
                    </a:lnTo>
                    <a:cubicBezTo>
                      <a:pt x="3" y="4"/>
                      <a:pt x="1" y="1"/>
                      <a:pt x="0" y="0"/>
                    </a:cubicBezTo>
                    <a:cubicBezTo>
                      <a:pt x="0" y="2"/>
                      <a:pt x="0" y="3"/>
                      <a:pt x="2" y="6"/>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1" name="Freeform 2555"/>
              <p:cNvSpPr>
                <a:spLocks/>
              </p:cNvSpPr>
              <p:nvPr/>
            </p:nvSpPr>
            <p:spPr bwMode="auto">
              <a:xfrm>
                <a:off x="3536951" y="4338638"/>
                <a:ext cx="0" cy="1588"/>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0"/>
                      <a:pt x="0" y="1"/>
                    </a:cubicBezTo>
                    <a:cubicBezTo>
                      <a:pt x="0" y="0"/>
                      <a:pt x="0"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2" name="Freeform 2556"/>
              <p:cNvSpPr>
                <a:spLocks/>
              </p:cNvSpPr>
              <p:nvPr/>
            </p:nvSpPr>
            <p:spPr bwMode="auto">
              <a:xfrm>
                <a:off x="3536951" y="4379913"/>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3" name="Freeform 2557"/>
              <p:cNvSpPr>
                <a:spLocks/>
              </p:cNvSpPr>
              <p:nvPr/>
            </p:nvSpPr>
            <p:spPr bwMode="auto">
              <a:xfrm>
                <a:off x="3536951" y="437038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0"/>
                      <a:pt x="1" y="0"/>
                    </a:cubicBezTo>
                    <a:cubicBezTo>
                      <a:pt x="0" y="0"/>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4" name="Rectangle 2558"/>
              <p:cNvSpPr>
                <a:spLocks noChangeArrowheads="1"/>
              </p:cNvSpPr>
              <p:nvPr/>
            </p:nvSpPr>
            <p:spPr bwMode="auto">
              <a:xfrm>
                <a:off x="3533776" y="4319588"/>
                <a:ext cx="1588" cy="1588"/>
              </a:xfrm>
              <a:prstGeom prst="rect">
                <a:avLst/>
              </a:prstGeom>
              <a:solidFill>
                <a:srgbClr val="29BA74"/>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5" name="Freeform 2559"/>
              <p:cNvSpPr>
                <a:spLocks/>
              </p:cNvSpPr>
              <p:nvPr/>
            </p:nvSpPr>
            <p:spPr bwMode="auto">
              <a:xfrm>
                <a:off x="3522663" y="3948113"/>
                <a:ext cx="39688" cy="596900"/>
              </a:xfrm>
              <a:custGeom>
                <a:avLst/>
                <a:gdLst>
                  <a:gd name="T0" fmla="*/ 17 w 125"/>
                  <a:gd name="T1" fmla="*/ 1053 h 1904"/>
                  <a:gd name="T2" fmla="*/ 26 w 125"/>
                  <a:gd name="T3" fmla="*/ 1127 h 1904"/>
                  <a:gd name="T4" fmla="*/ 36 w 125"/>
                  <a:gd name="T5" fmla="*/ 1194 h 1904"/>
                  <a:gd name="T6" fmla="*/ 41 w 125"/>
                  <a:gd name="T7" fmla="*/ 1222 h 1904"/>
                  <a:gd name="T8" fmla="*/ 38 w 125"/>
                  <a:gd name="T9" fmla="*/ 1246 h 1904"/>
                  <a:gd name="T10" fmla="*/ 46 w 125"/>
                  <a:gd name="T11" fmla="*/ 1286 h 1904"/>
                  <a:gd name="T12" fmla="*/ 43 w 125"/>
                  <a:gd name="T13" fmla="*/ 1321 h 1904"/>
                  <a:gd name="T14" fmla="*/ 48 w 125"/>
                  <a:gd name="T15" fmla="*/ 1357 h 1904"/>
                  <a:gd name="T16" fmla="*/ 53 w 125"/>
                  <a:gd name="T17" fmla="*/ 1406 h 1904"/>
                  <a:gd name="T18" fmla="*/ 58 w 125"/>
                  <a:gd name="T19" fmla="*/ 1447 h 1904"/>
                  <a:gd name="T20" fmla="*/ 47 w 125"/>
                  <a:gd name="T21" fmla="*/ 1480 h 1904"/>
                  <a:gd name="T22" fmla="*/ 49 w 125"/>
                  <a:gd name="T23" fmla="*/ 1552 h 1904"/>
                  <a:gd name="T24" fmla="*/ 53 w 125"/>
                  <a:gd name="T25" fmla="*/ 1594 h 1904"/>
                  <a:gd name="T26" fmla="*/ 52 w 125"/>
                  <a:gd name="T27" fmla="*/ 1655 h 1904"/>
                  <a:gd name="T28" fmla="*/ 58 w 125"/>
                  <a:gd name="T29" fmla="*/ 1695 h 1904"/>
                  <a:gd name="T30" fmla="*/ 54 w 125"/>
                  <a:gd name="T31" fmla="*/ 1714 h 1904"/>
                  <a:gd name="T32" fmla="*/ 68 w 125"/>
                  <a:gd name="T33" fmla="*/ 1740 h 1904"/>
                  <a:gd name="T34" fmla="*/ 63 w 125"/>
                  <a:gd name="T35" fmla="*/ 1766 h 1904"/>
                  <a:gd name="T36" fmla="*/ 69 w 125"/>
                  <a:gd name="T37" fmla="*/ 1784 h 1904"/>
                  <a:gd name="T38" fmla="*/ 71 w 125"/>
                  <a:gd name="T39" fmla="*/ 1852 h 1904"/>
                  <a:gd name="T40" fmla="*/ 70 w 125"/>
                  <a:gd name="T41" fmla="*/ 1889 h 1904"/>
                  <a:gd name="T42" fmla="*/ 85 w 125"/>
                  <a:gd name="T43" fmla="*/ 1865 h 1904"/>
                  <a:gd name="T44" fmla="*/ 84 w 125"/>
                  <a:gd name="T45" fmla="*/ 1835 h 1904"/>
                  <a:gd name="T46" fmla="*/ 90 w 125"/>
                  <a:gd name="T47" fmla="*/ 1813 h 1904"/>
                  <a:gd name="T48" fmla="*/ 89 w 125"/>
                  <a:gd name="T49" fmla="*/ 1756 h 1904"/>
                  <a:gd name="T50" fmla="*/ 90 w 125"/>
                  <a:gd name="T51" fmla="*/ 1724 h 1904"/>
                  <a:gd name="T52" fmla="*/ 89 w 125"/>
                  <a:gd name="T53" fmla="*/ 1659 h 1904"/>
                  <a:gd name="T54" fmla="*/ 91 w 125"/>
                  <a:gd name="T55" fmla="*/ 1615 h 1904"/>
                  <a:gd name="T56" fmla="*/ 91 w 125"/>
                  <a:gd name="T57" fmla="*/ 1579 h 1904"/>
                  <a:gd name="T58" fmla="*/ 93 w 125"/>
                  <a:gd name="T59" fmla="*/ 1536 h 1904"/>
                  <a:gd name="T60" fmla="*/ 97 w 125"/>
                  <a:gd name="T61" fmla="*/ 1494 h 1904"/>
                  <a:gd name="T62" fmla="*/ 102 w 125"/>
                  <a:gd name="T63" fmla="*/ 1419 h 1904"/>
                  <a:gd name="T64" fmla="*/ 99 w 125"/>
                  <a:gd name="T65" fmla="*/ 1358 h 1904"/>
                  <a:gd name="T66" fmla="*/ 99 w 125"/>
                  <a:gd name="T67" fmla="*/ 1315 h 1904"/>
                  <a:gd name="T68" fmla="*/ 102 w 125"/>
                  <a:gd name="T69" fmla="*/ 1278 h 1904"/>
                  <a:gd name="T70" fmla="*/ 100 w 125"/>
                  <a:gd name="T71" fmla="*/ 1218 h 1904"/>
                  <a:gd name="T72" fmla="*/ 101 w 125"/>
                  <a:gd name="T73" fmla="*/ 1157 h 1904"/>
                  <a:gd name="T74" fmla="*/ 96 w 125"/>
                  <a:gd name="T75" fmla="*/ 1094 h 1904"/>
                  <a:gd name="T76" fmla="*/ 87 w 125"/>
                  <a:gd name="T77" fmla="*/ 944 h 1904"/>
                  <a:gd name="T78" fmla="*/ 84 w 125"/>
                  <a:gd name="T79" fmla="*/ 884 h 1904"/>
                  <a:gd name="T80" fmla="*/ 84 w 125"/>
                  <a:gd name="T81" fmla="*/ 839 h 1904"/>
                  <a:gd name="T82" fmla="*/ 78 w 125"/>
                  <a:gd name="T83" fmla="*/ 776 h 1904"/>
                  <a:gd name="T84" fmla="*/ 82 w 125"/>
                  <a:gd name="T85" fmla="*/ 635 h 1904"/>
                  <a:gd name="T86" fmla="*/ 82 w 125"/>
                  <a:gd name="T87" fmla="*/ 534 h 1904"/>
                  <a:gd name="T88" fmla="*/ 94 w 125"/>
                  <a:gd name="T89" fmla="*/ 398 h 1904"/>
                  <a:gd name="T90" fmla="*/ 109 w 125"/>
                  <a:gd name="T91" fmla="*/ 2 h 1904"/>
                  <a:gd name="T92" fmla="*/ 97 w 125"/>
                  <a:gd name="T93" fmla="*/ 30 h 1904"/>
                  <a:gd name="T94" fmla="*/ 89 w 125"/>
                  <a:gd name="T95" fmla="*/ 44 h 1904"/>
                  <a:gd name="T96" fmla="*/ 74 w 125"/>
                  <a:gd name="T97" fmla="*/ 92 h 1904"/>
                  <a:gd name="T98" fmla="*/ 35 w 125"/>
                  <a:gd name="T99" fmla="*/ 246 h 1904"/>
                  <a:gd name="T100" fmla="*/ 7 w 125"/>
                  <a:gd name="T101" fmla="*/ 574 h 1904"/>
                  <a:gd name="T102" fmla="*/ 6 w 125"/>
                  <a:gd name="T103" fmla="*/ 618 h 1904"/>
                  <a:gd name="T104" fmla="*/ 2 w 125"/>
                  <a:gd name="T105" fmla="*/ 759 h 1904"/>
                  <a:gd name="T106" fmla="*/ 10 w 125"/>
                  <a:gd name="T107" fmla="*/ 820 h 1904"/>
                  <a:gd name="T108" fmla="*/ 6 w 125"/>
                  <a:gd name="T109" fmla="*/ 883 h 1904"/>
                  <a:gd name="T110" fmla="*/ 5 w 125"/>
                  <a:gd name="T111" fmla="*/ 94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1904">
                    <a:moveTo>
                      <a:pt x="5" y="945"/>
                    </a:moveTo>
                    <a:lnTo>
                      <a:pt x="5" y="945"/>
                    </a:lnTo>
                    <a:cubicBezTo>
                      <a:pt x="7" y="969"/>
                      <a:pt x="13" y="1000"/>
                      <a:pt x="13" y="1024"/>
                    </a:cubicBezTo>
                    <a:cubicBezTo>
                      <a:pt x="18" y="1029"/>
                      <a:pt x="18" y="1036"/>
                      <a:pt x="20" y="1044"/>
                    </a:cubicBezTo>
                    <a:lnTo>
                      <a:pt x="14" y="1045"/>
                    </a:lnTo>
                    <a:lnTo>
                      <a:pt x="17" y="1051"/>
                    </a:lnTo>
                    <a:cubicBezTo>
                      <a:pt x="15" y="1054"/>
                      <a:pt x="15" y="1046"/>
                      <a:pt x="13" y="1051"/>
                    </a:cubicBezTo>
                    <a:lnTo>
                      <a:pt x="17" y="1053"/>
                    </a:lnTo>
                    <a:cubicBezTo>
                      <a:pt x="15" y="1054"/>
                      <a:pt x="17" y="1070"/>
                      <a:pt x="12" y="1059"/>
                    </a:cubicBezTo>
                    <a:lnTo>
                      <a:pt x="14" y="1084"/>
                    </a:lnTo>
                    <a:cubicBezTo>
                      <a:pt x="14" y="1089"/>
                      <a:pt x="18" y="1087"/>
                      <a:pt x="17" y="1093"/>
                    </a:cubicBezTo>
                    <a:cubicBezTo>
                      <a:pt x="16" y="1094"/>
                      <a:pt x="16" y="1091"/>
                      <a:pt x="14" y="1091"/>
                    </a:cubicBezTo>
                    <a:cubicBezTo>
                      <a:pt x="11" y="1110"/>
                      <a:pt x="26" y="1111"/>
                      <a:pt x="24" y="1128"/>
                    </a:cubicBezTo>
                    <a:lnTo>
                      <a:pt x="24" y="1127"/>
                    </a:lnTo>
                    <a:cubicBezTo>
                      <a:pt x="25" y="1130"/>
                      <a:pt x="25" y="1135"/>
                      <a:pt x="26" y="1135"/>
                    </a:cubicBezTo>
                    <a:cubicBezTo>
                      <a:pt x="32" y="1133"/>
                      <a:pt x="23" y="1132"/>
                      <a:pt x="26" y="1127"/>
                    </a:cubicBezTo>
                    <a:cubicBezTo>
                      <a:pt x="31" y="1127"/>
                      <a:pt x="29" y="1133"/>
                      <a:pt x="32" y="1133"/>
                    </a:cubicBezTo>
                    <a:cubicBezTo>
                      <a:pt x="31" y="1137"/>
                      <a:pt x="34" y="1139"/>
                      <a:pt x="34" y="1142"/>
                    </a:cubicBezTo>
                    <a:cubicBezTo>
                      <a:pt x="32" y="1148"/>
                      <a:pt x="34" y="1157"/>
                      <a:pt x="31" y="1161"/>
                    </a:cubicBezTo>
                    <a:cubicBezTo>
                      <a:pt x="32" y="1164"/>
                      <a:pt x="37" y="1167"/>
                      <a:pt x="38" y="1173"/>
                    </a:cubicBezTo>
                    <a:cubicBezTo>
                      <a:pt x="34" y="1178"/>
                      <a:pt x="34" y="1172"/>
                      <a:pt x="33" y="1178"/>
                    </a:cubicBezTo>
                    <a:lnTo>
                      <a:pt x="36" y="1179"/>
                    </a:lnTo>
                    <a:cubicBezTo>
                      <a:pt x="36" y="1184"/>
                      <a:pt x="35" y="1183"/>
                      <a:pt x="34" y="1183"/>
                    </a:cubicBezTo>
                    <a:cubicBezTo>
                      <a:pt x="34" y="1189"/>
                      <a:pt x="38" y="1187"/>
                      <a:pt x="36" y="1194"/>
                    </a:cubicBezTo>
                    <a:lnTo>
                      <a:pt x="34" y="1191"/>
                    </a:lnTo>
                    <a:cubicBezTo>
                      <a:pt x="35" y="1195"/>
                      <a:pt x="34" y="1197"/>
                      <a:pt x="35" y="1204"/>
                    </a:cubicBezTo>
                    <a:cubicBezTo>
                      <a:pt x="33" y="1204"/>
                      <a:pt x="33" y="1201"/>
                      <a:pt x="33" y="1199"/>
                    </a:cubicBezTo>
                    <a:cubicBezTo>
                      <a:pt x="30" y="1203"/>
                      <a:pt x="35" y="1206"/>
                      <a:pt x="35" y="1208"/>
                    </a:cubicBezTo>
                    <a:cubicBezTo>
                      <a:pt x="36" y="1207"/>
                      <a:pt x="37" y="1202"/>
                      <a:pt x="39" y="1204"/>
                    </a:cubicBezTo>
                    <a:cubicBezTo>
                      <a:pt x="39" y="1208"/>
                      <a:pt x="43" y="1211"/>
                      <a:pt x="40" y="1214"/>
                    </a:cubicBezTo>
                    <a:lnTo>
                      <a:pt x="38" y="1210"/>
                    </a:lnTo>
                    <a:cubicBezTo>
                      <a:pt x="40" y="1217"/>
                      <a:pt x="41" y="1214"/>
                      <a:pt x="41" y="1222"/>
                    </a:cubicBezTo>
                    <a:cubicBezTo>
                      <a:pt x="40" y="1222"/>
                      <a:pt x="40" y="1222"/>
                      <a:pt x="39" y="1222"/>
                    </a:cubicBezTo>
                    <a:cubicBezTo>
                      <a:pt x="43" y="1227"/>
                      <a:pt x="40" y="1234"/>
                      <a:pt x="40" y="1241"/>
                    </a:cubicBezTo>
                    <a:lnTo>
                      <a:pt x="39" y="1240"/>
                    </a:lnTo>
                    <a:cubicBezTo>
                      <a:pt x="41" y="1243"/>
                      <a:pt x="43" y="1244"/>
                      <a:pt x="43" y="1246"/>
                    </a:cubicBezTo>
                    <a:cubicBezTo>
                      <a:pt x="44" y="1242"/>
                      <a:pt x="45" y="1243"/>
                      <a:pt x="48" y="1242"/>
                    </a:cubicBezTo>
                    <a:cubicBezTo>
                      <a:pt x="44" y="1248"/>
                      <a:pt x="53" y="1251"/>
                      <a:pt x="51" y="1260"/>
                    </a:cubicBezTo>
                    <a:cubicBezTo>
                      <a:pt x="50" y="1260"/>
                      <a:pt x="48" y="1258"/>
                      <a:pt x="49" y="1255"/>
                    </a:cubicBezTo>
                    <a:cubicBezTo>
                      <a:pt x="44" y="1252"/>
                      <a:pt x="40" y="1252"/>
                      <a:pt x="38" y="1246"/>
                    </a:cubicBezTo>
                    <a:cubicBezTo>
                      <a:pt x="39" y="1250"/>
                      <a:pt x="40" y="1254"/>
                      <a:pt x="38" y="1253"/>
                    </a:cubicBezTo>
                    <a:lnTo>
                      <a:pt x="42" y="1254"/>
                    </a:lnTo>
                    <a:cubicBezTo>
                      <a:pt x="43" y="1256"/>
                      <a:pt x="43" y="1258"/>
                      <a:pt x="43" y="1260"/>
                    </a:cubicBezTo>
                    <a:cubicBezTo>
                      <a:pt x="45" y="1260"/>
                      <a:pt x="47" y="1255"/>
                      <a:pt x="49" y="1260"/>
                    </a:cubicBezTo>
                    <a:cubicBezTo>
                      <a:pt x="50" y="1265"/>
                      <a:pt x="45" y="1263"/>
                      <a:pt x="47" y="1264"/>
                    </a:cubicBezTo>
                    <a:cubicBezTo>
                      <a:pt x="49" y="1271"/>
                      <a:pt x="51" y="1267"/>
                      <a:pt x="50" y="1274"/>
                    </a:cubicBezTo>
                    <a:cubicBezTo>
                      <a:pt x="50" y="1273"/>
                      <a:pt x="49" y="1272"/>
                      <a:pt x="49" y="1271"/>
                    </a:cubicBezTo>
                    <a:cubicBezTo>
                      <a:pt x="48" y="1277"/>
                      <a:pt x="51" y="1284"/>
                      <a:pt x="46" y="1286"/>
                    </a:cubicBezTo>
                    <a:cubicBezTo>
                      <a:pt x="45" y="1285"/>
                      <a:pt x="43" y="1285"/>
                      <a:pt x="44" y="1283"/>
                    </a:cubicBezTo>
                    <a:lnTo>
                      <a:pt x="44" y="1283"/>
                    </a:lnTo>
                    <a:cubicBezTo>
                      <a:pt x="40" y="1278"/>
                      <a:pt x="46" y="1288"/>
                      <a:pt x="41" y="1287"/>
                    </a:cubicBezTo>
                    <a:cubicBezTo>
                      <a:pt x="44" y="1286"/>
                      <a:pt x="43" y="1294"/>
                      <a:pt x="43" y="1297"/>
                    </a:cubicBezTo>
                    <a:lnTo>
                      <a:pt x="46" y="1296"/>
                    </a:lnTo>
                    <a:cubicBezTo>
                      <a:pt x="56" y="1306"/>
                      <a:pt x="40" y="1295"/>
                      <a:pt x="42" y="1306"/>
                    </a:cubicBezTo>
                    <a:cubicBezTo>
                      <a:pt x="44" y="1313"/>
                      <a:pt x="42" y="1304"/>
                      <a:pt x="45" y="1308"/>
                    </a:cubicBezTo>
                    <a:cubicBezTo>
                      <a:pt x="44" y="1313"/>
                      <a:pt x="42" y="1314"/>
                      <a:pt x="43" y="1321"/>
                    </a:cubicBezTo>
                    <a:cubicBezTo>
                      <a:pt x="42" y="1323"/>
                      <a:pt x="41" y="1327"/>
                      <a:pt x="37" y="1328"/>
                    </a:cubicBezTo>
                    <a:cubicBezTo>
                      <a:pt x="39" y="1332"/>
                      <a:pt x="36" y="1341"/>
                      <a:pt x="40" y="1343"/>
                    </a:cubicBezTo>
                    <a:cubicBezTo>
                      <a:pt x="42" y="1336"/>
                      <a:pt x="36" y="1336"/>
                      <a:pt x="40" y="1327"/>
                    </a:cubicBezTo>
                    <a:lnTo>
                      <a:pt x="43" y="1329"/>
                    </a:lnTo>
                    <a:cubicBezTo>
                      <a:pt x="44" y="1335"/>
                      <a:pt x="46" y="1343"/>
                      <a:pt x="45" y="1347"/>
                    </a:cubicBezTo>
                    <a:cubicBezTo>
                      <a:pt x="45" y="1346"/>
                      <a:pt x="46" y="1345"/>
                      <a:pt x="47" y="1346"/>
                    </a:cubicBezTo>
                    <a:cubicBezTo>
                      <a:pt x="48" y="1354"/>
                      <a:pt x="52" y="1356"/>
                      <a:pt x="51" y="1364"/>
                    </a:cubicBezTo>
                    <a:cubicBezTo>
                      <a:pt x="48" y="1366"/>
                      <a:pt x="48" y="1361"/>
                      <a:pt x="48" y="1357"/>
                    </a:cubicBezTo>
                    <a:cubicBezTo>
                      <a:pt x="46" y="1363"/>
                      <a:pt x="48" y="1363"/>
                      <a:pt x="47" y="1371"/>
                    </a:cubicBezTo>
                    <a:cubicBezTo>
                      <a:pt x="45" y="1371"/>
                      <a:pt x="47" y="1366"/>
                      <a:pt x="45" y="1365"/>
                    </a:cubicBezTo>
                    <a:lnTo>
                      <a:pt x="46" y="1374"/>
                    </a:lnTo>
                    <a:cubicBezTo>
                      <a:pt x="46" y="1374"/>
                      <a:pt x="45" y="1374"/>
                      <a:pt x="45" y="1374"/>
                    </a:cubicBezTo>
                    <a:cubicBezTo>
                      <a:pt x="50" y="1375"/>
                      <a:pt x="45" y="1380"/>
                      <a:pt x="47" y="1386"/>
                    </a:cubicBezTo>
                    <a:cubicBezTo>
                      <a:pt x="47" y="1399"/>
                      <a:pt x="53" y="1400"/>
                      <a:pt x="57" y="1407"/>
                    </a:cubicBezTo>
                    <a:cubicBezTo>
                      <a:pt x="56" y="1409"/>
                      <a:pt x="55" y="1410"/>
                      <a:pt x="53" y="1409"/>
                    </a:cubicBezTo>
                    <a:cubicBezTo>
                      <a:pt x="55" y="1406"/>
                      <a:pt x="54" y="1407"/>
                      <a:pt x="53" y="1406"/>
                    </a:cubicBezTo>
                    <a:cubicBezTo>
                      <a:pt x="53" y="1410"/>
                      <a:pt x="48" y="1415"/>
                      <a:pt x="46" y="1413"/>
                    </a:cubicBezTo>
                    <a:cubicBezTo>
                      <a:pt x="48" y="1420"/>
                      <a:pt x="49" y="1410"/>
                      <a:pt x="50" y="1414"/>
                    </a:cubicBezTo>
                    <a:lnTo>
                      <a:pt x="50" y="1424"/>
                    </a:lnTo>
                    <a:cubicBezTo>
                      <a:pt x="53" y="1423"/>
                      <a:pt x="53" y="1419"/>
                      <a:pt x="55" y="1424"/>
                    </a:cubicBezTo>
                    <a:cubicBezTo>
                      <a:pt x="56" y="1428"/>
                      <a:pt x="55" y="1430"/>
                      <a:pt x="55" y="1436"/>
                    </a:cubicBezTo>
                    <a:cubicBezTo>
                      <a:pt x="54" y="1435"/>
                      <a:pt x="51" y="1437"/>
                      <a:pt x="52" y="1433"/>
                    </a:cubicBezTo>
                    <a:cubicBezTo>
                      <a:pt x="51" y="1436"/>
                      <a:pt x="51" y="1440"/>
                      <a:pt x="53" y="1441"/>
                    </a:cubicBezTo>
                    <a:cubicBezTo>
                      <a:pt x="55" y="1436"/>
                      <a:pt x="55" y="1451"/>
                      <a:pt x="58" y="1447"/>
                    </a:cubicBezTo>
                    <a:lnTo>
                      <a:pt x="56" y="1452"/>
                    </a:lnTo>
                    <a:cubicBezTo>
                      <a:pt x="56" y="1451"/>
                      <a:pt x="55" y="1451"/>
                      <a:pt x="55" y="1449"/>
                    </a:cubicBezTo>
                    <a:cubicBezTo>
                      <a:pt x="52" y="1451"/>
                      <a:pt x="56" y="1454"/>
                      <a:pt x="57" y="1456"/>
                    </a:cubicBezTo>
                    <a:cubicBezTo>
                      <a:pt x="56" y="1458"/>
                      <a:pt x="56" y="1463"/>
                      <a:pt x="54" y="1464"/>
                    </a:cubicBezTo>
                    <a:cubicBezTo>
                      <a:pt x="55" y="1465"/>
                      <a:pt x="54" y="1470"/>
                      <a:pt x="52" y="1470"/>
                    </a:cubicBezTo>
                    <a:cubicBezTo>
                      <a:pt x="53" y="1473"/>
                      <a:pt x="55" y="1471"/>
                      <a:pt x="56" y="1472"/>
                    </a:cubicBezTo>
                    <a:lnTo>
                      <a:pt x="55" y="1481"/>
                    </a:lnTo>
                    <a:cubicBezTo>
                      <a:pt x="53" y="1481"/>
                      <a:pt x="47" y="1481"/>
                      <a:pt x="47" y="1480"/>
                    </a:cubicBezTo>
                    <a:cubicBezTo>
                      <a:pt x="48" y="1483"/>
                      <a:pt x="52" y="1482"/>
                      <a:pt x="52" y="1487"/>
                    </a:cubicBezTo>
                    <a:cubicBezTo>
                      <a:pt x="48" y="1483"/>
                      <a:pt x="49" y="1494"/>
                      <a:pt x="44" y="1489"/>
                    </a:cubicBezTo>
                    <a:cubicBezTo>
                      <a:pt x="41" y="1492"/>
                      <a:pt x="41" y="1501"/>
                      <a:pt x="41" y="1506"/>
                    </a:cubicBezTo>
                    <a:cubicBezTo>
                      <a:pt x="44" y="1510"/>
                      <a:pt x="44" y="1501"/>
                      <a:pt x="47" y="1501"/>
                    </a:cubicBezTo>
                    <a:cubicBezTo>
                      <a:pt x="47" y="1516"/>
                      <a:pt x="56" y="1517"/>
                      <a:pt x="54" y="1527"/>
                    </a:cubicBezTo>
                    <a:lnTo>
                      <a:pt x="55" y="1525"/>
                    </a:lnTo>
                    <a:cubicBezTo>
                      <a:pt x="56" y="1531"/>
                      <a:pt x="56" y="1530"/>
                      <a:pt x="58" y="1534"/>
                    </a:cubicBezTo>
                    <a:cubicBezTo>
                      <a:pt x="55" y="1532"/>
                      <a:pt x="48" y="1541"/>
                      <a:pt x="49" y="1552"/>
                    </a:cubicBezTo>
                    <a:cubicBezTo>
                      <a:pt x="51" y="1553"/>
                      <a:pt x="52" y="1546"/>
                      <a:pt x="55" y="1548"/>
                    </a:cubicBezTo>
                    <a:lnTo>
                      <a:pt x="56" y="1555"/>
                    </a:lnTo>
                    <a:cubicBezTo>
                      <a:pt x="56" y="1555"/>
                      <a:pt x="55" y="1554"/>
                      <a:pt x="55" y="1554"/>
                    </a:cubicBezTo>
                    <a:cubicBezTo>
                      <a:pt x="56" y="1560"/>
                      <a:pt x="50" y="1565"/>
                      <a:pt x="54" y="1567"/>
                    </a:cubicBezTo>
                    <a:lnTo>
                      <a:pt x="49" y="1573"/>
                    </a:lnTo>
                    <a:lnTo>
                      <a:pt x="51" y="1571"/>
                    </a:lnTo>
                    <a:cubicBezTo>
                      <a:pt x="53" y="1572"/>
                      <a:pt x="54" y="1579"/>
                      <a:pt x="54" y="1580"/>
                    </a:cubicBezTo>
                    <a:cubicBezTo>
                      <a:pt x="57" y="1587"/>
                      <a:pt x="55" y="1590"/>
                      <a:pt x="53" y="1594"/>
                    </a:cubicBezTo>
                    <a:cubicBezTo>
                      <a:pt x="54" y="1592"/>
                      <a:pt x="58" y="1589"/>
                      <a:pt x="58" y="1595"/>
                    </a:cubicBezTo>
                    <a:cubicBezTo>
                      <a:pt x="52" y="1595"/>
                      <a:pt x="56" y="1607"/>
                      <a:pt x="53" y="1607"/>
                    </a:cubicBezTo>
                    <a:cubicBezTo>
                      <a:pt x="53" y="1609"/>
                      <a:pt x="52" y="1613"/>
                      <a:pt x="54" y="1613"/>
                    </a:cubicBezTo>
                    <a:lnTo>
                      <a:pt x="50" y="1613"/>
                    </a:lnTo>
                    <a:cubicBezTo>
                      <a:pt x="56" y="1613"/>
                      <a:pt x="56" y="1621"/>
                      <a:pt x="57" y="1628"/>
                    </a:cubicBezTo>
                    <a:cubicBezTo>
                      <a:pt x="50" y="1627"/>
                      <a:pt x="58" y="1635"/>
                      <a:pt x="51" y="1638"/>
                    </a:cubicBezTo>
                    <a:cubicBezTo>
                      <a:pt x="56" y="1639"/>
                      <a:pt x="54" y="1649"/>
                      <a:pt x="58" y="1650"/>
                    </a:cubicBezTo>
                    <a:cubicBezTo>
                      <a:pt x="59" y="1654"/>
                      <a:pt x="54" y="1654"/>
                      <a:pt x="52" y="1655"/>
                    </a:cubicBezTo>
                    <a:lnTo>
                      <a:pt x="54" y="1658"/>
                    </a:lnTo>
                    <a:cubicBezTo>
                      <a:pt x="52" y="1660"/>
                      <a:pt x="52" y="1669"/>
                      <a:pt x="51" y="1675"/>
                    </a:cubicBezTo>
                    <a:lnTo>
                      <a:pt x="56" y="1680"/>
                    </a:lnTo>
                    <a:lnTo>
                      <a:pt x="54" y="1682"/>
                    </a:lnTo>
                    <a:cubicBezTo>
                      <a:pt x="55" y="1682"/>
                      <a:pt x="56" y="1686"/>
                      <a:pt x="57" y="1684"/>
                    </a:cubicBezTo>
                    <a:lnTo>
                      <a:pt x="57" y="1686"/>
                    </a:lnTo>
                    <a:cubicBezTo>
                      <a:pt x="62" y="1686"/>
                      <a:pt x="59" y="1690"/>
                      <a:pt x="61" y="1695"/>
                    </a:cubicBezTo>
                    <a:cubicBezTo>
                      <a:pt x="60" y="1697"/>
                      <a:pt x="59" y="1697"/>
                      <a:pt x="58" y="1695"/>
                    </a:cubicBezTo>
                    <a:cubicBezTo>
                      <a:pt x="59" y="1698"/>
                      <a:pt x="56" y="1697"/>
                      <a:pt x="55" y="1699"/>
                    </a:cubicBezTo>
                    <a:cubicBezTo>
                      <a:pt x="56" y="1697"/>
                      <a:pt x="64" y="1708"/>
                      <a:pt x="65" y="1700"/>
                    </a:cubicBezTo>
                    <a:cubicBezTo>
                      <a:pt x="67" y="1700"/>
                      <a:pt x="69" y="1704"/>
                      <a:pt x="68" y="1707"/>
                    </a:cubicBezTo>
                    <a:lnTo>
                      <a:pt x="64" y="1709"/>
                    </a:lnTo>
                    <a:lnTo>
                      <a:pt x="69" y="1711"/>
                    </a:lnTo>
                    <a:cubicBezTo>
                      <a:pt x="70" y="1716"/>
                      <a:pt x="67" y="1718"/>
                      <a:pt x="67" y="1721"/>
                    </a:cubicBezTo>
                    <a:cubicBezTo>
                      <a:pt x="66" y="1718"/>
                      <a:pt x="58" y="1714"/>
                      <a:pt x="59" y="1723"/>
                    </a:cubicBezTo>
                    <a:cubicBezTo>
                      <a:pt x="58" y="1718"/>
                      <a:pt x="55" y="1716"/>
                      <a:pt x="54" y="1714"/>
                    </a:cubicBezTo>
                    <a:cubicBezTo>
                      <a:pt x="54" y="1715"/>
                      <a:pt x="54" y="1716"/>
                      <a:pt x="52" y="1714"/>
                    </a:cubicBezTo>
                    <a:cubicBezTo>
                      <a:pt x="54" y="1720"/>
                      <a:pt x="55" y="1716"/>
                      <a:pt x="56" y="1723"/>
                    </a:cubicBezTo>
                    <a:cubicBezTo>
                      <a:pt x="52" y="1722"/>
                      <a:pt x="51" y="1725"/>
                      <a:pt x="50" y="1731"/>
                    </a:cubicBezTo>
                    <a:lnTo>
                      <a:pt x="52" y="1726"/>
                    </a:lnTo>
                    <a:cubicBezTo>
                      <a:pt x="53" y="1726"/>
                      <a:pt x="53" y="1726"/>
                      <a:pt x="53" y="1727"/>
                    </a:cubicBezTo>
                    <a:cubicBezTo>
                      <a:pt x="54" y="1725"/>
                      <a:pt x="54" y="1724"/>
                      <a:pt x="56" y="1724"/>
                    </a:cubicBezTo>
                    <a:cubicBezTo>
                      <a:pt x="56" y="1725"/>
                      <a:pt x="61" y="1732"/>
                      <a:pt x="59" y="1733"/>
                    </a:cubicBezTo>
                    <a:cubicBezTo>
                      <a:pt x="64" y="1726"/>
                      <a:pt x="64" y="1745"/>
                      <a:pt x="68" y="1740"/>
                    </a:cubicBezTo>
                    <a:cubicBezTo>
                      <a:pt x="69" y="1741"/>
                      <a:pt x="69" y="1746"/>
                      <a:pt x="67" y="1746"/>
                    </a:cubicBezTo>
                    <a:cubicBezTo>
                      <a:pt x="64" y="1741"/>
                      <a:pt x="63" y="1751"/>
                      <a:pt x="61" y="1750"/>
                    </a:cubicBezTo>
                    <a:cubicBezTo>
                      <a:pt x="62" y="1752"/>
                      <a:pt x="63" y="1745"/>
                      <a:pt x="65" y="1748"/>
                    </a:cubicBezTo>
                    <a:cubicBezTo>
                      <a:pt x="65" y="1752"/>
                      <a:pt x="63" y="1754"/>
                      <a:pt x="62" y="1756"/>
                    </a:cubicBezTo>
                    <a:lnTo>
                      <a:pt x="61" y="1755"/>
                    </a:lnTo>
                    <a:lnTo>
                      <a:pt x="60" y="1760"/>
                    </a:lnTo>
                    <a:cubicBezTo>
                      <a:pt x="62" y="1761"/>
                      <a:pt x="63" y="1755"/>
                      <a:pt x="64" y="1760"/>
                    </a:cubicBezTo>
                    <a:cubicBezTo>
                      <a:pt x="63" y="1761"/>
                      <a:pt x="65" y="1766"/>
                      <a:pt x="63" y="1766"/>
                    </a:cubicBezTo>
                    <a:cubicBezTo>
                      <a:pt x="60" y="1764"/>
                      <a:pt x="57" y="1766"/>
                      <a:pt x="56" y="1762"/>
                    </a:cubicBezTo>
                    <a:cubicBezTo>
                      <a:pt x="57" y="1765"/>
                      <a:pt x="58" y="1776"/>
                      <a:pt x="61" y="1771"/>
                    </a:cubicBezTo>
                    <a:lnTo>
                      <a:pt x="61" y="1775"/>
                    </a:lnTo>
                    <a:cubicBezTo>
                      <a:pt x="63" y="1773"/>
                      <a:pt x="65" y="1765"/>
                      <a:pt x="66" y="1773"/>
                    </a:cubicBezTo>
                    <a:lnTo>
                      <a:pt x="65" y="1773"/>
                    </a:lnTo>
                    <a:lnTo>
                      <a:pt x="69" y="1779"/>
                    </a:lnTo>
                    <a:lnTo>
                      <a:pt x="67" y="1782"/>
                    </a:lnTo>
                    <a:cubicBezTo>
                      <a:pt x="68" y="1781"/>
                      <a:pt x="69" y="1782"/>
                      <a:pt x="69" y="1784"/>
                    </a:cubicBezTo>
                    <a:cubicBezTo>
                      <a:pt x="68" y="1785"/>
                      <a:pt x="68" y="1787"/>
                      <a:pt x="66" y="1787"/>
                    </a:cubicBezTo>
                    <a:cubicBezTo>
                      <a:pt x="67" y="1793"/>
                      <a:pt x="69" y="1793"/>
                      <a:pt x="70" y="1793"/>
                    </a:cubicBezTo>
                    <a:cubicBezTo>
                      <a:pt x="70" y="1797"/>
                      <a:pt x="70" y="1798"/>
                      <a:pt x="67" y="1797"/>
                    </a:cubicBezTo>
                    <a:cubicBezTo>
                      <a:pt x="67" y="1801"/>
                      <a:pt x="68" y="1810"/>
                      <a:pt x="67" y="1813"/>
                    </a:cubicBezTo>
                    <a:cubicBezTo>
                      <a:pt x="69" y="1819"/>
                      <a:pt x="67" y="1812"/>
                      <a:pt x="70" y="1815"/>
                    </a:cubicBezTo>
                    <a:cubicBezTo>
                      <a:pt x="64" y="1821"/>
                      <a:pt x="69" y="1836"/>
                      <a:pt x="71" y="1846"/>
                    </a:cubicBezTo>
                    <a:cubicBezTo>
                      <a:pt x="77" y="1843"/>
                      <a:pt x="72" y="1849"/>
                      <a:pt x="77" y="1851"/>
                    </a:cubicBezTo>
                    <a:cubicBezTo>
                      <a:pt x="75" y="1848"/>
                      <a:pt x="74" y="1861"/>
                      <a:pt x="71" y="1852"/>
                    </a:cubicBezTo>
                    <a:lnTo>
                      <a:pt x="72" y="1857"/>
                    </a:lnTo>
                    <a:cubicBezTo>
                      <a:pt x="70" y="1861"/>
                      <a:pt x="69" y="1848"/>
                      <a:pt x="65" y="1855"/>
                    </a:cubicBezTo>
                    <a:cubicBezTo>
                      <a:pt x="66" y="1861"/>
                      <a:pt x="73" y="1864"/>
                      <a:pt x="71" y="1872"/>
                    </a:cubicBezTo>
                    <a:cubicBezTo>
                      <a:pt x="67" y="1870"/>
                      <a:pt x="73" y="1877"/>
                      <a:pt x="68" y="1876"/>
                    </a:cubicBezTo>
                    <a:cubicBezTo>
                      <a:pt x="67" y="1874"/>
                      <a:pt x="67" y="1872"/>
                      <a:pt x="67" y="1870"/>
                    </a:cubicBezTo>
                    <a:lnTo>
                      <a:pt x="66" y="1872"/>
                    </a:lnTo>
                    <a:cubicBezTo>
                      <a:pt x="66" y="1885"/>
                      <a:pt x="71" y="1875"/>
                      <a:pt x="75" y="1882"/>
                    </a:cubicBezTo>
                    <a:cubicBezTo>
                      <a:pt x="76" y="1890"/>
                      <a:pt x="72" y="1889"/>
                      <a:pt x="70" y="1889"/>
                    </a:cubicBezTo>
                    <a:cubicBezTo>
                      <a:pt x="69" y="1891"/>
                      <a:pt x="70" y="1895"/>
                      <a:pt x="72" y="1897"/>
                    </a:cubicBezTo>
                    <a:cubicBezTo>
                      <a:pt x="69" y="1892"/>
                      <a:pt x="73" y="1887"/>
                      <a:pt x="76" y="1889"/>
                    </a:cubicBezTo>
                    <a:cubicBezTo>
                      <a:pt x="72" y="1893"/>
                      <a:pt x="77" y="1902"/>
                      <a:pt x="79" y="1904"/>
                    </a:cubicBezTo>
                    <a:cubicBezTo>
                      <a:pt x="83" y="1891"/>
                      <a:pt x="79" y="1896"/>
                      <a:pt x="83" y="1884"/>
                    </a:cubicBezTo>
                    <a:cubicBezTo>
                      <a:pt x="81" y="1883"/>
                      <a:pt x="77" y="1883"/>
                      <a:pt x="78" y="1876"/>
                    </a:cubicBezTo>
                    <a:cubicBezTo>
                      <a:pt x="81" y="1880"/>
                      <a:pt x="81" y="1876"/>
                      <a:pt x="81" y="1875"/>
                    </a:cubicBezTo>
                    <a:cubicBezTo>
                      <a:pt x="79" y="1876"/>
                      <a:pt x="80" y="1870"/>
                      <a:pt x="79" y="1868"/>
                    </a:cubicBezTo>
                    <a:cubicBezTo>
                      <a:pt x="80" y="1866"/>
                      <a:pt x="85" y="1872"/>
                      <a:pt x="85" y="1865"/>
                    </a:cubicBezTo>
                    <a:lnTo>
                      <a:pt x="79" y="1864"/>
                    </a:lnTo>
                    <a:cubicBezTo>
                      <a:pt x="80" y="1861"/>
                      <a:pt x="83" y="1865"/>
                      <a:pt x="82" y="1859"/>
                    </a:cubicBezTo>
                    <a:cubicBezTo>
                      <a:pt x="85" y="1862"/>
                      <a:pt x="86" y="1858"/>
                      <a:pt x="88" y="1866"/>
                    </a:cubicBezTo>
                    <a:cubicBezTo>
                      <a:pt x="92" y="1856"/>
                      <a:pt x="84" y="1852"/>
                      <a:pt x="81" y="1845"/>
                    </a:cubicBezTo>
                    <a:cubicBezTo>
                      <a:pt x="82" y="1846"/>
                      <a:pt x="82" y="1846"/>
                      <a:pt x="83" y="1847"/>
                    </a:cubicBezTo>
                    <a:cubicBezTo>
                      <a:pt x="81" y="1845"/>
                      <a:pt x="81" y="1842"/>
                      <a:pt x="80" y="1840"/>
                    </a:cubicBezTo>
                    <a:cubicBezTo>
                      <a:pt x="81" y="1836"/>
                      <a:pt x="83" y="1844"/>
                      <a:pt x="85" y="1842"/>
                    </a:cubicBezTo>
                    <a:lnTo>
                      <a:pt x="84" y="1835"/>
                    </a:lnTo>
                    <a:cubicBezTo>
                      <a:pt x="84" y="1835"/>
                      <a:pt x="84" y="1835"/>
                      <a:pt x="84" y="1835"/>
                    </a:cubicBezTo>
                    <a:cubicBezTo>
                      <a:pt x="83" y="1833"/>
                      <a:pt x="83" y="1831"/>
                      <a:pt x="84" y="1830"/>
                    </a:cubicBezTo>
                    <a:cubicBezTo>
                      <a:pt x="86" y="1832"/>
                      <a:pt x="88" y="1833"/>
                      <a:pt x="90" y="1834"/>
                    </a:cubicBezTo>
                    <a:lnTo>
                      <a:pt x="85" y="1827"/>
                    </a:lnTo>
                    <a:cubicBezTo>
                      <a:pt x="87" y="1828"/>
                      <a:pt x="88" y="1820"/>
                      <a:pt x="90" y="1826"/>
                    </a:cubicBezTo>
                    <a:lnTo>
                      <a:pt x="88" y="1814"/>
                    </a:lnTo>
                    <a:lnTo>
                      <a:pt x="92" y="1813"/>
                    </a:lnTo>
                    <a:cubicBezTo>
                      <a:pt x="91" y="1810"/>
                      <a:pt x="90" y="1810"/>
                      <a:pt x="90" y="1813"/>
                    </a:cubicBezTo>
                    <a:cubicBezTo>
                      <a:pt x="90" y="1809"/>
                      <a:pt x="82" y="1796"/>
                      <a:pt x="89" y="1798"/>
                    </a:cubicBezTo>
                    <a:cubicBezTo>
                      <a:pt x="86" y="1789"/>
                      <a:pt x="87" y="1785"/>
                      <a:pt x="84" y="1774"/>
                    </a:cubicBezTo>
                    <a:cubicBezTo>
                      <a:pt x="88" y="1783"/>
                      <a:pt x="88" y="1764"/>
                      <a:pt x="90" y="1773"/>
                    </a:cubicBezTo>
                    <a:cubicBezTo>
                      <a:pt x="91" y="1768"/>
                      <a:pt x="87" y="1767"/>
                      <a:pt x="86" y="1763"/>
                    </a:cubicBezTo>
                    <a:cubicBezTo>
                      <a:pt x="87" y="1759"/>
                      <a:pt x="91" y="1760"/>
                      <a:pt x="93" y="1765"/>
                    </a:cubicBezTo>
                    <a:lnTo>
                      <a:pt x="91" y="1760"/>
                    </a:lnTo>
                    <a:lnTo>
                      <a:pt x="92" y="1760"/>
                    </a:lnTo>
                    <a:lnTo>
                      <a:pt x="89" y="1756"/>
                    </a:lnTo>
                    <a:cubicBezTo>
                      <a:pt x="91" y="1751"/>
                      <a:pt x="93" y="1754"/>
                      <a:pt x="93" y="1750"/>
                    </a:cubicBezTo>
                    <a:lnTo>
                      <a:pt x="90" y="1749"/>
                    </a:lnTo>
                    <a:lnTo>
                      <a:pt x="91" y="1745"/>
                    </a:lnTo>
                    <a:cubicBezTo>
                      <a:pt x="90" y="1747"/>
                      <a:pt x="89" y="1744"/>
                      <a:pt x="89" y="1741"/>
                    </a:cubicBezTo>
                    <a:lnTo>
                      <a:pt x="89" y="1741"/>
                    </a:lnTo>
                    <a:lnTo>
                      <a:pt x="88" y="1737"/>
                    </a:lnTo>
                    <a:cubicBezTo>
                      <a:pt x="91" y="1741"/>
                      <a:pt x="89" y="1733"/>
                      <a:pt x="91" y="1734"/>
                    </a:cubicBezTo>
                    <a:cubicBezTo>
                      <a:pt x="91" y="1731"/>
                      <a:pt x="91" y="1731"/>
                      <a:pt x="90" y="1724"/>
                    </a:cubicBezTo>
                    <a:lnTo>
                      <a:pt x="88" y="1726"/>
                    </a:lnTo>
                    <a:cubicBezTo>
                      <a:pt x="85" y="1717"/>
                      <a:pt x="92" y="1725"/>
                      <a:pt x="91" y="1718"/>
                    </a:cubicBezTo>
                    <a:lnTo>
                      <a:pt x="89" y="1719"/>
                    </a:lnTo>
                    <a:cubicBezTo>
                      <a:pt x="93" y="1709"/>
                      <a:pt x="85" y="1703"/>
                      <a:pt x="87" y="1695"/>
                    </a:cubicBezTo>
                    <a:cubicBezTo>
                      <a:pt x="88" y="1699"/>
                      <a:pt x="91" y="1698"/>
                      <a:pt x="91" y="1698"/>
                    </a:cubicBezTo>
                    <a:cubicBezTo>
                      <a:pt x="89" y="1692"/>
                      <a:pt x="89" y="1682"/>
                      <a:pt x="86" y="1675"/>
                    </a:cubicBezTo>
                    <a:cubicBezTo>
                      <a:pt x="90" y="1673"/>
                      <a:pt x="91" y="1672"/>
                      <a:pt x="92" y="1666"/>
                    </a:cubicBezTo>
                    <a:cubicBezTo>
                      <a:pt x="92" y="1661"/>
                      <a:pt x="91" y="1660"/>
                      <a:pt x="89" y="1659"/>
                    </a:cubicBezTo>
                    <a:cubicBezTo>
                      <a:pt x="90" y="1654"/>
                      <a:pt x="87" y="1645"/>
                      <a:pt x="90" y="1645"/>
                    </a:cubicBezTo>
                    <a:cubicBezTo>
                      <a:pt x="88" y="1644"/>
                      <a:pt x="91" y="1641"/>
                      <a:pt x="89" y="1638"/>
                    </a:cubicBezTo>
                    <a:lnTo>
                      <a:pt x="90" y="1638"/>
                    </a:lnTo>
                    <a:lnTo>
                      <a:pt x="87" y="1638"/>
                    </a:lnTo>
                    <a:cubicBezTo>
                      <a:pt x="93" y="1630"/>
                      <a:pt x="83" y="1624"/>
                      <a:pt x="88" y="1616"/>
                    </a:cubicBezTo>
                    <a:lnTo>
                      <a:pt x="89" y="1617"/>
                    </a:lnTo>
                    <a:lnTo>
                      <a:pt x="88" y="1614"/>
                    </a:lnTo>
                    <a:cubicBezTo>
                      <a:pt x="89" y="1613"/>
                      <a:pt x="90" y="1615"/>
                      <a:pt x="91" y="1615"/>
                    </a:cubicBezTo>
                    <a:lnTo>
                      <a:pt x="91" y="1599"/>
                    </a:lnTo>
                    <a:lnTo>
                      <a:pt x="89" y="1602"/>
                    </a:lnTo>
                    <a:cubicBezTo>
                      <a:pt x="89" y="1598"/>
                      <a:pt x="86" y="1596"/>
                      <a:pt x="88" y="1592"/>
                    </a:cubicBezTo>
                    <a:cubicBezTo>
                      <a:pt x="92" y="1599"/>
                      <a:pt x="88" y="1587"/>
                      <a:pt x="91" y="1586"/>
                    </a:cubicBezTo>
                    <a:lnTo>
                      <a:pt x="92" y="1589"/>
                    </a:lnTo>
                    <a:cubicBezTo>
                      <a:pt x="92" y="1584"/>
                      <a:pt x="92" y="1584"/>
                      <a:pt x="89" y="1585"/>
                    </a:cubicBezTo>
                    <a:cubicBezTo>
                      <a:pt x="88" y="1579"/>
                      <a:pt x="94" y="1581"/>
                      <a:pt x="91" y="1575"/>
                    </a:cubicBezTo>
                    <a:lnTo>
                      <a:pt x="91" y="1579"/>
                    </a:lnTo>
                    <a:cubicBezTo>
                      <a:pt x="89" y="1580"/>
                      <a:pt x="87" y="1577"/>
                      <a:pt x="87" y="1575"/>
                    </a:cubicBezTo>
                    <a:cubicBezTo>
                      <a:pt x="87" y="1574"/>
                      <a:pt x="89" y="1572"/>
                      <a:pt x="89" y="1574"/>
                    </a:cubicBezTo>
                    <a:cubicBezTo>
                      <a:pt x="88" y="1569"/>
                      <a:pt x="89" y="1562"/>
                      <a:pt x="88" y="1560"/>
                    </a:cubicBezTo>
                    <a:cubicBezTo>
                      <a:pt x="89" y="1557"/>
                      <a:pt x="91" y="1558"/>
                      <a:pt x="92" y="1559"/>
                    </a:cubicBezTo>
                    <a:cubicBezTo>
                      <a:pt x="89" y="1549"/>
                      <a:pt x="92" y="1555"/>
                      <a:pt x="90" y="1544"/>
                    </a:cubicBezTo>
                    <a:lnTo>
                      <a:pt x="91" y="1545"/>
                    </a:lnTo>
                    <a:lnTo>
                      <a:pt x="89" y="1541"/>
                    </a:lnTo>
                    <a:lnTo>
                      <a:pt x="93" y="1536"/>
                    </a:lnTo>
                    <a:lnTo>
                      <a:pt x="91" y="1538"/>
                    </a:lnTo>
                    <a:cubicBezTo>
                      <a:pt x="91" y="1535"/>
                      <a:pt x="90" y="1532"/>
                      <a:pt x="91" y="1529"/>
                    </a:cubicBezTo>
                    <a:lnTo>
                      <a:pt x="93" y="1530"/>
                    </a:lnTo>
                    <a:cubicBezTo>
                      <a:pt x="92" y="1521"/>
                      <a:pt x="97" y="1519"/>
                      <a:pt x="94" y="1510"/>
                    </a:cubicBezTo>
                    <a:cubicBezTo>
                      <a:pt x="95" y="1510"/>
                      <a:pt x="95" y="1511"/>
                      <a:pt x="96" y="1512"/>
                    </a:cubicBezTo>
                    <a:cubicBezTo>
                      <a:pt x="93" y="1504"/>
                      <a:pt x="100" y="1506"/>
                      <a:pt x="96" y="1498"/>
                    </a:cubicBezTo>
                    <a:cubicBezTo>
                      <a:pt x="97" y="1498"/>
                      <a:pt x="98" y="1497"/>
                      <a:pt x="99" y="1498"/>
                    </a:cubicBezTo>
                    <a:lnTo>
                      <a:pt x="97" y="1494"/>
                    </a:lnTo>
                    <a:lnTo>
                      <a:pt x="100" y="1494"/>
                    </a:lnTo>
                    <a:cubicBezTo>
                      <a:pt x="99" y="1493"/>
                      <a:pt x="98" y="1492"/>
                      <a:pt x="96" y="1491"/>
                    </a:cubicBezTo>
                    <a:lnTo>
                      <a:pt x="99" y="1489"/>
                    </a:lnTo>
                    <a:lnTo>
                      <a:pt x="98" y="1487"/>
                    </a:lnTo>
                    <a:cubicBezTo>
                      <a:pt x="104" y="1483"/>
                      <a:pt x="100" y="1476"/>
                      <a:pt x="105" y="1470"/>
                    </a:cubicBezTo>
                    <a:lnTo>
                      <a:pt x="101" y="1471"/>
                    </a:lnTo>
                    <a:cubicBezTo>
                      <a:pt x="97" y="1463"/>
                      <a:pt x="98" y="1455"/>
                      <a:pt x="100" y="1446"/>
                    </a:cubicBezTo>
                    <a:cubicBezTo>
                      <a:pt x="102" y="1437"/>
                      <a:pt x="104" y="1428"/>
                      <a:pt x="102" y="1419"/>
                    </a:cubicBezTo>
                    <a:lnTo>
                      <a:pt x="105" y="1420"/>
                    </a:lnTo>
                    <a:lnTo>
                      <a:pt x="101" y="1412"/>
                    </a:lnTo>
                    <a:cubicBezTo>
                      <a:pt x="104" y="1408"/>
                      <a:pt x="104" y="1415"/>
                      <a:pt x="105" y="1413"/>
                    </a:cubicBezTo>
                    <a:cubicBezTo>
                      <a:pt x="104" y="1406"/>
                      <a:pt x="101" y="1410"/>
                      <a:pt x="100" y="1401"/>
                    </a:cubicBezTo>
                    <a:cubicBezTo>
                      <a:pt x="102" y="1396"/>
                      <a:pt x="102" y="1403"/>
                      <a:pt x="103" y="1405"/>
                    </a:cubicBezTo>
                    <a:cubicBezTo>
                      <a:pt x="102" y="1396"/>
                      <a:pt x="100" y="1384"/>
                      <a:pt x="101" y="1378"/>
                    </a:cubicBezTo>
                    <a:cubicBezTo>
                      <a:pt x="101" y="1378"/>
                      <a:pt x="100" y="1377"/>
                      <a:pt x="100" y="1378"/>
                    </a:cubicBezTo>
                    <a:cubicBezTo>
                      <a:pt x="98" y="1372"/>
                      <a:pt x="99" y="1365"/>
                      <a:pt x="99" y="1358"/>
                    </a:cubicBezTo>
                    <a:cubicBezTo>
                      <a:pt x="100" y="1359"/>
                      <a:pt x="101" y="1360"/>
                      <a:pt x="101" y="1362"/>
                    </a:cubicBezTo>
                    <a:cubicBezTo>
                      <a:pt x="101" y="1359"/>
                      <a:pt x="102" y="1356"/>
                      <a:pt x="100" y="1354"/>
                    </a:cubicBezTo>
                    <a:lnTo>
                      <a:pt x="103" y="1357"/>
                    </a:lnTo>
                    <a:cubicBezTo>
                      <a:pt x="104" y="1352"/>
                      <a:pt x="101" y="1343"/>
                      <a:pt x="104" y="1342"/>
                    </a:cubicBezTo>
                    <a:cubicBezTo>
                      <a:pt x="103" y="1342"/>
                      <a:pt x="100" y="1342"/>
                      <a:pt x="100" y="1338"/>
                    </a:cubicBezTo>
                    <a:cubicBezTo>
                      <a:pt x="105" y="1336"/>
                      <a:pt x="98" y="1327"/>
                      <a:pt x="100" y="1320"/>
                    </a:cubicBezTo>
                    <a:cubicBezTo>
                      <a:pt x="101" y="1321"/>
                      <a:pt x="102" y="1326"/>
                      <a:pt x="102" y="1324"/>
                    </a:cubicBezTo>
                    <a:cubicBezTo>
                      <a:pt x="103" y="1321"/>
                      <a:pt x="100" y="1318"/>
                      <a:pt x="99" y="1315"/>
                    </a:cubicBezTo>
                    <a:lnTo>
                      <a:pt x="101" y="1316"/>
                    </a:lnTo>
                    <a:lnTo>
                      <a:pt x="97" y="1301"/>
                    </a:lnTo>
                    <a:cubicBezTo>
                      <a:pt x="102" y="1298"/>
                      <a:pt x="96" y="1287"/>
                      <a:pt x="100" y="1287"/>
                    </a:cubicBezTo>
                    <a:cubicBezTo>
                      <a:pt x="99" y="1282"/>
                      <a:pt x="98" y="1292"/>
                      <a:pt x="97" y="1285"/>
                    </a:cubicBezTo>
                    <a:cubicBezTo>
                      <a:pt x="99" y="1283"/>
                      <a:pt x="95" y="1279"/>
                      <a:pt x="99" y="1279"/>
                    </a:cubicBezTo>
                    <a:lnTo>
                      <a:pt x="99" y="1280"/>
                    </a:lnTo>
                    <a:lnTo>
                      <a:pt x="98" y="1275"/>
                    </a:lnTo>
                    <a:lnTo>
                      <a:pt x="102" y="1278"/>
                    </a:lnTo>
                    <a:cubicBezTo>
                      <a:pt x="101" y="1274"/>
                      <a:pt x="98" y="1271"/>
                      <a:pt x="95" y="1271"/>
                    </a:cubicBezTo>
                    <a:cubicBezTo>
                      <a:pt x="97" y="1267"/>
                      <a:pt x="95" y="1261"/>
                      <a:pt x="98" y="1259"/>
                    </a:cubicBezTo>
                    <a:lnTo>
                      <a:pt x="99" y="1261"/>
                    </a:lnTo>
                    <a:cubicBezTo>
                      <a:pt x="97" y="1250"/>
                      <a:pt x="106" y="1242"/>
                      <a:pt x="100" y="1234"/>
                    </a:cubicBezTo>
                    <a:cubicBezTo>
                      <a:pt x="101" y="1233"/>
                      <a:pt x="101" y="1233"/>
                      <a:pt x="101" y="1234"/>
                    </a:cubicBezTo>
                    <a:lnTo>
                      <a:pt x="101" y="1227"/>
                    </a:lnTo>
                    <a:lnTo>
                      <a:pt x="104" y="1229"/>
                    </a:lnTo>
                    <a:lnTo>
                      <a:pt x="100" y="1218"/>
                    </a:lnTo>
                    <a:lnTo>
                      <a:pt x="101" y="1218"/>
                    </a:lnTo>
                    <a:cubicBezTo>
                      <a:pt x="101" y="1210"/>
                      <a:pt x="100" y="1199"/>
                      <a:pt x="99" y="1189"/>
                    </a:cubicBezTo>
                    <a:lnTo>
                      <a:pt x="100" y="1191"/>
                    </a:lnTo>
                    <a:cubicBezTo>
                      <a:pt x="97" y="1180"/>
                      <a:pt x="100" y="1180"/>
                      <a:pt x="98" y="1173"/>
                    </a:cubicBezTo>
                    <a:cubicBezTo>
                      <a:pt x="99" y="1173"/>
                      <a:pt x="99" y="1173"/>
                      <a:pt x="99" y="1174"/>
                    </a:cubicBezTo>
                    <a:lnTo>
                      <a:pt x="99" y="1167"/>
                    </a:lnTo>
                    <a:lnTo>
                      <a:pt x="100" y="1168"/>
                    </a:lnTo>
                    <a:cubicBezTo>
                      <a:pt x="97" y="1163"/>
                      <a:pt x="104" y="1153"/>
                      <a:pt x="101" y="1157"/>
                    </a:cubicBezTo>
                    <a:cubicBezTo>
                      <a:pt x="99" y="1154"/>
                      <a:pt x="97" y="1149"/>
                      <a:pt x="95" y="1148"/>
                    </a:cubicBezTo>
                    <a:cubicBezTo>
                      <a:pt x="95" y="1141"/>
                      <a:pt x="97" y="1146"/>
                      <a:pt x="98" y="1142"/>
                    </a:cubicBezTo>
                    <a:cubicBezTo>
                      <a:pt x="98" y="1136"/>
                      <a:pt x="95" y="1135"/>
                      <a:pt x="96" y="1128"/>
                    </a:cubicBezTo>
                    <a:lnTo>
                      <a:pt x="98" y="1128"/>
                    </a:lnTo>
                    <a:cubicBezTo>
                      <a:pt x="97" y="1124"/>
                      <a:pt x="96" y="1122"/>
                      <a:pt x="96" y="1118"/>
                    </a:cubicBezTo>
                    <a:lnTo>
                      <a:pt x="96" y="1119"/>
                    </a:lnTo>
                    <a:cubicBezTo>
                      <a:pt x="93" y="1111"/>
                      <a:pt x="100" y="1109"/>
                      <a:pt x="93" y="1103"/>
                    </a:cubicBezTo>
                    <a:cubicBezTo>
                      <a:pt x="94" y="1100"/>
                      <a:pt x="93" y="1094"/>
                      <a:pt x="96" y="1094"/>
                    </a:cubicBezTo>
                    <a:cubicBezTo>
                      <a:pt x="94" y="1084"/>
                      <a:pt x="92" y="1077"/>
                      <a:pt x="90" y="1067"/>
                    </a:cubicBezTo>
                    <a:cubicBezTo>
                      <a:pt x="95" y="1065"/>
                      <a:pt x="90" y="1065"/>
                      <a:pt x="92" y="1059"/>
                    </a:cubicBezTo>
                    <a:lnTo>
                      <a:pt x="90" y="1060"/>
                    </a:lnTo>
                    <a:cubicBezTo>
                      <a:pt x="89" y="1046"/>
                      <a:pt x="94" y="1030"/>
                      <a:pt x="92" y="1015"/>
                    </a:cubicBezTo>
                    <a:lnTo>
                      <a:pt x="95" y="1014"/>
                    </a:lnTo>
                    <a:lnTo>
                      <a:pt x="92" y="1011"/>
                    </a:lnTo>
                    <a:cubicBezTo>
                      <a:pt x="92" y="995"/>
                      <a:pt x="92" y="974"/>
                      <a:pt x="92" y="961"/>
                    </a:cubicBezTo>
                    <a:cubicBezTo>
                      <a:pt x="90" y="957"/>
                      <a:pt x="86" y="951"/>
                      <a:pt x="87" y="944"/>
                    </a:cubicBezTo>
                    <a:lnTo>
                      <a:pt x="87" y="945"/>
                    </a:lnTo>
                    <a:cubicBezTo>
                      <a:pt x="85" y="933"/>
                      <a:pt x="83" y="921"/>
                      <a:pt x="84" y="908"/>
                    </a:cubicBezTo>
                    <a:cubicBezTo>
                      <a:pt x="85" y="909"/>
                      <a:pt x="86" y="907"/>
                      <a:pt x="87" y="909"/>
                    </a:cubicBezTo>
                    <a:cubicBezTo>
                      <a:pt x="84" y="906"/>
                      <a:pt x="86" y="901"/>
                      <a:pt x="86" y="899"/>
                    </a:cubicBezTo>
                    <a:lnTo>
                      <a:pt x="84" y="902"/>
                    </a:lnTo>
                    <a:cubicBezTo>
                      <a:pt x="82" y="898"/>
                      <a:pt x="84" y="893"/>
                      <a:pt x="86" y="891"/>
                    </a:cubicBezTo>
                    <a:lnTo>
                      <a:pt x="83" y="885"/>
                    </a:lnTo>
                    <a:cubicBezTo>
                      <a:pt x="83" y="885"/>
                      <a:pt x="83" y="884"/>
                      <a:pt x="84" y="884"/>
                    </a:cubicBezTo>
                    <a:lnTo>
                      <a:pt x="82" y="883"/>
                    </a:lnTo>
                    <a:lnTo>
                      <a:pt x="86" y="880"/>
                    </a:lnTo>
                    <a:cubicBezTo>
                      <a:pt x="85" y="879"/>
                      <a:pt x="84" y="871"/>
                      <a:pt x="80" y="869"/>
                    </a:cubicBezTo>
                    <a:cubicBezTo>
                      <a:pt x="81" y="868"/>
                      <a:pt x="82" y="863"/>
                      <a:pt x="83" y="867"/>
                    </a:cubicBezTo>
                    <a:lnTo>
                      <a:pt x="83" y="846"/>
                    </a:lnTo>
                    <a:lnTo>
                      <a:pt x="82" y="850"/>
                    </a:lnTo>
                    <a:cubicBezTo>
                      <a:pt x="79" y="850"/>
                      <a:pt x="77" y="844"/>
                      <a:pt x="78" y="841"/>
                    </a:cubicBezTo>
                    <a:cubicBezTo>
                      <a:pt x="81" y="845"/>
                      <a:pt x="82" y="841"/>
                      <a:pt x="84" y="839"/>
                    </a:cubicBezTo>
                    <a:cubicBezTo>
                      <a:pt x="82" y="836"/>
                      <a:pt x="82" y="841"/>
                      <a:pt x="80" y="840"/>
                    </a:cubicBezTo>
                    <a:cubicBezTo>
                      <a:pt x="78" y="836"/>
                      <a:pt x="77" y="829"/>
                      <a:pt x="78" y="827"/>
                    </a:cubicBezTo>
                    <a:lnTo>
                      <a:pt x="79" y="829"/>
                    </a:lnTo>
                    <a:cubicBezTo>
                      <a:pt x="78" y="824"/>
                      <a:pt x="83" y="822"/>
                      <a:pt x="82" y="817"/>
                    </a:cubicBezTo>
                    <a:cubicBezTo>
                      <a:pt x="80" y="813"/>
                      <a:pt x="82" y="810"/>
                      <a:pt x="77" y="811"/>
                    </a:cubicBezTo>
                    <a:cubicBezTo>
                      <a:pt x="76" y="805"/>
                      <a:pt x="80" y="808"/>
                      <a:pt x="81" y="806"/>
                    </a:cubicBezTo>
                    <a:cubicBezTo>
                      <a:pt x="78" y="803"/>
                      <a:pt x="79" y="795"/>
                      <a:pt x="82" y="793"/>
                    </a:cubicBezTo>
                    <a:cubicBezTo>
                      <a:pt x="75" y="790"/>
                      <a:pt x="84" y="777"/>
                      <a:pt x="78" y="776"/>
                    </a:cubicBezTo>
                    <a:lnTo>
                      <a:pt x="81" y="770"/>
                    </a:lnTo>
                    <a:cubicBezTo>
                      <a:pt x="79" y="770"/>
                      <a:pt x="76" y="769"/>
                      <a:pt x="75" y="765"/>
                    </a:cubicBezTo>
                    <a:cubicBezTo>
                      <a:pt x="77" y="761"/>
                      <a:pt x="79" y="762"/>
                      <a:pt x="81" y="761"/>
                    </a:cubicBezTo>
                    <a:lnTo>
                      <a:pt x="75" y="759"/>
                    </a:lnTo>
                    <a:cubicBezTo>
                      <a:pt x="81" y="736"/>
                      <a:pt x="76" y="707"/>
                      <a:pt x="82" y="683"/>
                    </a:cubicBezTo>
                    <a:cubicBezTo>
                      <a:pt x="80" y="672"/>
                      <a:pt x="78" y="658"/>
                      <a:pt x="79" y="646"/>
                    </a:cubicBezTo>
                    <a:lnTo>
                      <a:pt x="80" y="647"/>
                    </a:lnTo>
                    <a:lnTo>
                      <a:pt x="82" y="635"/>
                    </a:lnTo>
                    <a:lnTo>
                      <a:pt x="79" y="644"/>
                    </a:lnTo>
                    <a:cubicBezTo>
                      <a:pt x="79" y="641"/>
                      <a:pt x="78" y="639"/>
                      <a:pt x="78" y="636"/>
                    </a:cubicBezTo>
                    <a:cubicBezTo>
                      <a:pt x="81" y="622"/>
                      <a:pt x="85" y="604"/>
                      <a:pt x="82" y="586"/>
                    </a:cubicBezTo>
                    <a:cubicBezTo>
                      <a:pt x="76" y="575"/>
                      <a:pt x="89" y="579"/>
                      <a:pt x="84" y="568"/>
                    </a:cubicBezTo>
                    <a:cubicBezTo>
                      <a:pt x="85" y="569"/>
                      <a:pt x="86" y="570"/>
                      <a:pt x="87" y="571"/>
                    </a:cubicBezTo>
                    <a:cubicBezTo>
                      <a:pt x="85" y="559"/>
                      <a:pt x="84" y="553"/>
                      <a:pt x="81" y="541"/>
                    </a:cubicBezTo>
                    <a:cubicBezTo>
                      <a:pt x="87" y="543"/>
                      <a:pt x="81" y="534"/>
                      <a:pt x="85" y="535"/>
                    </a:cubicBezTo>
                    <a:lnTo>
                      <a:pt x="82" y="534"/>
                    </a:lnTo>
                    <a:cubicBezTo>
                      <a:pt x="84" y="531"/>
                      <a:pt x="85" y="525"/>
                      <a:pt x="87" y="526"/>
                    </a:cubicBezTo>
                    <a:lnTo>
                      <a:pt x="84" y="521"/>
                    </a:lnTo>
                    <a:lnTo>
                      <a:pt x="86" y="521"/>
                    </a:lnTo>
                    <a:cubicBezTo>
                      <a:pt x="87" y="514"/>
                      <a:pt x="86" y="499"/>
                      <a:pt x="92" y="496"/>
                    </a:cubicBezTo>
                    <a:cubicBezTo>
                      <a:pt x="88" y="479"/>
                      <a:pt x="92" y="453"/>
                      <a:pt x="94" y="432"/>
                    </a:cubicBezTo>
                    <a:cubicBezTo>
                      <a:pt x="92" y="429"/>
                      <a:pt x="92" y="423"/>
                      <a:pt x="92" y="418"/>
                    </a:cubicBezTo>
                    <a:lnTo>
                      <a:pt x="96" y="413"/>
                    </a:lnTo>
                    <a:cubicBezTo>
                      <a:pt x="95" y="408"/>
                      <a:pt x="92" y="403"/>
                      <a:pt x="94" y="398"/>
                    </a:cubicBezTo>
                    <a:cubicBezTo>
                      <a:pt x="94" y="398"/>
                      <a:pt x="95" y="399"/>
                      <a:pt x="95" y="399"/>
                    </a:cubicBezTo>
                    <a:cubicBezTo>
                      <a:pt x="95" y="394"/>
                      <a:pt x="97" y="389"/>
                      <a:pt x="94" y="384"/>
                    </a:cubicBezTo>
                    <a:cubicBezTo>
                      <a:pt x="95" y="379"/>
                      <a:pt x="97" y="374"/>
                      <a:pt x="100" y="376"/>
                    </a:cubicBezTo>
                    <a:cubicBezTo>
                      <a:pt x="94" y="375"/>
                      <a:pt x="101" y="364"/>
                      <a:pt x="101" y="364"/>
                    </a:cubicBezTo>
                    <a:cubicBezTo>
                      <a:pt x="101" y="364"/>
                      <a:pt x="110" y="295"/>
                      <a:pt x="116" y="217"/>
                    </a:cubicBezTo>
                    <a:cubicBezTo>
                      <a:pt x="122" y="139"/>
                      <a:pt x="125" y="52"/>
                      <a:pt x="114" y="17"/>
                    </a:cubicBezTo>
                    <a:cubicBezTo>
                      <a:pt x="111" y="15"/>
                      <a:pt x="110" y="8"/>
                      <a:pt x="107" y="10"/>
                    </a:cubicBezTo>
                    <a:cubicBezTo>
                      <a:pt x="106" y="5"/>
                      <a:pt x="111" y="3"/>
                      <a:pt x="109" y="2"/>
                    </a:cubicBezTo>
                    <a:cubicBezTo>
                      <a:pt x="106" y="9"/>
                      <a:pt x="102" y="0"/>
                      <a:pt x="98" y="6"/>
                    </a:cubicBezTo>
                    <a:lnTo>
                      <a:pt x="98" y="2"/>
                    </a:lnTo>
                    <a:cubicBezTo>
                      <a:pt x="96" y="1"/>
                      <a:pt x="99" y="7"/>
                      <a:pt x="96" y="6"/>
                    </a:cubicBezTo>
                    <a:lnTo>
                      <a:pt x="101" y="8"/>
                    </a:lnTo>
                    <a:cubicBezTo>
                      <a:pt x="100" y="11"/>
                      <a:pt x="99" y="13"/>
                      <a:pt x="97" y="14"/>
                    </a:cubicBezTo>
                    <a:cubicBezTo>
                      <a:pt x="98" y="17"/>
                      <a:pt x="105" y="20"/>
                      <a:pt x="101" y="27"/>
                    </a:cubicBezTo>
                    <a:lnTo>
                      <a:pt x="101" y="25"/>
                    </a:lnTo>
                    <a:cubicBezTo>
                      <a:pt x="101" y="31"/>
                      <a:pt x="98" y="28"/>
                      <a:pt x="97" y="30"/>
                    </a:cubicBezTo>
                    <a:lnTo>
                      <a:pt x="97" y="28"/>
                    </a:lnTo>
                    <a:lnTo>
                      <a:pt x="94" y="33"/>
                    </a:lnTo>
                    <a:cubicBezTo>
                      <a:pt x="96" y="29"/>
                      <a:pt x="93" y="23"/>
                      <a:pt x="93" y="26"/>
                    </a:cubicBezTo>
                    <a:cubicBezTo>
                      <a:pt x="91" y="33"/>
                      <a:pt x="94" y="24"/>
                      <a:pt x="94" y="30"/>
                    </a:cubicBezTo>
                    <a:cubicBezTo>
                      <a:pt x="94" y="33"/>
                      <a:pt x="91" y="32"/>
                      <a:pt x="90" y="32"/>
                    </a:cubicBezTo>
                    <a:lnTo>
                      <a:pt x="90" y="38"/>
                    </a:lnTo>
                    <a:cubicBezTo>
                      <a:pt x="87" y="37"/>
                      <a:pt x="90" y="34"/>
                      <a:pt x="87" y="36"/>
                    </a:cubicBezTo>
                    <a:lnTo>
                      <a:pt x="89" y="44"/>
                    </a:lnTo>
                    <a:cubicBezTo>
                      <a:pt x="83" y="45"/>
                      <a:pt x="91" y="53"/>
                      <a:pt x="85" y="56"/>
                    </a:cubicBezTo>
                    <a:cubicBezTo>
                      <a:pt x="85" y="50"/>
                      <a:pt x="83" y="56"/>
                      <a:pt x="82" y="55"/>
                    </a:cubicBezTo>
                    <a:lnTo>
                      <a:pt x="81" y="69"/>
                    </a:lnTo>
                    <a:cubicBezTo>
                      <a:pt x="80" y="70"/>
                      <a:pt x="79" y="65"/>
                      <a:pt x="79" y="67"/>
                    </a:cubicBezTo>
                    <a:cubicBezTo>
                      <a:pt x="78" y="70"/>
                      <a:pt x="80" y="71"/>
                      <a:pt x="80" y="73"/>
                    </a:cubicBezTo>
                    <a:cubicBezTo>
                      <a:pt x="79" y="74"/>
                      <a:pt x="79" y="83"/>
                      <a:pt x="76" y="82"/>
                    </a:cubicBezTo>
                    <a:cubicBezTo>
                      <a:pt x="72" y="91"/>
                      <a:pt x="80" y="87"/>
                      <a:pt x="77" y="95"/>
                    </a:cubicBezTo>
                    <a:cubicBezTo>
                      <a:pt x="75" y="96"/>
                      <a:pt x="77" y="88"/>
                      <a:pt x="74" y="92"/>
                    </a:cubicBezTo>
                    <a:lnTo>
                      <a:pt x="75" y="101"/>
                    </a:lnTo>
                    <a:cubicBezTo>
                      <a:pt x="73" y="100"/>
                      <a:pt x="71" y="99"/>
                      <a:pt x="72" y="95"/>
                    </a:cubicBezTo>
                    <a:cubicBezTo>
                      <a:pt x="66" y="119"/>
                      <a:pt x="53" y="131"/>
                      <a:pt x="54" y="154"/>
                    </a:cubicBezTo>
                    <a:cubicBezTo>
                      <a:pt x="51" y="157"/>
                      <a:pt x="53" y="151"/>
                      <a:pt x="51" y="149"/>
                    </a:cubicBezTo>
                    <a:cubicBezTo>
                      <a:pt x="53" y="165"/>
                      <a:pt x="43" y="171"/>
                      <a:pt x="42" y="185"/>
                    </a:cubicBezTo>
                    <a:lnTo>
                      <a:pt x="44" y="185"/>
                    </a:lnTo>
                    <a:cubicBezTo>
                      <a:pt x="36" y="203"/>
                      <a:pt x="38" y="227"/>
                      <a:pt x="33" y="248"/>
                    </a:cubicBezTo>
                    <a:lnTo>
                      <a:pt x="35" y="246"/>
                    </a:lnTo>
                    <a:cubicBezTo>
                      <a:pt x="37" y="249"/>
                      <a:pt x="37" y="254"/>
                      <a:pt x="38" y="257"/>
                    </a:cubicBezTo>
                    <a:cubicBezTo>
                      <a:pt x="36" y="258"/>
                      <a:pt x="33" y="254"/>
                      <a:pt x="33" y="261"/>
                    </a:cubicBezTo>
                    <a:cubicBezTo>
                      <a:pt x="34" y="259"/>
                      <a:pt x="35" y="257"/>
                      <a:pt x="36" y="258"/>
                    </a:cubicBezTo>
                    <a:cubicBezTo>
                      <a:pt x="29" y="276"/>
                      <a:pt x="27" y="315"/>
                      <a:pt x="22" y="345"/>
                    </a:cubicBezTo>
                    <a:cubicBezTo>
                      <a:pt x="21" y="386"/>
                      <a:pt x="13" y="431"/>
                      <a:pt x="12" y="471"/>
                    </a:cubicBezTo>
                    <a:cubicBezTo>
                      <a:pt x="12" y="465"/>
                      <a:pt x="17" y="468"/>
                      <a:pt x="16" y="472"/>
                    </a:cubicBezTo>
                    <a:cubicBezTo>
                      <a:pt x="5" y="485"/>
                      <a:pt x="16" y="495"/>
                      <a:pt x="9" y="507"/>
                    </a:cubicBezTo>
                    <a:cubicBezTo>
                      <a:pt x="10" y="531"/>
                      <a:pt x="1" y="552"/>
                      <a:pt x="7" y="574"/>
                    </a:cubicBezTo>
                    <a:lnTo>
                      <a:pt x="4" y="574"/>
                    </a:lnTo>
                    <a:cubicBezTo>
                      <a:pt x="2" y="578"/>
                      <a:pt x="4" y="579"/>
                      <a:pt x="4" y="582"/>
                    </a:cubicBezTo>
                    <a:lnTo>
                      <a:pt x="4" y="582"/>
                    </a:lnTo>
                    <a:cubicBezTo>
                      <a:pt x="2" y="590"/>
                      <a:pt x="5" y="600"/>
                      <a:pt x="3" y="605"/>
                    </a:cubicBezTo>
                    <a:lnTo>
                      <a:pt x="6" y="605"/>
                    </a:lnTo>
                    <a:cubicBezTo>
                      <a:pt x="6" y="610"/>
                      <a:pt x="4" y="608"/>
                      <a:pt x="5" y="613"/>
                    </a:cubicBezTo>
                    <a:lnTo>
                      <a:pt x="4" y="612"/>
                    </a:lnTo>
                    <a:lnTo>
                      <a:pt x="6" y="618"/>
                    </a:lnTo>
                    <a:cubicBezTo>
                      <a:pt x="1" y="618"/>
                      <a:pt x="5" y="632"/>
                      <a:pt x="3" y="636"/>
                    </a:cubicBezTo>
                    <a:cubicBezTo>
                      <a:pt x="3" y="642"/>
                      <a:pt x="5" y="654"/>
                      <a:pt x="4" y="664"/>
                    </a:cubicBezTo>
                    <a:cubicBezTo>
                      <a:pt x="1" y="666"/>
                      <a:pt x="1" y="678"/>
                      <a:pt x="0" y="685"/>
                    </a:cubicBezTo>
                    <a:cubicBezTo>
                      <a:pt x="0" y="700"/>
                      <a:pt x="1" y="721"/>
                      <a:pt x="0" y="740"/>
                    </a:cubicBezTo>
                    <a:lnTo>
                      <a:pt x="4" y="739"/>
                    </a:lnTo>
                    <a:lnTo>
                      <a:pt x="4" y="744"/>
                    </a:lnTo>
                    <a:cubicBezTo>
                      <a:pt x="3" y="744"/>
                      <a:pt x="3" y="745"/>
                      <a:pt x="3" y="744"/>
                    </a:cubicBezTo>
                    <a:cubicBezTo>
                      <a:pt x="0" y="748"/>
                      <a:pt x="4" y="755"/>
                      <a:pt x="2" y="759"/>
                    </a:cubicBezTo>
                    <a:cubicBezTo>
                      <a:pt x="5" y="757"/>
                      <a:pt x="2" y="756"/>
                      <a:pt x="2" y="753"/>
                    </a:cubicBezTo>
                    <a:cubicBezTo>
                      <a:pt x="4" y="749"/>
                      <a:pt x="7" y="753"/>
                      <a:pt x="6" y="758"/>
                    </a:cubicBezTo>
                    <a:lnTo>
                      <a:pt x="5" y="758"/>
                    </a:lnTo>
                    <a:lnTo>
                      <a:pt x="7" y="762"/>
                    </a:lnTo>
                    <a:cubicBezTo>
                      <a:pt x="4" y="762"/>
                      <a:pt x="3" y="766"/>
                      <a:pt x="0" y="766"/>
                    </a:cubicBezTo>
                    <a:cubicBezTo>
                      <a:pt x="1" y="782"/>
                      <a:pt x="6" y="793"/>
                      <a:pt x="6" y="809"/>
                    </a:cubicBezTo>
                    <a:cubicBezTo>
                      <a:pt x="2" y="807"/>
                      <a:pt x="7" y="821"/>
                      <a:pt x="1" y="818"/>
                    </a:cubicBezTo>
                    <a:cubicBezTo>
                      <a:pt x="4" y="827"/>
                      <a:pt x="6" y="816"/>
                      <a:pt x="10" y="820"/>
                    </a:cubicBezTo>
                    <a:cubicBezTo>
                      <a:pt x="10" y="823"/>
                      <a:pt x="11" y="826"/>
                      <a:pt x="9" y="826"/>
                    </a:cubicBezTo>
                    <a:cubicBezTo>
                      <a:pt x="8" y="825"/>
                      <a:pt x="6" y="829"/>
                      <a:pt x="6" y="827"/>
                    </a:cubicBezTo>
                    <a:lnTo>
                      <a:pt x="6" y="833"/>
                    </a:lnTo>
                    <a:cubicBezTo>
                      <a:pt x="6" y="834"/>
                      <a:pt x="5" y="832"/>
                      <a:pt x="5" y="832"/>
                    </a:cubicBezTo>
                    <a:cubicBezTo>
                      <a:pt x="8" y="845"/>
                      <a:pt x="2" y="855"/>
                      <a:pt x="6" y="867"/>
                    </a:cubicBezTo>
                    <a:cubicBezTo>
                      <a:pt x="8" y="868"/>
                      <a:pt x="6" y="862"/>
                      <a:pt x="8" y="863"/>
                    </a:cubicBezTo>
                    <a:cubicBezTo>
                      <a:pt x="13" y="875"/>
                      <a:pt x="5" y="874"/>
                      <a:pt x="8" y="885"/>
                    </a:cubicBezTo>
                    <a:lnTo>
                      <a:pt x="6" y="883"/>
                    </a:lnTo>
                    <a:cubicBezTo>
                      <a:pt x="8" y="886"/>
                      <a:pt x="10" y="888"/>
                      <a:pt x="8" y="894"/>
                    </a:cubicBezTo>
                    <a:cubicBezTo>
                      <a:pt x="5" y="895"/>
                      <a:pt x="5" y="889"/>
                      <a:pt x="4" y="886"/>
                    </a:cubicBezTo>
                    <a:cubicBezTo>
                      <a:pt x="4" y="890"/>
                      <a:pt x="5" y="901"/>
                      <a:pt x="8" y="897"/>
                    </a:cubicBezTo>
                    <a:cubicBezTo>
                      <a:pt x="9" y="902"/>
                      <a:pt x="6" y="904"/>
                      <a:pt x="6" y="907"/>
                    </a:cubicBezTo>
                    <a:cubicBezTo>
                      <a:pt x="7" y="907"/>
                      <a:pt x="8" y="902"/>
                      <a:pt x="9" y="905"/>
                    </a:cubicBezTo>
                    <a:cubicBezTo>
                      <a:pt x="8" y="912"/>
                      <a:pt x="8" y="922"/>
                      <a:pt x="9" y="930"/>
                    </a:cubicBezTo>
                    <a:cubicBezTo>
                      <a:pt x="8" y="930"/>
                      <a:pt x="7" y="931"/>
                      <a:pt x="6" y="930"/>
                    </a:cubicBezTo>
                    <a:cubicBezTo>
                      <a:pt x="11" y="936"/>
                      <a:pt x="4" y="936"/>
                      <a:pt x="5" y="945"/>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6" name="Freeform 2560"/>
              <p:cNvSpPr>
                <a:spLocks/>
              </p:cNvSpPr>
              <p:nvPr/>
            </p:nvSpPr>
            <p:spPr bwMode="auto">
              <a:xfrm>
                <a:off x="3536951" y="4378326"/>
                <a:ext cx="0" cy="1588"/>
              </a:xfrm>
              <a:custGeom>
                <a:avLst/>
                <a:gdLst>
                  <a:gd name="T0" fmla="*/ 2 w 2"/>
                  <a:gd name="T1" fmla="*/ 5 h 5"/>
                  <a:gd name="T2" fmla="*/ 2 w 2"/>
                  <a:gd name="T3" fmla="*/ 5 h 5"/>
                  <a:gd name="T4" fmla="*/ 2 w 2"/>
                  <a:gd name="T5" fmla="*/ 2 h 5"/>
                  <a:gd name="T6" fmla="*/ 0 w 2"/>
                  <a:gd name="T7" fmla="*/ 0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5"/>
                    </a:lnTo>
                    <a:lnTo>
                      <a:pt x="2" y="2"/>
                    </a:lnTo>
                    <a:cubicBezTo>
                      <a:pt x="1" y="2"/>
                      <a:pt x="1" y="2"/>
                      <a:pt x="0" y="0"/>
                    </a:cubicBezTo>
                    <a:lnTo>
                      <a:pt x="2" y="5"/>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7" name="Freeform 2561"/>
              <p:cNvSpPr>
                <a:spLocks/>
              </p:cNvSpPr>
              <p:nvPr/>
            </p:nvSpPr>
            <p:spPr bwMode="auto">
              <a:xfrm>
                <a:off x="3535363" y="4330701"/>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1" y="0"/>
                      <a:pt x="0" y="0"/>
                    </a:cubicBezTo>
                    <a:cubicBezTo>
                      <a:pt x="0" y="1"/>
                      <a:pt x="1" y="1"/>
                      <a:pt x="1"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8" name="Freeform 2562"/>
              <p:cNvSpPr>
                <a:spLocks/>
              </p:cNvSpPr>
              <p:nvPr/>
            </p:nvSpPr>
            <p:spPr bwMode="auto">
              <a:xfrm>
                <a:off x="3532188" y="4319588"/>
                <a:ext cx="1588" cy="1588"/>
              </a:xfrm>
              <a:custGeom>
                <a:avLst/>
                <a:gdLst>
                  <a:gd name="T0" fmla="*/ 0 w 3"/>
                  <a:gd name="T1" fmla="*/ 1 h 4"/>
                  <a:gd name="T2" fmla="*/ 0 w 3"/>
                  <a:gd name="T3" fmla="*/ 1 h 4"/>
                  <a:gd name="T4" fmla="*/ 3 w 3"/>
                  <a:gd name="T5" fmla="*/ 0 h 4"/>
                  <a:gd name="T6" fmla="*/ 0 w 3"/>
                  <a:gd name="T7" fmla="*/ 1 h 4"/>
                </a:gdLst>
                <a:ahLst/>
                <a:cxnLst>
                  <a:cxn ang="0">
                    <a:pos x="T0" y="T1"/>
                  </a:cxn>
                  <a:cxn ang="0">
                    <a:pos x="T2" y="T3"/>
                  </a:cxn>
                  <a:cxn ang="0">
                    <a:pos x="T4" y="T5"/>
                  </a:cxn>
                  <a:cxn ang="0">
                    <a:pos x="T6" y="T7"/>
                  </a:cxn>
                </a:cxnLst>
                <a:rect l="0" t="0" r="r" b="b"/>
                <a:pathLst>
                  <a:path w="3" h="4">
                    <a:moveTo>
                      <a:pt x="0" y="1"/>
                    </a:moveTo>
                    <a:lnTo>
                      <a:pt x="0" y="1"/>
                    </a:lnTo>
                    <a:cubicBezTo>
                      <a:pt x="1" y="4"/>
                      <a:pt x="2" y="2"/>
                      <a:pt x="3" y="0"/>
                    </a:cubicBezTo>
                    <a:cubicBezTo>
                      <a:pt x="2" y="0"/>
                      <a:pt x="1" y="0"/>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9" name="Freeform 2563"/>
              <p:cNvSpPr>
                <a:spLocks/>
              </p:cNvSpPr>
              <p:nvPr/>
            </p:nvSpPr>
            <p:spPr bwMode="auto">
              <a:xfrm>
                <a:off x="3538538" y="4406901"/>
                <a:ext cx="1588"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0" y="0"/>
                      <a:pt x="0" y="0"/>
                    </a:cubicBezTo>
                    <a:cubicBezTo>
                      <a:pt x="0" y="1"/>
                      <a:pt x="1" y="1"/>
                      <a:pt x="1"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0" name="Freeform 2564"/>
              <p:cNvSpPr>
                <a:spLocks/>
              </p:cNvSpPr>
              <p:nvPr/>
            </p:nvSpPr>
            <p:spPr bwMode="auto">
              <a:xfrm>
                <a:off x="3540126" y="448468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1" y="1"/>
                      <a:pt x="1" y="1"/>
                      <a:pt x="1" y="0"/>
                    </a:cubicBezTo>
                    <a:cubicBezTo>
                      <a:pt x="1" y="0"/>
                      <a:pt x="0" y="1"/>
                      <a:pt x="0"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1" name="Freeform 2565"/>
              <p:cNvSpPr>
                <a:spLocks/>
              </p:cNvSpPr>
              <p:nvPr/>
            </p:nvSpPr>
            <p:spPr bwMode="auto">
              <a:xfrm>
                <a:off x="3540126" y="4479926"/>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2"/>
                      <a:pt x="0" y="1"/>
                      <a:pt x="0" y="0"/>
                    </a:cubicBezTo>
                    <a:cubicBezTo>
                      <a:pt x="0" y="1"/>
                      <a:pt x="0" y="2"/>
                      <a:pt x="0" y="2"/>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2" name="Freeform 2566"/>
              <p:cNvSpPr>
                <a:spLocks/>
              </p:cNvSpPr>
              <p:nvPr/>
            </p:nvSpPr>
            <p:spPr bwMode="auto">
              <a:xfrm>
                <a:off x="3538538" y="4387851"/>
                <a:ext cx="0" cy="158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1" y="2"/>
                      <a:pt x="0" y="1"/>
                      <a:pt x="0" y="0"/>
                    </a:cubicBezTo>
                    <a:cubicBezTo>
                      <a:pt x="0" y="1"/>
                      <a:pt x="0" y="2"/>
                      <a:pt x="1" y="3"/>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3" name="Freeform 2567"/>
              <p:cNvSpPr>
                <a:spLocks/>
              </p:cNvSpPr>
              <p:nvPr/>
            </p:nvSpPr>
            <p:spPr bwMode="auto">
              <a:xfrm>
                <a:off x="3540126" y="4476751"/>
                <a:ext cx="0" cy="1588"/>
              </a:xfrm>
              <a:custGeom>
                <a:avLst/>
                <a:gdLst>
                  <a:gd name="T0" fmla="*/ 4 h 4"/>
                  <a:gd name="T1" fmla="*/ 4 h 4"/>
                  <a:gd name="T2" fmla="*/ 0 h 4"/>
                  <a:gd name="T3" fmla="*/ 0 h 4"/>
                  <a:gd name="T4" fmla="*/ 4 h 4"/>
                </a:gdLst>
                <a:ahLst/>
                <a:cxnLst>
                  <a:cxn ang="0">
                    <a:pos x="0" y="T0"/>
                  </a:cxn>
                  <a:cxn ang="0">
                    <a:pos x="0" y="T1"/>
                  </a:cxn>
                  <a:cxn ang="0">
                    <a:pos x="0" y="T2"/>
                  </a:cxn>
                  <a:cxn ang="0">
                    <a:pos x="0" y="T3"/>
                  </a:cxn>
                  <a:cxn ang="0">
                    <a:pos x="0" y="T4"/>
                  </a:cxn>
                </a:cxnLst>
                <a:rect l="0" t="0" r="r" b="b"/>
                <a:pathLst>
                  <a:path h="4">
                    <a:moveTo>
                      <a:pt x="0" y="4"/>
                    </a:moveTo>
                    <a:lnTo>
                      <a:pt x="0" y="4"/>
                    </a:lnTo>
                    <a:lnTo>
                      <a:pt x="0" y="0"/>
                    </a:lnTo>
                    <a:cubicBezTo>
                      <a:pt x="0" y="0"/>
                      <a:pt x="0" y="0"/>
                      <a:pt x="0" y="0"/>
                    </a:cubicBezTo>
                    <a:lnTo>
                      <a:pt x="0" y="4"/>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4" name="Freeform 2568"/>
              <p:cNvSpPr>
                <a:spLocks/>
              </p:cNvSpPr>
              <p:nvPr/>
            </p:nvSpPr>
            <p:spPr bwMode="auto">
              <a:xfrm>
                <a:off x="3540126" y="4484688"/>
                <a:ext cx="0" cy="1588"/>
              </a:xfrm>
              <a:custGeom>
                <a:avLst/>
                <a:gdLst>
                  <a:gd name="T0" fmla="*/ 5 h 5"/>
                  <a:gd name="T1" fmla="*/ 5 h 5"/>
                  <a:gd name="T2" fmla="*/ 0 h 5"/>
                  <a:gd name="T3" fmla="*/ 5 h 5"/>
                </a:gdLst>
                <a:ahLst/>
                <a:cxnLst>
                  <a:cxn ang="0">
                    <a:pos x="0" y="T0"/>
                  </a:cxn>
                  <a:cxn ang="0">
                    <a:pos x="0" y="T1"/>
                  </a:cxn>
                  <a:cxn ang="0">
                    <a:pos x="0" y="T2"/>
                  </a:cxn>
                  <a:cxn ang="0">
                    <a:pos x="0" y="T3"/>
                  </a:cxn>
                </a:cxnLst>
                <a:rect l="0" t="0" r="r" b="b"/>
                <a:pathLst>
                  <a:path h="5">
                    <a:moveTo>
                      <a:pt x="0" y="5"/>
                    </a:moveTo>
                    <a:lnTo>
                      <a:pt x="0" y="5"/>
                    </a:lnTo>
                    <a:cubicBezTo>
                      <a:pt x="0" y="3"/>
                      <a:pt x="0" y="1"/>
                      <a:pt x="0" y="0"/>
                    </a:cubicBezTo>
                    <a:cubicBezTo>
                      <a:pt x="0" y="2"/>
                      <a:pt x="0" y="3"/>
                      <a:pt x="0" y="5"/>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5" name="Freeform 2569"/>
              <p:cNvSpPr>
                <a:spLocks/>
              </p:cNvSpPr>
              <p:nvPr/>
            </p:nvSpPr>
            <p:spPr bwMode="auto">
              <a:xfrm>
                <a:off x="3538538" y="4435476"/>
                <a:ext cx="1588" cy="0"/>
              </a:xfrm>
              <a:custGeom>
                <a:avLst/>
                <a:gdLst>
                  <a:gd name="T0" fmla="*/ 2 w 2"/>
                  <a:gd name="T1" fmla="*/ 3 h 3"/>
                  <a:gd name="T2" fmla="*/ 2 w 2"/>
                  <a:gd name="T3" fmla="*/ 3 h 3"/>
                  <a:gd name="T4" fmla="*/ 2 w 2"/>
                  <a:gd name="T5" fmla="*/ 2 h 3"/>
                  <a:gd name="T6" fmla="*/ 2 w 2"/>
                  <a:gd name="T7" fmla="*/ 3 h 3"/>
                </a:gdLst>
                <a:ahLst/>
                <a:cxnLst>
                  <a:cxn ang="0">
                    <a:pos x="T0" y="T1"/>
                  </a:cxn>
                  <a:cxn ang="0">
                    <a:pos x="T2" y="T3"/>
                  </a:cxn>
                  <a:cxn ang="0">
                    <a:pos x="T4" y="T5"/>
                  </a:cxn>
                  <a:cxn ang="0">
                    <a:pos x="T6" y="T7"/>
                  </a:cxn>
                </a:cxnLst>
                <a:rect l="0" t="0" r="r" b="b"/>
                <a:pathLst>
                  <a:path w="2" h="3">
                    <a:moveTo>
                      <a:pt x="2" y="3"/>
                    </a:moveTo>
                    <a:lnTo>
                      <a:pt x="2" y="3"/>
                    </a:lnTo>
                    <a:lnTo>
                      <a:pt x="2" y="2"/>
                    </a:lnTo>
                    <a:cubicBezTo>
                      <a:pt x="0" y="0"/>
                      <a:pt x="1" y="1"/>
                      <a:pt x="2" y="3"/>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6" name="Freeform 2570"/>
              <p:cNvSpPr>
                <a:spLocks/>
              </p:cNvSpPr>
              <p:nvPr/>
            </p:nvSpPr>
            <p:spPr bwMode="auto">
              <a:xfrm>
                <a:off x="3538538" y="4473576"/>
                <a:ext cx="0" cy="0"/>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lnTo>
                      <a:pt x="0" y="0"/>
                    </a:lnTo>
                    <a:lnTo>
                      <a:pt x="1" y="1"/>
                    </a:ln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7" name="Freeform 2571"/>
              <p:cNvSpPr>
                <a:spLocks/>
              </p:cNvSpPr>
              <p:nvPr/>
            </p:nvSpPr>
            <p:spPr bwMode="auto">
              <a:xfrm>
                <a:off x="3538538" y="4489451"/>
                <a:ext cx="1588" cy="1588"/>
              </a:xfrm>
              <a:custGeom>
                <a:avLst/>
                <a:gdLst>
                  <a:gd name="T0" fmla="*/ 1 w 1"/>
                  <a:gd name="T1" fmla="*/ 1 h 2"/>
                  <a:gd name="T2" fmla="*/ 1 w 1"/>
                  <a:gd name="T3" fmla="*/ 1 h 2"/>
                  <a:gd name="T4" fmla="*/ 0 w 1"/>
                  <a:gd name="T5" fmla="*/ 0 h 2"/>
                  <a:gd name="T6" fmla="*/ 0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1"/>
                    </a:lnTo>
                    <a:cubicBezTo>
                      <a:pt x="1" y="1"/>
                      <a:pt x="1" y="0"/>
                      <a:pt x="0" y="0"/>
                    </a:cubicBezTo>
                    <a:cubicBezTo>
                      <a:pt x="0" y="0"/>
                      <a:pt x="0" y="1"/>
                      <a:pt x="0" y="2"/>
                    </a:cubicBezTo>
                    <a:cubicBezTo>
                      <a:pt x="1" y="1"/>
                      <a:pt x="1" y="1"/>
                      <a:pt x="1" y="1"/>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8" name="Freeform 2572"/>
              <p:cNvSpPr>
                <a:spLocks/>
              </p:cNvSpPr>
              <p:nvPr/>
            </p:nvSpPr>
            <p:spPr bwMode="auto">
              <a:xfrm>
                <a:off x="3538538" y="4451351"/>
                <a:ext cx="0" cy="1588"/>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cubicBezTo>
                      <a:pt x="1" y="1"/>
                      <a:pt x="2" y="2"/>
                      <a:pt x="2" y="2"/>
                    </a:cubicBezTo>
                    <a:cubicBezTo>
                      <a:pt x="2" y="0"/>
                      <a:pt x="2" y="0"/>
                      <a:pt x="0" y="0"/>
                    </a:cubicBezTo>
                    <a:close/>
                  </a:path>
                </a:pathLst>
              </a:custGeom>
              <a:solidFill>
                <a:srgbClr val="29BA74"/>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grpSp>
        <p:grpSp>
          <p:nvGrpSpPr>
            <p:cNvPr id="14" name="Group 13"/>
            <p:cNvGrpSpPr/>
            <p:nvPr/>
          </p:nvGrpSpPr>
          <p:grpSpPr>
            <a:xfrm flipV="1">
              <a:off x="2027015" y="1653144"/>
              <a:ext cx="1843104" cy="1858632"/>
              <a:chOff x="3522663" y="3930651"/>
              <a:chExt cx="1004888" cy="644525"/>
            </a:xfrm>
          </p:grpSpPr>
          <p:sp>
            <p:nvSpPr>
              <p:cNvPr id="177" name="Freeform 2413"/>
              <p:cNvSpPr>
                <a:spLocks/>
              </p:cNvSpPr>
              <p:nvPr/>
            </p:nvSpPr>
            <p:spPr bwMode="auto">
              <a:xfrm>
                <a:off x="4395788" y="3935413"/>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1"/>
                      <a:pt x="0" y="1"/>
                      <a:pt x="0" y="0"/>
                    </a:cubicBezTo>
                    <a:cubicBezTo>
                      <a:pt x="0" y="1"/>
                      <a:pt x="0" y="1"/>
                      <a:pt x="0"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8" name="Freeform 2414"/>
              <p:cNvSpPr>
                <a:spLocks/>
              </p:cNvSpPr>
              <p:nvPr/>
            </p:nvSpPr>
            <p:spPr bwMode="auto">
              <a:xfrm>
                <a:off x="4319588" y="3937001"/>
                <a:ext cx="0" cy="1588"/>
              </a:xfrm>
              <a:custGeom>
                <a:avLst/>
                <a:gdLst>
                  <a:gd name="T0" fmla="*/ 0 w 2"/>
                  <a:gd name="T1" fmla="*/ 1 h 1"/>
                  <a:gd name="T2" fmla="*/ 0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0" y="1"/>
                    </a:lnTo>
                    <a:lnTo>
                      <a:pt x="2" y="0"/>
                    </a:lnTo>
                    <a:cubicBezTo>
                      <a:pt x="0" y="1"/>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9" name="Freeform 2415"/>
              <p:cNvSpPr>
                <a:spLocks/>
              </p:cNvSpPr>
              <p:nvPr/>
            </p:nvSpPr>
            <p:spPr bwMode="auto">
              <a:xfrm>
                <a:off x="4441826" y="3932238"/>
                <a:ext cx="3175" cy="1588"/>
              </a:xfrm>
              <a:custGeom>
                <a:avLst/>
                <a:gdLst>
                  <a:gd name="T0" fmla="*/ 0 w 10"/>
                  <a:gd name="T1" fmla="*/ 0 h 1"/>
                  <a:gd name="T2" fmla="*/ 0 w 10"/>
                  <a:gd name="T3" fmla="*/ 0 h 1"/>
                  <a:gd name="T4" fmla="*/ 0 w 10"/>
                  <a:gd name="T5" fmla="*/ 1 h 1"/>
                  <a:gd name="T6" fmla="*/ 10 w 10"/>
                  <a:gd name="T7" fmla="*/ 0 h 1"/>
                  <a:gd name="T8" fmla="*/ 0 w 10"/>
                  <a:gd name="T9" fmla="*/ 0 h 1"/>
                </a:gdLst>
                <a:ahLst/>
                <a:cxnLst>
                  <a:cxn ang="0">
                    <a:pos x="T0" y="T1"/>
                  </a:cxn>
                  <a:cxn ang="0">
                    <a:pos x="T2" y="T3"/>
                  </a:cxn>
                  <a:cxn ang="0">
                    <a:pos x="T4" y="T5"/>
                  </a:cxn>
                  <a:cxn ang="0">
                    <a:pos x="T6" y="T7"/>
                  </a:cxn>
                  <a:cxn ang="0">
                    <a:pos x="T8" y="T9"/>
                  </a:cxn>
                </a:cxnLst>
                <a:rect l="0" t="0" r="r" b="b"/>
                <a:pathLst>
                  <a:path w="10" h="1">
                    <a:moveTo>
                      <a:pt x="0" y="0"/>
                    </a:moveTo>
                    <a:lnTo>
                      <a:pt x="0" y="0"/>
                    </a:lnTo>
                    <a:cubicBezTo>
                      <a:pt x="0" y="0"/>
                      <a:pt x="0" y="0"/>
                      <a:pt x="0" y="1"/>
                    </a:cubicBezTo>
                    <a:cubicBezTo>
                      <a:pt x="2" y="0"/>
                      <a:pt x="5" y="0"/>
                      <a:pt x="10" y="0"/>
                    </a:cubicBezTo>
                    <a:lnTo>
                      <a:pt x="0"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0" name="Freeform 2416"/>
              <p:cNvSpPr>
                <a:spLocks/>
              </p:cNvSpPr>
              <p:nvPr/>
            </p:nvSpPr>
            <p:spPr bwMode="auto">
              <a:xfrm>
                <a:off x="4156076" y="3943351"/>
                <a:ext cx="1588"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lnTo>
                      <a:pt x="3" y="0"/>
                    </a:lnTo>
                    <a:cubicBezTo>
                      <a:pt x="2"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1" name="Freeform 2417"/>
              <p:cNvSpPr>
                <a:spLocks/>
              </p:cNvSpPr>
              <p:nvPr/>
            </p:nvSpPr>
            <p:spPr bwMode="auto">
              <a:xfrm>
                <a:off x="4251326" y="3941763"/>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1"/>
                      <a:pt x="1" y="1"/>
                      <a:pt x="0" y="1"/>
                    </a:cubicBezTo>
                    <a:cubicBezTo>
                      <a:pt x="2" y="1"/>
                      <a:pt x="3" y="1"/>
                      <a:pt x="4"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2" name="Freeform 2418"/>
              <p:cNvSpPr>
                <a:spLocks/>
              </p:cNvSpPr>
              <p:nvPr/>
            </p:nvSpPr>
            <p:spPr bwMode="auto">
              <a:xfrm>
                <a:off x="4465638" y="3940176"/>
                <a:ext cx="1588" cy="0"/>
              </a:xfrm>
              <a:custGeom>
                <a:avLst/>
                <a:gdLst>
                  <a:gd name="T0" fmla="*/ 4 w 4"/>
                  <a:gd name="T1" fmla="*/ 1 h 1"/>
                  <a:gd name="T2" fmla="*/ 4 w 4"/>
                  <a:gd name="T3" fmla="*/ 1 h 1"/>
                  <a:gd name="T4" fmla="*/ 0 w 4"/>
                  <a:gd name="T5" fmla="*/ 0 h 1"/>
                  <a:gd name="T6" fmla="*/ 4 w 4"/>
                  <a:gd name="T7" fmla="*/ 1 h 1"/>
                </a:gdLst>
                <a:ahLst/>
                <a:cxnLst>
                  <a:cxn ang="0">
                    <a:pos x="T0" y="T1"/>
                  </a:cxn>
                  <a:cxn ang="0">
                    <a:pos x="T2" y="T3"/>
                  </a:cxn>
                  <a:cxn ang="0">
                    <a:pos x="T4" y="T5"/>
                  </a:cxn>
                  <a:cxn ang="0">
                    <a:pos x="T6" y="T7"/>
                  </a:cxn>
                </a:cxnLst>
                <a:rect l="0" t="0" r="r" b="b"/>
                <a:pathLst>
                  <a:path w="4" h="1">
                    <a:moveTo>
                      <a:pt x="4" y="1"/>
                    </a:moveTo>
                    <a:lnTo>
                      <a:pt x="4" y="1"/>
                    </a:lnTo>
                    <a:lnTo>
                      <a:pt x="0" y="0"/>
                    </a:lnTo>
                    <a:cubicBezTo>
                      <a:pt x="0" y="0"/>
                      <a:pt x="2" y="1"/>
                      <a:pt x="4"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3" name="Freeform 2419"/>
              <p:cNvSpPr>
                <a:spLocks/>
              </p:cNvSpPr>
              <p:nvPr/>
            </p:nvSpPr>
            <p:spPr bwMode="auto">
              <a:xfrm>
                <a:off x="4513263" y="3933826"/>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0" y="1"/>
                      <a:pt x="0" y="0"/>
                    </a:cubicBezTo>
                    <a:cubicBezTo>
                      <a:pt x="0" y="1"/>
                      <a:pt x="0" y="1"/>
                      <a:pt x="1"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4" name="Freeform 2420"/>
              <p:cNvSpPr>
                <a:spLocks/>
              </p:cNvSpPr>
              <p:nvPr/>
            </p:nvSpPr>
            <p:spPr bwMode="auto">
              <a:xfrm>
                <a:off x="4492626" y="3932238"/>
                <a:ext cx="1588" cy="1588"/>
              </a:xfrm>
              <a:custGeom>
                <a:avLst/>
                <a:gdLst>
                  <a:gd name="T0" fmla="*/ 4 w 4"/>
                  <a:gd name="T1" fmla="*/ 0 h 2"/>
                  <a:gd name="T2" fmla="*/ 4 w 4"/>
                  <a:gd name="T3" fmla="*/ 0 h 2"/>
                  <a:gd name="T4" fmla="*/ 0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4" y="0"/>
                    </a:lnTo>
                    <a:cubicBezTo>
                      <a:pt x="3" y="1"/>
                      <a:pt x="2" y="1"/>
                      <a:pt x="0" y="2"/>
                    </a:cubicBezTo>
                    <a:cubicBezTo>
                      <a:pt x="2" y="2"/>
                      <a:pt x="4" y="1"/>
                      <a:pt x="4"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5" name="Freeform 2421"/>
              <p:cNvSpPr>
                <a:spLocks/>
              </p:cNvSpPr>
              <p:nvPr/>
            </p:nvSpPr>
            <p:spPr bwMode="auto">
              <a:xfrm>
                <a:off x="4492626" y="3933826"/>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cubicBezTo>
                      <a:pt x="1" y="0"/>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6" name="Freeform 2422"/>
              <p:cNvSpPr>
                <a:spLocks/>
              </p:cNvSpPr>
              <p:nvPr/>
            </p:nvSpPr>
            <p:spPr bwMode="auto">
              <a:xfrm>
                <a:off x="3559176" y="3941763"/>
                <a:ext cx="3175" cy="1588"/>
              </a:xfrm>
              <a:custGeom>
                <a:avLst/>
                <a:gdLst>
                  <a:gd name="T0" fmla="*/ 11 w 11"/>
                  <a:gd name="T1" fmla="*/ 1 h 3"/>
                  <a:gd name="T2" fmla="*/ 11 w 11"/>
                  <a:gd name="T3" fmla="*/ 1 h 3"/>
                  <a:gd name="T4" fmla="*/ 0 w 11"/>
                  <a:gd name="T5" fmla="*/ 3 h 3"/>
                  <a:gd name="T6" fmla="*/ 11 w 11"/>
                  <a:gd name="T7" fmla="*/ 1 h 3"/>
                </a:gdLst>
                <a:ahLst/>
                <a:cxnLst>
                  <a:cxn ang="0">
                    <a:pos x="T0" y="T1"/>
                  </a:cxn>
                  <a:cxn ang="0">
                    <a:pos x="T2" y="T3"/>
                  </a:cxn>
                  <a:cxn ang="0">
                    <a:pos x="T4" y="T5"/>
                  </a:cxn>
                  <a:cxn ang="0">
                    <a:pos x="T6" y="T7"/>
                  </a:cxn>
                </a:cxnLst>
                <a:rect l="0" t="0" r="r" b="b"/>
                <a:pathLst>
                  <a:path w="11" h="3">
                    <a:moveTo>
                      <a:pt x="11" y="1"/>
                    </a:moveTo>
                    <a:lnTo>
                      <a:pt x="11" y="1"/>
                    </a:lnTo>
                    <a:cubicBezTo>
                      <a:pt x="7" y="0"/>
                      <a:pt x="3" y="2"/>
                      <a:pt x="0" y="3"/>
                    </a:cubicBezTo>
                    <a:lnTo>
                      <a:pt x="11" y="1"/>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7" name="Freeform 2423"/>
              <p:cNvSpPr>
                <a:spLocks/>
              </p:cNvSpPr>
              <p:nvPr/>
            </p:nvSpPr>
            <p:spPr bwMode="auto">
              <a:xfrm>
                <a:off x="4008438" y="3944938"/>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0" y="0"/>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8" name="Freeform 2424"/>
              <p:cNvSpPr>
                <a:spLocks/>
              </p:cNvSpPr>
              <p:nvPr/>
            </p:nvSpPr>
            <p:spPr bwMode="auto">
              <a:xfrm>
                <a:off x="3560763" y="3948113"/>
                <a:ext cx="0"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cubicBezTo>
                      <a:pt x="1" y="0"/>
                      <a:pt x="2" y="0"/>
                      <a:pt x="3"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89" name="Freeform 2425"/>
              <p:cNvSpPr>
                <a:spLocks/>
              </p:cNvSpPr>
              <p:nvPr/>
            </p:nvSpPr>
            <p:spPr bwMode="auto">
              <a:xfrm>
                <a:off x="4438651" y="3943351"/>
                <a:ext cx="3175" cy="1588"/>
              </a:xfrm>
              <a:custGeom>
                <a:avLst/>
                <a:gdLst>
                  <a:gd name="T0" fmla="*/ 13 w 13"/>
                  <a:gd name="T1" fmla="*/ 0 h 3"/>
                  <a:gd name="T2" fmla="*/ 13 w 13"/>
                  <a:gd name="T3" fmla="*/ 0 h 3"/>
                  <a:gd name="T4" fmla="*/ 0 w 13"/>
                  <a:gd name="T5" fmla="*/ 2 h 3"/>
                  <a:gd name="T6" fmla="*/ 13 w 13"/>
                  <a:gd name="T7" fmla="*/ 0 h 3"/>
                </a:gdLst>
                <a:ahLst/>
                <a:cxnLst>
                  <a:cxn ang="0">
                    <a:pos x="T0" y="T1"/>
                  </a:cxn>
                  <a:cxn ang="0">
                    <a:pos x="T2" y="T3"/>
                  </a:cxn>
                  <a:cxn ang="0">
                    <a:pos x="T4" y="T5"/>
                  </a:cxn>
                  <a:cxn ang="0">
                    <a:pos x="T6" y="T7"/>
                  </a:cxn>
                </a:cxnLst>
                <a:rect l="0" t="0" r="r" b="b"/>
                <a:pathLst>
                  <a:path w="13" h="3">
                    <a:moveTo>
                      <a:pt x="13" y="0"/>
                    </a:moveTo>
                    <a:lnTo>
                      <a:pt x="13" y="0"/>
                    </a:lnTo>
                    <a:cubicBezTo>
                      <a:pt x="9" y="2"/>
                      <a:pt x="0" y="1"/>
                      <a:pt x="0" y="2"/>
                    </a:cubicBezTo>
                    <a:cubicBezTo>
                      <a:pt x="5" y="2"/>
                      <a:pt x="12" y="3"/>
                      <a:pt x="13"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0" name="Freeform 2426"/>
              <p:cNvSpPr>
                <a:spLocks/>
              </p:cNvSpPr>
              <p:nvPr/>
            </p:nvSpPr>
            <p:spPr bwMode="auto">
              <a:xfrm>
                <a:off x="3976688" y="3968751"/>
                <a:ext cx="0"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cubicBezTo>
                      <a:pt x="1" y="0"/>
                      <a:pt x="2" y="0"/>
                      <a:pt x="2"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1" name="Freeform 2427"/>
              <p:cNvSpPr>
                <a:spLocks/>
              </p:cNvSpPr>
              <p:nvPr/>
            </p:nvSpPr>
            <p:spPr bwMode="auto">
              <a:xfrm>
                <a:off x="3560763" y="3948113"/>
                <a:ext cx="1588" cy="0"/>
              </a:xfrm>
              <a:custGeom>
                <a:avLst/>
                <a:gdLst>
                  <a:gd name="T0" fmla="*/ 0 w 3"/>
                  <a:gd name="T1" fmla="*/ 0 h 1"/>
                  <a:gd name="T2" fmla="*/ 0 w 3"/>
                  <a:gd name="T3" fmla="*/ 0 h 1"/>
                  <a:gd name="T4" fmla="*/ 3 w 3"/>
                  <a:gd name="T5" fmla="*/ 1 h 1"/>
                  <a:gd name="T6" fmla="*/ 2 w 3"/>
                  <a:gd name="T7" fmla="*/ 0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lnTo>
                      <a:pt x="0" y="0"/>
                    </a:lnTo>
                    <a:lnTo>
                      <a:pt x="3" y="1"/>
                    </a:lnTo>
                    <a:cubicBezTo>
                      <a:pt x="3" y="0"/>
                      <a:pt x="3" y="0"/>
                      <a:pt x="2" y="0"/>
                    </a:cubicBezTo>
                    <a:cubicBezTo>
                      <a:pt x="2"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2" name="Freeform 2428"/>
              <p:cNvSpPr>
                <a:spLocks/>
              </p:cNvSpPr>
              <p:nvPr/>
            </p:nvSpPr>
            <p:spPr bwMode="auto">
              <a:xfrm>
                <a:off x="3854451" y="3943351"/>
                <a:ext cx="0"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0" y="0"/>
                      <a:pt x="0" y="0"/>
                    </a:cubicBezTo>
                    <a:cubicBezTo>
                      <a:pt x="1" y="0"/>
                      <a:pt x="1" y="0"/>
                      <a:pt x="1" y="0"/>
                    </a:cubicBezTo>
                    <a:lnTo>
                      <a:pt x="0"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3" name="Freeform 2429"/>
              <p:cNvSpPr>
                <a:spLocks/>
              </p:cNvSpPr>
              <p:nvPr/>
            </p:nvSpPr>
            <p:spPr bwMode="auto">
              <a:xfrm>
                <a:off x="3846513" y="3941763"/>
                <a:ext cx="1588" cy="0"/>
              </a:xfrm>
              <a:custGeom>
                <a:avLst/>
                <a:gdLst>
                  <a:gd name="T0" fmla="*/ 0 w 6"/>
                  <a:gd name="T1" fmla="*/ 1 h 1"/>
                  <a:gd name="T2" fmla="*/ 0 w 6"/>
                  <a:gd name="T3" fmla="*/ 1 h 1"/>
                  <a:gd name="T4" fmla="*/ 6 w 6"/>
                  <a:gd name="T5" fmla="*/ 1 h 1"/>
                  <a:gd name="T6" fmla="*/ 0 w 6"/>
                  <a:gd name="T7" fmla="*/ 1 h 1"/>
                </a:gdLst>
                <a:ahLst/>
                <a:cxnLst>
                  <a:cxn ang="0">
                    <a:pos x="T0" y="T1"/>
                  </a:cxn>
                  <a:cxn ang="0">
                    <a:pos x="T2" y="T3"/>
                  </a:cxn>
                  <a:cxn ang="0">
                    <a:pos x="T4" y="T5"/>
                  </a:cxn>
                  <a:cxn ang="0">
                    <a:pos x="T6" y="T7"/>
                  </a:cxn>
                </a:cxnLst>
                <a:rect l="0" t="0" r="r" b="b"/>
                <a:pathLst>
                  <a:path w="6" h="1">
                    <a:moveTo>
                      <a:pt x="0" y="1"/>
                    </a:moveTo>
                    <a:lnTo>
                      <a:pt x="0" y="1"/>
                    </a:lnTo>
                    <a:cubicBezTo>
                      <a:pt x="2" y="1"/>
                      <a:pt x="4" y="1"/>
                      <a:pt x="6" y="1"/>
                    </a:cubicBezTo>
                    <a:cubicBezTo>
                      <a:pt x="3" y="0"/>
                      <a:pt x="1"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4" name="Freeform 2430"/>
              <p:cNvSpPr>
                <a:spLocks/>
              </p:cNvSpPr>
              <p:nvPr/>
            </p:nvSpPr>
            <p:spPr bwMode="auto">
              <a:xfrm>
                <a:off x="3557588" y="3943351"/>
                <a:ext cx="1588" cy="0"/>
              </a:xfrm>
              <a:custGeom>
                <a:avLst/>
                <a:gdLst>
                  <a:gd name="T0" fmla="*/ 7 w 7"/>
                  <a:gd name="T1" fmla="*/ 0 h 2"/>
                  <a:gd name="T2" fmla="*/ 7 w 7"/>
                  <a:gd name="T3" fmla="*/ 0 h 2"/>
                  <a:gd name="T4" fmla="*/ 0 w 7"/>
                  <a:gd name="T5" fmla="*/ 2 h 2"/>
                  <a:gd name="T6" fmla="*/ 7 w 7"/>
                  <a:gd name="T7" fmla="*/ 0 h 2"/>
                </a:gdLst>
                <a:ahLst/>
                <a:cxnLst>
                  <a:cxn ang="0">
                    <a:pos x="T0" y="T1"/>
                  </a:cxn>
                  <a:cxn ang="0">
                    <a:pos x="T2" y="T3"/>
                  </a:cxn>
                  <a:cxn ang="0">
                    <a:pos x="T4" y="T5"/>
                  </a:cxn>
                  <a:cxn ang="0">
                    <a:pos x="T6" y="T7"/>
                  </a:cxn>
                </a:cxnLst>
                <a:rect l="0" t="0" r="r" b="b"/>
                <a:pathLst>
                  <a:path w="7" h="2">
                    <a:moveTo>
                      <a:pt x="7" y="0"/>
                    </a:moveTo>
                    <a:lnTo>
                      <a:pt x="7" y="0"/>
                    </a:lnTo>
                    <a:lnTo>
                      <a:pt x="0" y="2"/>
                    </a:lnTo>
                    <a:cubicBezTo>
                      <a:pt x="2" y="1"/>
                      <a:pt x="4" y="1"/>
                      <a:pt x="7"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5" name="Freeform 2431"/>
              <p:cNvSpPr>
                <a:spLocks/>
              </p:cNvSpPr>
              <p:nvPr/>
            </p:nvSpPr>
            <p:spPr bwMode="auto">
              <a:xfrm>
                <a:off x="3757613" y="3940176"/>
                <a:ext cx="1588" cy="1588"/>
              </a:xfrm>
              <a:custGeom>
                <a:avLst/>
                <a:gdLst>
                  <a:gd name="T0" fmla="*/ 0 w 3"/>
                  <a:gd name="T1" fmla="*/ 1 h 1"/>
                  <a:gd name="T2" fmla="*/ 0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lnTo>
                      <a:pt x="0" y="1"/>
                    </a:lnTo>
                    <a:cubicBezTo>
                      <a:pt x="1" y="1"/>
                      <a:pt x="2" y="1"/>
                      <a:pt x="3" y="1"/>
                    </a:cubicBezTo>
                    <a:cubicBezTo>
                      <a:pt x="2" y="0"/>
                      <a:pt x="1"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6" name="Freeform 2432"/>
              <p:cNvSpPr>
                <a:spLocks/>
              </p:cNvSpPr>
              <p:nvPr/>
            </p:nvSpPr>
            <p:spPr bwMode="auto">
              <a:xfrm>
                <a:off x="4259263" y="3941763"/>
                <a:ext cx="0" cy="0"/>
              </a:xfrm>
              <a:custGeom>
                <a:avLst/>
                <a:gdLst>
                  <a:gd name="T0" fmla="*/ 0 w 2"/>
                  <a:gd name="T1" fmla="*/ 1 h 1"/>
                  <a:gd name="T2" fmla="*/ 0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0" y="1"/>
                    </a:lnTo>
                    <a:cubicBezTo>
                      <a:pt x="0" y="1"/>
                      <a:pt x="1" y="1"/>
                      <a:pt x="2" y="1"/>
                    </a:cubicBezTo>
                    <a:cubicBezTo>
                      <a:pt x="2" y="1"/>
                      <a:pt x="2"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7" name="Rectangle 2433"/>
              <p:cNvSpPr>
                <a:spLocks noChangeArrowheads="1"/>
              </p:cNvSpPr>
              <p:nvPr/>
            </p:nvSpPr>
            <p:spPr bwMode="auto">
              <a:xfrm>
                <a:off x="4198938" y="3960813"/>
                <a:ext cx="1588" cy="1588"/>
              </a:xfrm>
              <a:prstGeom prst="rect">
                <a:avLst/>
              </a:prstGeom>
              <a:solidFill>
                <a:srgbClr val="6E6F73"/>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8" name="Freeform 2434"/>
              <p:cNvSpPr>
                <a:spLocks/>
              </p:cNvSpPr>
              <p:nvPr/>
            </p:nvSpPr>
            <p:spPr bwMode="auto">
              <a:xfrm>
                <a:off x="4198938" y="3960813"/>
                <a:ext cx="3175" cy="0"/>
              </a:xfrm>
              <a:custGeom>
                <a:avLst/>
                <a:gdLst>
                  <a:gd name="T0" fmla="*/ 10 w 10"/>
                  <a:gd name="T1" fmla="*/ 0 h 3"/>
                  <a:gd name="T2" fmla="*/ 10 w 10"/>
                  <a:gd name="T3" fmla="*/ 0 h 3"/>
                  <a:gd name="T4" fmla="*/ 0 w 10"/>
                  <a:gd name="T5" fmla="*/ 3 h 3"/>
                  <a:gd name="T6" fmla="*/ 10 w 10"/>
                  <a:gd name="T7" fmla="*/ 0 h 3"/>
                </a:gdLst>
                <a:ahLst/>
                <a:cxnLst>
                  <a:cxn ang="0">
                    <a:pos x="T0" y="T1"/>
                  </a:cxn>
                  <a:cxn ang="0">
                    <a:pos x="T2" y="T3"/>
                  </a:cxn>
                  <a:cxn ang="0">
                    <a:pos x="T4" y="T5"/>
                  </a:cxn>
                  <a:cxn ang="0">
                    <a:pos x="T6" y="T7"/>
                  </a:cxn>
                </a:cxnLst>
                <a:rect l="0" t="0" r="r" b="b"/>
                <a:pathLst>
                  <a:path w="10" h="3">
                    <a:moveTo>
                      <a:pt x="10" y="0"/>
                    </a:moveTo>
                    <a:lnTo>
                      <a:pt x="10" y="0"/>
                    </a:lnTo>
                    <a:cubicBezTo>
                      <a:pt x="7" y="0"/>
                      <a:pt x="2" y="2"/>
                      <a:pt x="0" y="3"/>
                    </a:cubicBezTo>
                    <a:cubicBezTo>
                      <a:pt x="3" y="3"/>
                      <a:pt x="6" y="3"/>
                      <a:pt x="1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99" name="Freeform 2435"/>
              <p:cNvSpPr>
                <a:spLocks/>
              </p:cNvSpPr>
              <p:nvPr/>
            </p:nvSpPr>
            <p:spPr bwMode="auto">
              <a:xfrm>
                <a:off x="4192588" y="3960813"/>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cubicBezTo>
                      <a:pt x="1" y="0"/>
                      <a:pt x="1" y="0"/>
                      <a:pt x="2" y="0"/>
                    </a:cubicBezTo>
                    <a:cubicBezTo>
                      <a:pt x="1"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0" name="Freeform 2436"/>
              <p:cNvSpPr>
                <a:spLocks/>
              </p:cNvSpPr>
              <p:nvPr/>
            </p:nvSpPr>
            <p:spPr bwMode="auto">
              <a:xfrm>
                <a:off x="4257676" y="3959226"/>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1" name="Freeform 2437"/>
              <p:cNvSpPr>
                <a:spLocks/>
              </p:cNvSpPr>
              <p:nvPr/>
            </p:nvSpPr>
            <p:spPr bwMode="auto">
              <a:xfrm>
                <a:off x="4243388" y="3959226"/>
                <a:ext cx="1588"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cubicBezTo>
                      <a:pt x="2" y="0"/>
                      <a:pt x="1" y="0"/>
                      <a:pt x="0" y="0"/>
                    </a:cubicBezTo>
                    <a:cubicBezTo>
                      <a:pt x="1" y="0"/>
                      <a:pt x="2" y="0"/>
                      <a:pt x="3"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2" name="Freeform 2438"/>
              <p:cNvSpPr>
                <a:spLocks/>
              </p:cNvSpPr>
              <p:nvPr/>
            </p:nvSpPr>
            <p:spPr bwMode="auto">
              <a:xfrm>
                <a:off x="4159251" y="3963988"/>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lnTo>
                      <a:pt x="1" y="0"/>
                    </a:lnTo>
                    <a:lnTo>
                      <a:pt x="1" y="0"/>
                    </a:lnTo>
                    <a:cubicBezTo>
                      <a:pt x="1" y="0"/>
                      <a:pt x="1" y="0"/>
                      <a:pt x="0" y="0"/>
                    </a:cubicBezTo>
                    <a:cubicBezTo>
                      <a:pt x="1" y="0"/>
                      <a:pt x="1" y="0"/>
                      <a:pt x="1"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3" name="Freeform 2439"/>
              <p:cNvSpPr>
                <a:spLocks/>
              </p:cNvSpPr>
              <p:nvPr/>
            </p:nvSpPr>
            <p:spPr bwMode="auto">
              <a:xfrm>
                <a:off x="3554413" y="3930651"/>
                <a:ext cx="973138" cy="41275"/>
              </a:xfrm>
              <a:custGeom>
                <a:avLst/>
                <a:gdLst>
                  <a:gd name="T0" fmla="*/ 1712 w 3100"/>
                  <a:gd name="T1" fmla="*/ 124 h 129"/>
                  <a:gd name="T2" fmla="*/ 1836 w 3100"/>
                  <a:gd name="T3" fmla="*/ 116 h 129"/>
                  <a:gd name="T4" fmla="*/ 1921 w 3100"/>
                  <a:gd name="T5" fmla="*/ 107 h 129"/>
                  <a:gd name="T6" fmla="*/ 1969 w 3100"/>
                  <a:gd name="T7" fmla="*/ 106 h 129"/>
                  <a:gd name="T8" fmla="*/ 2021 w 3100"/>
                  <a:gd name="T9" fmla="*/ 101 h 129"/>
                  <a:gd name="T10" fmla="*/ 2045 w 3100"/>
                  <a:gd name="T11" fmla="*/ 98 h 129"/>
                  <a:gd name="T12" fmla="*/ 2093 w 3100"/>
                  <a:gd name="T13" fmla="*/ 96 h 129"/>
                  <a:gd name="T14" fmla="*/ 2155 w 3100"/>
                  <a:gd name="T15" fmla="*/ 94 h 129"/>
                  <a:gd name="T16" fmla="*/ 2225 w 3100"/>
                  <a:gd name="T17" fmla="*/ 84 h 129"/>
                  <a:gd name="T18" fmla="*/ 2296 w 3100"/>
                  <a:gd name="T19" fmla="*/ 75 h 129"/>
                  <a:gd name="T20" fmla="*/ 2342 w 3100"/>
                  <a:gd name="T21" fmla="*/ 74 h 129"/>
                  <a:gd name="T22" fmla="*/ 2388 w 3100"/>
                  <a:gd name="T23" fmla="*/ 72 h 129"/>
                  <a:gd name="T24" fmla="*/ 2461 w 3100"/>
                  <a:gd name="T25" fmla="*/ 77 h 129"/>
                  <a:gd name="T26" fmla="*/ 2535 w 3100"/>
                  <a:gd name="T27" fmla="*/ 56 h 129"/>
                  <a:gd name="T28" fmla="*/ 2600 w 3100"/>
                  <a:gd name="T29" fmla="*/ 50 h 129"/>
                  <a:gd name="T30" fmla="*/ 2698 w 3100"/>
                  <a:gd name="T31" fmla="*/ 51 h 129"/>
                  <a:gd name="T32" fmla="*/ 2762 w 3100"/>
                  <a:gd name="T33" fmla="*/ 40 h 129"/>
                  <a:gd name="T34" fmla="*/ 2804 w 3100"/>
                  <a:gd name="T35" fmla="*/ 32 h 129"/>
                  <a:gd name="T36" fmla="*/ 2813 w 3100"/>
                  <a:gd name="T37" fmla="*/ 45 h 129"/>
                  <a:gd name="T38" fmla="*/ 2861 w 3100"/>
                  <a:gd name="T39" fmla="*/ 35 h 129"/>
                  <a:gd name="T40" fmla="*/ 2892 w 3100"/>
                  <a:gd name="T41" fmla="*/ 35 h 129"/>
                  <a:gd name="T42" fmla="*/ 2921 w 3100"/>
                  <a:gd name="T43" fmla="*/ 25 h 129"/>
                  <a:gd name="T44" fmla="*/ 3025 w 3100"/>
                  <a:gd name="T45" fmla="*/ 19 h 129"/>
                  <a:gd name="T46" fmla="*/ 3077 w 3100"/>
                  <a:gd name="T47" fmla="*/ 20 h 129"/>
                  <a:gd name="T48" fmla="*/ 3043 w 3100"/>
                  <a:gd name="T49" fmla="*/ 13 h 129"/>
                  <a:gd name="T50" fmla="*/ 2998 w 3100"/>
                  <a:gd name="T51" fmla="*/ 12 h 129"/>
                  <a:gd name="T52" fmla="*/ 2974 w 3100"/>
                  <a:gd name="T53" fmla="*/ 3 h 129"/>
                  <a:gd name="T54" fmla="*/ 2873 w 3100"/>
                  <a:gd name="T55" fmla="*/ 10 h 129"/>
                  <a:gd name="T56" fmla="*/ 2844 w 3100"/>
                  <a:gd name="T57" fmla="*/ 6 h 129"/>
                  <a:gd name="T58" fmla="*/ 2800 w 3100"/>
                  <a:gd name="T59" fmla="*/ 8 h 129"/>
                  <a:gd name="T60" fmla="*/ 2681 w 3100"/>
                  <a:gd name="T61" fmla="*/ 14 h 129"/>
                  <a:gd name="T62" fmla="*/ 2631 w 3100"/>
                  <a:gd name="T63" fmla="*/ 15 h 129"/>
                  <a:gd name="T64" fmla="*/ 2566 w 3100"/>
                  <a:gd name="T65" fmla="*/ 19 h 129"/>
                  <a:gd name="T66" fmla="*/ 2516 w 3100"/>
                  <a:gd name="T67" fmla="*/ 22 h 129"/>
                  <a:gd name="T68" fmla="*/ 2461 w 3100"/>
                  <a:gd name="T69" fmla="*/ 23 h 129"/>
                  <a:gd name="T70" fmla="*/ 2419 w 3100"/>
                  <a:gd name="T71" fmla="*/ 25 h 129"/>
                  <a:gd name="T72" fmla="*/ 2284 w 3100"/>
                  <a:gd name="T73" fmla="*/ 33 h 129"/>
                  <a:gd name="T74" fmla="*/ 2213 w 3100"/>
                  <a:gd name="T75" fmla="*/ 32 h 129"/>
                  <a:gd name="T76" fmla="*/ 2123 w 3100"/>
                  <a:gd name="T77" fmla="*/ 41 h 129"/>
                  <a:gd name="T78" fmla="*/ 2074 w 3100"/>
                  <a:gd name="T79" fmla="*/ 44 h 129"/>
                  <a:gd name="T80" fmla="*/ 1989 w 3100"/>
                  <a:gd name="T81" fmla="*/ 41 h 129"/>
                  <a:gd name="T82" fmla="*/ 1908 w 3100"/>
                  <a:gd name="T83" fmla="*/ 40 h 129"/>
                  <a:gd name="T84" fmla="*/ 1828 w 3100"/>
                  <a:gd name="T85" fmla="*/ 43 h 129"/>
                  <a:gd name="T86" fmla="*/ 1659 w 3100"/>
                  <a:gd name="T87" fmla="*/ 41 h 129"/>
                  <a:gd name="T88" fmla="*/ 1470 w 3100"/>
                  <a:gd name="T89" fmla="*/ 45 h 129"/>
                  <a:gd name="T90" fmla="*/ 1421 w 3100"/>
                  <a:gd name="T91" fmla="*/ 49 h 129"/>
                  <a:gd name="T92" fmla="*/ 1353 w 3100"/>
                  <a:gd name="T93" fmla="*/ 49 h 129"/>
                  <a:gd name="T94" fmla="*/ 1260 w 3100"/>
                  <a:gd name="T95" fmla="*/ 43 h 129"/>
                  <a:gd name="T96" fmla="*/ 1035 w 3100"/>
                  <a:gd name="T97" fmla="*/ 38 h 129"/>
                  <a:gd name="T98" fmla="*/ 872 w 3100"/>
                  <a:gd name="T99" fmla="*/ 37 h 129"/>
                  <a:gd name="T100" fmla="*/ 680 w 3100"/>
                  <a:gd name="T101" fmla="*/ 33 h 129"/>
                  <a:gd name="T102" fmla="*/ 26 w 3100"/>
                  <a:gd name="T103" fmla="*/ 36 h 129"/>
                  <a:gd name="T104" fmla="*/ 23 w 3100"/>
                  <a:gd name="T105" fmla="*/ 53 h 129"/>
                  <a:gd name="T106" fmla="*/ 50 w 3100"/>
                  <a:gd name="T107" fmla="*/ 54 h 129"/>
                  <a:gd name="T108" fmla="*/ 115 w 3100"/>
                  <a:gd name="T109" fmla="*/ 65 h 129"/>
                  <a:gd name="T110" fmla="*/ 159 w 3100"/>
                  <a:gd name="T111" fmla="*/ 72 h 129"/>
                  <a:gd name="T112" fmla="*/ 425 w 3100"/>
                  <a:gd name="T113" fmla="*/ 97 h 129"/>
                  <a:gd name="T114" fmla="*/ 941 w 3100"/>
                  <a:gd name="T115" fmla="*/ 114 h 129"/>
                  <a:gd name="T116" fmla="*/ 1003 w 3100"/>
                  <a:gd name="T117" fmla="*/ 117 h 129"/>
                  <a:gd name="T118" fmla="*/ 1214 w 3100"/>
                  <a:gd name="T119" fmla="*/ 118 h 129"/>
                  <a:gd name="T120" fmla="*/ 1248 w 3100"/>
                  <a:gd name="T121" fmla="*/ 123 h 129"/>
                  <a:gd name="T122" fmla="*/ 1355 w 3100"/>
                  <a:gd name="T123" fmla="*/ 122 h 129"/>
                  <a:gd name="T124" fmla="*/ 1461 w 3100"/>
                  <a:gd name="T125"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0" h="129">
                    <a:moveTo>
                      <a:pt x="1539" y="128"/>
                    </a:moveTo>
                    <a:lnTo>
                      <a:pt x="1539" y="128"/>
                    </a:lnTo>
                    <a:cubicBezTo>
                      <a:pt x="1578" y="127"/>
                      <a:pt x="1629" y="123"/>
                      <a:pt x="1667" y="123"/>
                    </a:cubicBezTo>
                    <a:cubicBezTo>
                      <a:pt x="1676" y="119"/>
                      <a:pt x="1688" y="119"/>
                      <a:pt x="1700" y="118"/>
                    </a:cubicBezTo>
                    <a:lnTo>
                      <a:pt x="1702" y="123"/>
                    </a:lnTo>
                    <a:lnTo>
                      <a:pt x="1712" y="121"/>
                    </a:lnTo>
                    <a:cubicBezTo>
                      <a:pt x="1716" y="123"/>
                      <a:pt x="1704" y="123"/>
                      <a:pt x="1712" y="124"/>
                    </a:cubicBezTo>
                    <a:lnTo>
                      <a:pt x="1716" y="121"/>
                    </a:lnTo>
                    <a:cubicBezTo>
                      <a:pt x="1716" y="123"/>
                      <a:pt x="1742" y="122"/>
                      <a:pt x="1725" y="126"/>
                    </a:cubicBezTo>
                    <a:lnTo>
                      <a:pt x="1765" y="126"/>
                    </a:lnTo>
                    <a:cubicBezTo>
                      <a:pt x="1774" y="125"/>
                      <a:pt x="1770" y="121"/>
                      <a:pt x="1780" y="122"/>
                    </a:cubicBezTo>
                    <a:cubicBezTo>
                      <a:pt x="1782" y="124"/>
                      <a:pt x="1776" y="123"/>
                      <a:pt x="1777" y="125"/>
                    </a:cubicBezTo>
                    <a:cubicBezTo>
                      <a:pt x="1807" y="128"/>
                      <a:pt x="1811" y="114"/>
                      <a:pt x="1839" y="116"/>
                    </a:cubicBezTo>
                    <a:lnTo>
                      <a:pt x="1836" y="116"/>
                    </a:lnTo>
                    <a:cubicBezTo>
                      <a:pt x="1841" y="115"/>
                      <a:pt x="1850" y="115"/>
                      <a:pt x="1850" y="114"/>
                    </a:cubicBezTo>
                    <a:cubicBezTo>
                      <a:pt x="1846" y="109"/>
                      <a:pt x="1845" y="117"/>
                      <a:pt x="1837" y="114"/>
                    </a:cubicBezTo>
                    <a:cubicBezTo>
                      <a:pt x="1837" y="109"/>
                      <a:pt x="1847" y="111"/>
                      <a:pt x="1846" y="108"/>
                    </a:cubicBezTo>
                    <a:cubicBezTo>
                      <a:pt x="1853" y="109"/>
                      <a:pt x="1856" y="107"/>
                      <a:pt x="1862" y="106"/>
                    </a:cubicBezTo>
                    <a:cubicBezTo>
                      <a:pt x="1872" y="109"/>
                      <a:pt x="1885" y="106"/>
                      <a:pt x="1893" y="110"/>
                    </a:cubicBezTo>
                    <a:cubicBezTo>
                      <a:pt x="1897" y="108"/>
                      <a:pt x="1902" y="103"/>
                      <a:pt x="1912" y="103"/>
                    </a:cubicBezTo>
                    <a:cubicBezTo>
                      <a:pt x="1920" y="106"/>
                      <a:pt x="1911" y="106"/>
                      <a:pt x="1921" y="107"/>
                    </a:cubicBezTo>
                    <a:lnTo>
                      <a:pt x="1922" y="105"/>
                    </a:lnTo>
                    <a:cubicBezTo>
                      <a:pt x="1930" y="105"/>
                      <a:pt x="1929" y="106"/>
                      <a:pt x="1929" y="107"/>
                    </a:cubicBezTo>
                    <a:cubicBezTo>
                      <a:pt x="1937" y="107"/>
                      <a:pt x="1936" y="103"/>
                      <a:pt x="1947" y="104"/>
                    </a:cubicBezTo>
                    <a:lnTo>
                      <a:pt x="1941" y="107"/>
                    </a:lnTo>
                    <a:cubicBezTo>
                      <a:pt x="1949" y="106"/>
                      <a:pt x="1952" y="106"/>
                      <a:pt x="1963" y="106"/>
                    </a:cubicBezTo>
                    <a:cubicBezTo>
                      <a:pt x="1963" y="108"/>
                      <a:pt x="1958" y="108"/>
                      <a:pt x="1955" y="107"/>
                    </a:cubicBezTo>
                    <a:cubicBezTo>
                      <a:pt x="1961" y="111"/>
                      <a:pt x="1965" y="105"/>
                      <a:pt x="1969" y="106"/>
                    </a:cubicBezTo>
                    <a:cubicBezTo>
                      <a:pt x="1968" y="104"/>
                      <a:pt x="1960" y="104"/>
                      <a:pt x="1964" y="101"/>
                    </a:cubicBezTo>
                    <a:cubicBezTo>
                      <a:pt x="1969" y="102"/>
                      <a:pt x="1975" y="97"/>
                      <a:pt x="1979" y="100"/>
                    </a:cubicBezTo>
                    <a:lnTo>
                      <a:pt x="1973" y="103"/>
                    </a:lnTo>
                    <a:cubicBezTo>
                      <a:pt x="1985" y="100"/>
                      <a:pt x="1979" y="99"/>
                      <a:pt x="1993" y="100"/>
                    </a:cubicBezTo>
                    <a:cubicBezTo>
                      <a:pt x="1992" y="100"/>
                      <a:pt x="1992" y="101"/>
                      <a:pt x="1992" y="101"/>
                    </a:cubicBezTo>
                    <a:cubicBezTo>
                      <a:pt x="2000" y="98"/>
                      <a:pt x="2011" y="100"/>
                      <a:pt x="2024" y="100"/>
                    </a:cubicBezTo>
                    <a:lnTo>
                      <a:pt x="2021" y="101"/>
                    </a:lnTo>
                    <a:cubicBezTo>
                      <a:pt x="2026" y="100"/>
                      <a:pt x="2029" y="97"/>
                      <a:pt x="2031" y="97"/>
                    </a:cubicBezTo>
                    <a:cubicBezTo>
                      <a:pt x="2024" y="96"/>
                      <a:pt x="2026" y="95"/>
                      <a:pt x="2025" y="93"/>
                    </a:cubicBezTo>
                    <a:cubicBezTo>
                      <a:pt x="2035" y="97"/>
                      <a:pt x="2039" y="87"/>
                      <a:pt x="2055" y="89"/>
                    </a:cubicBezTo>
                    <a:cubicBezTo>
                      <a:pt x="2055" y="90"/>
                      <a:pt x="2051" y="92"/>
                      <a:pt x="2047" y="91"/>
                    </a:cubicBezTo>
                    <a:cubicBezTo>
                      <a:pt x="2042" y="96"/>
                      <a:pt x="2041" y="100"/>
                      <a:pt x="2032" y="102"/>
                    </a:cubicBezTo>
                    <a:cubicBezTo>
                      <a:pt x="2038" y="101"/>
                      <a:pt x="2045" y="100"/>
                      <a:pt x="2043" y="102"/>
                    </a:cubicBezTo>
                    <a:lnTo>
                      <a:pt x="2045" y="98"/>
                    </a:lnTo>
                    <a:cubicBezTo>
                      <a:pt x="2048" y="97"/>
                      <a:pt x="2051" y="97"/>
                      <a:pt x="2054" y="97"/>
                    </a:cubicBezTo>
                    <a:cubicBezTo>
                      <a:pt x="2055" y="95"/>
                      <a:pt x="2046" y="93"/>
                      <a:pt x="2054" y="91"/>
                    </a:cubicBezTo>
                    <a:cubicBezTo>
                      <a:pt x="2063" y="89"/>
                      <a:pt x="2059" y="95"/>
                      <a:pt x="2061" y="93"/>
                    </a:cubicBezTo>
                    <a:cubicBezTo>
                      <a:pt x="2073" y="91"/>
                      <a:pt x="2066" y="88"/>
                      <a:pt x="2078" y="89"/>
                    </a:cubicBezTo>
                    <a:cubicBezTo>
                      <a:pt x="2077" y="90"/>
                      <a:pt x="2074" y="90"/>
                      <a:pt x="2073" y="90"/>
                    </a:cubicBezTo>
                    <a:cubicBezTo>
                      <a:pt x="2082" y="91"/>
                      <a:pt x="2095" y="88"/>
                      <a:pt x="2097" y="93"/>
                    </a:cubicBezTo>
                    <a:cubicBezTo>
                      <a:pt x="2096" y="94"/>
                      <a:pt x="2096" y="96"/>
                      <a:pt x="2093" y="96"/>
                    </a:cubicBezTo>
                    <a:lnTo>
                      <a:pt x="2093" y="95"/>
                    </a:lnTo>
                    <a:cubicBezTo>
                      <a:pt x="2083" y="99"/>
                      <a:pt x="2101" y="93"/>
                      <a:pt x="2098" y="98"/>
                    </a:cubicBezTo>
                    <a:cubicBezTo>
                      <a:pt x="2097" y="95"/>
                      <a:pt x="2109" y="95"/>
                      <a:pt x="2115" y="96"/>
                    </a:cubicBezTo>
                    <a:lnTo>
                      <a:pt x="2113" y="93"/>
                    </a:lnTo>
                    <a:cubicBezTo>
                      <a:pt x="2131" y="82"/>
                      <a:pt x="2112" y="99"/>
                      <a:pt x="2130" y="97"/>
                    </a:cubicBezTo>
                    <a:cubicBezTo>
                      <a:pt x="2142" y="94"/>
                      <a:pt x="2126" y="96"/>
                      <a:pt x="2133" y="93"/>
                    </a:cubicBezTo>
                    <a:cubicBezTo>
                      <a:pt x="2140" y="94"/>
                      <a:pt x="2144" y="96"/>
                      <a:pt x="2155" y="94"/>
                    </a:cubicBezTo>
                    <a:cubicBezTo>
                      <a:pt x="2158" y="95"/>
                      <a:pt x="2164" y="97"/>
                      <a:pt x="2165" y="100"/>
                    </a:cubicBezTo>
                    <a:cubicBezTo>
                      <a:pt x="2172" y="98"/>
                      <a:pt x="2186" y="100"/>
                      <a:pt x="2190" y="97"/>
                    </a:cubicBezTo>
                    <a:cubicBezTo>
                      <a:pt x="2178" y="94"/>
                      <a:pt x="2178" y="101"/>
                      <a:pt x="2164" y="97"/>
                    </a:cubicBezTo>
                    <a:lnTo>
                      <a:pt x="2168" y="94"/>
                    </a:lnTo>
                    <a:cubicBezTo>
                      <a:pt x="2178" y="93"/>
                      <a:pt x="2190" y="91"/>
                      <a:pt x="2196" y="92"/>
                    </a:cubicBezTo>
                    <a:cubicBezTo>
                      <a:pt x="2195" y="91"/>
                      <a:pt x="2194" y="90"/>
                      <a:pt x="2195" y="89"/>
                    </a:cubicBezTo>
                    <a:cubicBezTo>
                      <a:pt x="2208" y="87"/>
                      <a:pt x="2212" y="84"/>
                      <a:pt x="2225" y="84"/>
                    </a:cubicBezTo>
                    <a:cubicBezTo>
                      <a:pt x="2227" y="87"/>
                      <a:pt x="2219" y="87"/>
                      <a:pt x="2214" y="87"/>
                    </a:cubicBezTo>
                    <a:cubicBezTo>
                      <a:pt x="2223" y="89"/>
                      <a:pt x="2223" y="87"/>
                      <a:pt x="2236" y="87"/>
                    </a:cubicBezTo>
                    <a:cubicBezTo>
                      <a:pt x="2237" y="90"/>
                      <a:pt x="2227" y="88"/>
                      <a:pt x="2226" y="90"/>
                    </a:cubicBezTo>
                    <a:lnTo>
                      <a:pt x="2240" y="89"/>
                    </a:lnTo>
                    <a:cubicBezTo>
                      <a:pt x="2240" y="89"/>
                      <a:pt x="2240" y="89"/>
                      <a:pt x="2240" y="89"/>
                    </a:cubicBezTo>
                    <a:cubicBezTo>
                      <a:pt x="2242" y="84"/>
                      <a:pt x="2251" y="89"/>
                      <a:pt x="2260" y="87"/>
                    </a:cubicBezTo>
                    <a:cubicBezTo>
                      <a:pt x="2281" y="86"/>
                      <a:pt x="2284" y="79"/>
                      <a:pt x="2296" y="75"/>
                    </a:cubicBezTo>
                    <a:cubicBezTo>
                      <a:pt x="2299" y="76"/>
                      <a:pt x="2300" y="77"/>
                      <a:pt x="2299" y="78"/>
                    </a:cubicBezTo>
                    <a:cubicBezTo>
                      <a:pt x="2293" y="76"/>
                      <a:pt x="2294" y="78"/>
                      <a:pt x="2293" y="79"/>
                    </a:cubicBezTo>
                    <a:cubicBezTo>
                      <a:pt x="2300" y="78"/>
                      <a:pt x="2308" y="83"/>
                      <a:pt x="2305" y="85"/>
                    </a:cubicBezTo>
                    <a:cubicBezTo>
                      <a:pt x="2316" y="83"/>
                      <a:pt x="2300" y="83"/>
                      <a:pt x="2307" y="81"/>
                    </a:cubicBezTo>
                    <a:lnTo>
                      <a:pt x="2323" y="80"/>
                    </a:lnTo>
                    <a:cubicBezTo>
                      <a:pt x="2321" y="78"/>
                      <a:pt x="2315" y="78"/>
                      <a:pt x="2323" y="75"/>
                    </a:cubicBezTo>
                    <a:cubicBezTo>
                      <a:pt x="2330" y="74"/>
                      <a:pt x="2333" y="75"/>
                      <a:pt x="2342" y="74"/>
                    </a:cubicBezTo>
                    <a:cubicBezTo>
                      <a:pt x="2341" y="75"/>
                      <a:pt x="2345" y="78"/>
                      <a:pt x="2338" y="78"/>
                    </a:cubicBezTo>
                    <a:cubicBezTo>
                      <a:pt x="2343" y="78"/>
                      <a:pt x="2349" y="78"/>
                      <a:pt x="2352" y="76"/>
                    </a:cubicBezTo>
                    <a:cubicBezTo>
                      <a:pt x="2342" y="74"/>
                      <a:pt x="2367" y="73"/>
                      <a:pt x="2360" y="69"/>
                    </a:cubicBezTo>
                    <a:lnTo>
                      <a:pt x="2370" y="71"/>
                    </a:lnTo>
                    <a:cubicBezTo>
                      <a:pt x="2368" y="71"/>
                      <a:pt x="2367" y="73"/>
                      <a:pt x="2364" y="72"/>
                    </a:cubicBezTo>
                    <a:cubicBezTo>
                      <a:pt x="2367" y="76"/>
                      <a:pt x="2372" y="71"/>
                      <a:pt x="2375" y="70"/>
                    </a:cubicBezTo>
                    <a:cubicBezTo>
                      <a:pt x="2379" y="71"/>
                      <a:pt x="2388" y="70"/>
                      <a:pt x="2388" y="72"/>
                    </a:cubicBezTo>
                    <a:cubicBezTo>
                      <a:pt x="2391" y="71"/>
                      <a:pt x="2399" y="71"/>
                      <a:pt x="2400" y="73"/>
                    </a:cubicBezTo>
                    <a:cubicBezTo>
                      <a:pt x="2405" y="72"/>
                      <a:pt x="2401" y="70"/>
                      <a:pt x="2402" y="69"/>
                    </a:cubicBezTo>
                    <a:lnTo>
                      <a:pt x="2417" y="68"/>
                    </a:lnTo>
                    <a:cubicBezTo>
                      <a:pt x="2418" y="70"/>
                      <a:pt x="2420" y="76"/>
                      <a:pt x="2418" y="76"/>
                    </a:cubicBezTo>
                    <a:cubicBezTo>
                      <a:pt x="2423" y="74"/>
                      <a:pt x="2419" y="71"/>
                      <a:pt x="2428" y="70"/>
                    </a:cubicBezTo>
                    <a:cubicBezTo>
                      <a:pt x="2423" y="74"/>
                      <a:pt x="2440" y="72"/>
                      <a:pt x="2433" y="77"/>
                    </a:cubicBezTo>
                    <a:cubicBezTo>
                      <a:pt x="2438" y="80"/>
                      <a:pt x="2453" y="79"/>
                      <a:pt x="2461" y="77"/>
                    </a:cubicBezTo>
                    <a:cubicBezTo>
                      <a:pt x="2465" y="74"/>
                      <a:pt x="2452" y="76"/>
                      <a:pt x="2452" y="73"/>
                    </a:cubicBezTo>
                    <a:cubicBezTo>
                      <a:pt x="2475" y="70"/>
                      <a:pt x="2475" y="62"/>
                      <a:pt x="2492" y="62"/>
                    </a:cubicBezTo>
                    <a:lnTo>
                      <a:pt x="2487" y="61"/>
                    </a:lnTo>
                    <a:cubicBezTo>
                      <a:pt x="2498" y="59"/>
                      <a:pt x="2496" y="59"/>
                      <a:pt x="2502" y="56"/>
                    </a:cubicBezTo>
                    <a:cubicBezTo>
                      <a:pt x="2500" y="60"/>
                      <a:pt x="2515" y="66"/>
                      <a:pt x="2531" y="64"/>
                    </a:cubicBezTo>
                    <a:cubicBezTo>
                      <a:pt x="2533" y="62"/>
                      <a:pt x="2522" y="61"/>
                      <a:pt x="2524" y="58"/>
                    </a:cubicBezTo>
                    <a:lnTo>
                      <a:pt x="2535" y="56"/>
                    </a:lnTo>
                    <a:cubicBezTo>
                      <a:pt x="2536" y="56"/>
                      <a:pt x="2535" y="57"/>
                      <a:pt x="2534" y="58"/>
                    </a:cubicBezTo>
                    <a:cubicBezTo>
                      <a:pt x="2543" y="56"/>
                      <a:pt x="2553" y="61"/>
                      <a:pt x="2555" y="57"/>
                    </a:cubicBezTo>
                    <a:lnTo>
                      <a:pt x="2566" y="62"/>
                    </a:lnTo>
                    <a:lnTo>
                      <a:pt x="2561" y="59"/>
                    </a:lnTo>
                    <a:cubicBezTo>
                      <a:pt x="2563" y="57"/>
                      <a:pt x="2574" y="56"/>
                      <a:pt x="2576" y="55"/>
                    </a:cubicBezTo>
                    <a:cubicBezTo>
                      <a:pt x="2587" y="52"/>
                      <a:pt x="2592" y="54"/>
                      <a:pt x="2598" y="56"/>
                    </a:cubicBezTo>
                    <a:cubicBezTo>
                      <a:pt x="2596" y="54"/>
                      <a:pt x="2591" y="51"/>
                      <a:pt x="2600" y="50"/>
                    </a:cubicBezTo>
                    <a:cubicBezTo>
                      <a:pt x="2600" y="56"/>
                      <a:pt x="2619" y="51"/>
                      <a:pt x="2619" y="54"/>
                    </a:cubicBezTo>
                    <a:cubicBezTo>
                      <a:pt x="2622" y="53"/>
                      <a:pt x="2629" y="55"/>
                      <a:pt x="2629" y="52"/>
                    </a:cubicBezTo>
                    <a:lnTo>
                      <a:pt x="2629" y="56"/>
                    </a:lnTo>
                    <a:cubicBezTo>
                      <a:pt x="2629" y="51"/>
                      <a:pt x="2643" y="50"/>
                      <a:pt x="2653" y="48"/>
                    </a:cubicBezTo>
                    <a:cubicBezTo>
                      <a:pt x="2651" y="56"/>
                      <a:pt x="2664" y="47"/>
                      <a:pt x="2669" y="53"/>
                    </a:cubicBezTo>
                    <a:cubicBezTo>
                      <a:pt x="2670" y="48"/>
                      <a:pt x="2687" y="50"/>
                      <a:pt x="2688" y="46"/>
                    </a:cubicBezTo>
                    <a:cubicBezTo>
                      <a:pt x="2696" y="45"/>
                      <a:pt x="2696" y="49"/>
                      <a:pt x="2698" y="51"/>
                    </a:cubicBezTo>
                    <a:lnTo>
                      <a:pt x="2701" y="49"/>
                    </a:lnTo>
                    <a:cubicBezTo>
                      <a:pt x="2705" y="51"/>
                      <a:pt x="2720" y="50"/>
                      <a:pt x="2729" y="51"/>
                    </a:cubicBezTo>
                    <a:lnTo>
                      <a:pt x="2737" y="46"/>
                    </a:lnTo>
                    <a:lnTo>
                      <a:pt x="2740" y="48"/>
                    </a:lnTo>
                    <a:cubicBezTo>
                      <a:pt x="2741" y="47"/>
                      <a:pt x="2748" y="45"/>
                      <a:pt x="2743" y="44"/>
                    </a:cubicBezTo>
                    <a:lnTo>
                      <a:pt x="2748" y="44"/>
                    </a:lnTo>
                    <a:cubicBezTo>
                      <a:pt x="2748" y="39"/>
                      <a:pt x="2754" y="42"/>
                      <a:pt x="2762" y="40"/>
                    </a:cubicBezTo>
                    <a:cubicBezTo>
                      <a:pt x="2765" y="40"/>
                      <a:pt x="2764" y="41"/>
                      <a:pt x="2762" y="42"/>
                    </a:cubicBezTo>
                    <a:cubicBezTo>
                      <a:pt x="2767" y="42"/>
                      <a:pt x="2765" y="44"/>
                      <a:pt x="2767" y="46"/>
                    </a:cubicBezTo>
                    <a:cubicBezTo>
                      <a:pt x="2764" y="45"/>
                      <a:pt x="2783" y="36"/>
                      <a:pt x="2771" y="35"/>
                    </a:cubicBezTo>
                    <a:cubicBezTo>
                      <a:pt x="2770" y="33"/>
                      <a:pt x="2776" y="31"/>
                      <a:pt x="2781" y="31"/>
                    </a:cubicBezTo>
                    <a:lnTo>
                      <a:pt x="2784" y="36"/>
                    </a:lnTo>
                    <a:lnTo>
                      <a:pt x="2789" y="31"/>
                    </a:lnTo>
                    <a:cubicBezTo>
                      <a:pt x="2795" y="29"/>
                      <a:pt x="2798" y="32"/>
                      <a:pt x="2804" y="32"/>
                    </a:cubicBezTo>
                    <a:cubicBezTo>
                      <a:pt x="2798" y="33"/>
                      <a:pt x="2792" y="41"/>
                      <a:pt x="2806" y="40"/>
                    </a:cubicBezTo>
                    <a:cubicBezTo>
                      <a:pt x="2799" y="41"/>
                      <a:pt x="2795" y="44"/>
                      <a:pt x="2792" y="45"/>
                    </a:cubicBezTo>
                    <a:cubicBezTo>
                      <a:pt x="2795" y="45"/>
                      <a:pt x="2796" y="45"/>
                      <a:pt x="2792" y="48"/>
                    </a:cubicBezTo>
                    <a:cubicBezTo>
                      <a:pt x="2803" y="45"/>
                      <a:pt x="2795" y="45"/>
                      <a:pt x="2806" y="43"/>
                    </a:cubicBezTo>
                    <a:cubicBezTo>
                      <a:pt x="2806" y="47"/>
                      <a:pt x="2809" y="48"/>
                      <a:pt x="2819" y="49"/>
                    </a:cubicBezTo>
                    <a:lnTo>
                      <a:pt x="2811" y="46"/>
                    </a:lnTo>
                    <a:cubicBezTo>
                      <a:pt x="2812" y="46"/>
                      <a:pt x="2812" y="46"/>
                      <a:pt x="2813" y="45"/>
                    </a:cubicBezTo>
                    <a:cubicBezTo>
                      <a:pt x="2810" y="45"/>
                      <a:pt x="2809" y="45"/>
                      <a:pt x="2808" y="43"/>
                    </a:cubicBezTo>
                    <a:cubicBezTo>
                      <a:pt x="2811" y="43"/>
                      <a:pt x="2821" y="37"/>
                      <a:pt x="2823" y="39"/>
                    </a:cubicBezTo>
                    <a:cubicBezTo>
                      <a:pt x="2811" y="34"/>
                      <a:pt x="2842" y="33"/>
                      <a:pt x="2835" y="30"/>
                    </a:cubicBezTo>
                    <a:cubicBezTo>
                      <a:pt x="2836" y="29"/>
                      <a:pt x="2844" y="28"/>
                      <a:pt x="2845" y="30"/>
                    </a:cubicBezTo>
                    <a:cubicBezTo>
                      <a:pt x="2836" y="34"/>
                      <a:pt x="2852" y="34"/>
                      <a:pt x="2851" y="37"/>
                    </a:cubicBezTo>
                    <a:cubicBezTo>
                      <a:pt x="2854" y="35"/>
                      <a:pt x="2843" y="34"/>
                      <a:pt x="2848" y="33"/>
                    </a:cubicBezTo>
                    <a:cubicBezTo>
                      <a:pt x="2853" y="32"/>
                      <a:pt x="2858" y="34"/>
                      <a:pt x="2861" y="35"/>
                    </a:cubicBezTo>
                    <a:lnTo>
                      <a:pt x="2859" y="36"/>
                    </a:lnTo>
                    <a:lnTo>
                      <a:pt x="2867" y="37"/>
                    </a:lnTo>
                    <a:cubicBezTo>
                      <a:pt x="2869" y="35"/>
                      <a:pt x="2859" y="34"/>
                      <a:pt x="2867" y="33"/>
                    </a:cubicBezTo>
                    <a:cubicBezTo>
                      <a:pt x="2869" y="33"/>
                      <a:pt x="2877" y="32"/>
                      <a:pt x="2876" y="33"/>
                    </a:cubicBezTo>
                    <a:cubicBezTo>
                      <a:pt x="2873" y="36"/>
                      <a:pt x="2876" y="39"/>
                      <a:pt x="2869" y="41"/>
                    </a:cubicBezTo>
                    <a:cubicBezTo>
                      <a:pt x="2875" y="40"/>
                      <a:pt x="2893" y="38"/>
                      <a:pt x="2885" y="35"/>
                    </a:cubicBezTo>
                    <a:lnTo>
                      <a:pt x="2892" y="35"/>
                    </a:lnTo>
                    <a:cubicBezTo>
                      <a:pt x="2887" y="33"/>
                      <a:pt x="2875" y="31"/>
                      <a:pt x="2889" y="30"/>
                    </a:cubicBezTo>
                    <a:lnTo>
                      <a:pt x="2889" y="31"/>
                    </a:lnTo>
                    <a:lnTo>
                      <a:pt x="2898" y="27"/>
                    </a:lnTo>
                    <a:lnTo>
                      <a:pt x="2902" y="29"/>
                    </a:lnTo>
                    <a:cubicBezTo>
                      <a:pt x="2902" y="28"/>
                      <a:pt x="2903" y="27"/>
                      <a:pt x="2907" y="26"/>
                    </a:cubicBezTo>
                    <a:cubicBezTo>
                      <a:pt x="2908" y="27"/>
                      <a:pt x="2911" y="28"/>
                      <a:pt x="2911" y="29"/>
                    </a:cubicBezTo>
                    <a:cubicBezTo>
                      <a:pt x="2921" y="28"/>
                      <a:pt x="2920" y="26"/>
                      <a:pt x="2921" y="25"/>
                    </a:cubicBezTo>
                    <a:cubicBezTo>
                      <a:pt x="2927" y="24"/>
                      <a:pt x="2929" y="25"/>
                      <a:pt x="2926" y="27"/>
                    </a:cubicBezTo>
                    <a:cubicBezTo>
                      <a:pt x="2934" y="27"/>
                      <a:pt x="2947" y="26"/>
                      <a:pt x="2953" y="27"/>
                    </a:cubicBezTo>
                    <a:cubicBezTo>
                      <a:pt x="2963" y="25"/>
                      <a:pt x="2951" y="27"/>
                      <a:pt x="2956" y="24"/>
                    </a:cubicBezTo>
                    <a:cubicBezTo>
                      <a:pt x="2966" y="30"/>
                      <a:pt x="2991" y="24"/>
                      <a:pt x="3007" y="21"/>
                    </a:cubicBezTo>
                    <a:cubicBezTo>
                      <a:pt x="3002" y="16"/>
                      <a:pt x="3012" y="20"/>
                      <a:pt x="3014" y="15"/>
                    </a:cubicBezTo>
                    <a:cubicBezTo>
                      <a:pt x="3011" y="17"/>
                      <a:pt x="3031" y="18"/>
                      <a:pt x="3016" y="21"/>
                    </a:cubicBezTo>
                    <a:lnTo>
                      <a:pt x="3025" y="19"/>
                    </a:lnTo>
                    <a:cubicBezTo>
                      <a:pt x="3031" y="22"/>
                      <a:pt x="3010" y="23"/>
                      <a:pt x="3020" y="27"/>
                    </a:cubicBezTo>
                    <a:cubicBezTo>
                      <a:pt x="3030" y="26"/>
                      <a:pt x="3036" y="19"/>
                      <a:pt x="3048" y="20"/>
                    </a:cubicBezTo>
                    <a:cubicBezTo>
                      <a:pt x="3044" y="24"/>
                      <a:pt x="3057" y="18"/>
                      <a:pt x="3054" y="23"/>
                    </a:cubicBezTo>
                    <a:cubicBezTo>
                      <a:pt x="3052" y="24"/>
                      <a:pt x="3049" y="24"/>
                      <a:pt x="3045" y="25"/>
                    </a:cubicBezTo>
                    <a:lnTo>
                      <a:pt x="3048" y="25"/>
                    </a:lnTo>
                    <a:cubicBezTo>
                      <a:pt x="3070" y="25"/>
                      <a:pt x="3054" y="20"/>
                      <a:pt x="3065" y="16"/>
                    </a:cubicBezTo>
                    <a:cubicBezTo>
                      <a:pt x="3078" y="14"/>
                      <a:pt x="3076" y="18"/>
                      <a:pt x="3077" y="20"/>
                    </a:cubicBezTo>
                    <a:cubicBezTo>
                      <a:pt x="3079" y="21"/>
                      <a:pt x="3085" y="20"/>
                      <a:pt x="3089" y="18"/>
                    </a:cubicBezTo>
                    <a:cubicBezTo>
                      <a:pt x="3081" y="22"/>
                      <a:pt x="3074" y="17"/>
                      <a:pt x="3077" y="14"/>
                    </a:cubicBezTo>
                    <a:cubicBezTo>
                      <a:pt x="3083" y="18"/>
                      <a:pt x="3097" y="13"/>
                      <a:pt x="3100" y="11"/>
                    </a:cubicBezTo>
                    <a:cubicBezTo>
                      <a:pt x="3081" y="7"/>
                      <a:pt x="3087" y="11"/>
                      <a:pt x="3069" y="8"/>
                    </a:cubicBezTo>
                    <a:cubicBezTo>
                      <a:pt x="3066" y="9"/>
                      <a:pt x="3067" y="14"/>
                      <a:pt x="3056" y="13"/>
                    </a:cubicBezTo>
                    <a:cubicBezTo>
                      <a:pt x="3063" y="10"/>
                      <a:pt x="3056" y="10"/>
                      <a:pt x="3054" y="10"/>
                    </a:cubicBezTo>
                    <a:cubicBezTo>
                      <a:pt x="3056" y="12"/>
                      <a:pt x="3046" y="11"/>
                      <a:pt x="3043" y="13"/>
                    </a:cubicBezTo>
                    <a:cubicBezTo>
                      <a:pt x="3040" y="11"/>
                      <a:pt x="3049" y="7"/>
                      <a:pt x="3038" y="6"/>
                    </a:cubicBezTo>
                    <a:lnTo>
                      <a:pt x="3036" y="12"/>
                    </a:lnTo>
                    <a:cubicBezTo>
                      <a:pt x="3032" y="12"/>
                      <a:pt x="3038" y="8"/>
                      <a:pt x="3029" y="10"/>
                    </a:cubicBezTo>
                    <a:cubicBezTo>
                      <a:pt x="3034" y="7"/>
                      <a:pt x="3027" y="6"/>
                      <a:pt x="3039" y="4"/>
                    </a:cubicBezTo>
                    <a:cubicBezTo>
                      <a:pt x="3024" y="0"/>
                      <a:pt x="3017" y="8"/>
                      <a:pt x="3006" y="11"/>
                    </a:cubicBezTo>
                    <a:cubicBezTo>
                      <a:pt x="3007" y="11"/>
                      <a:pt x="3007" y="10"/>
                      <a:pt x="3008" y="10"/>
                    </a:cubicBezTo>
                    <a:cubicBezTo>
                      <a:pt x="3006" y="11"/>
                      <a:pt x="3001" y="12"/>
                      <a:pt x="2998" y="12"/>
                    </a:cubicBezTo>
                    <a:cubicBezTo>
                      <a:pt x="2990" y="11"/>
                      <a:pt x="3004" y="9"/>
                      <a:pt x="3002" y="8"/>
                    </a:cubicBezTo>
                    <a:lnTo>
                      <a:pt x="2989" y="9"/>
                    </a:lnTo>
                    <a:cubicBezTo>
                      <a:pt x="2989" y="9"/>
                      <a:pt x="2989" y="9"/>
                      <a:pt x="2989" y="8"/>
                    </a:cubicBezTo>
                    <a:cubicBezTo>
                      <a:pt x="2986" y="9"/>
                      <a:pt x="2983" y="10"/>
                      <a:pt x="2982" y="9"/>
                    </a:cubicBezTo>
                    <a:cubicBezTo>
                      <a:pt x="2985" y="7"/>
                      <a:pt x="2987" y="5"/>
                      <a:pt x="2989" y="3"/>
                    </a:cubicBezTo>
                    <a:lnTo>
                      <a:pt x="2976" y="8"/>
                    </a:lnTo>
                    <a:cubicBezTo>
                      <a:pt x="2978" y="6"/>
                      <a:pt x="2966" y="6"/>
                      <a:pt x="2974" y="3"/>
                    </a:cubicBezTo>
                    <a:lnTo>
                      <a:pt x="2956" y="6"/>
                    </a:lnTo>
                    <a:lnTo>
                      <a:pt x="2954" y="2"/>
                    </a:lnTo>
                    <a:cubicBezTo>
                      <a:pt x="2949" y="3"/>
                      <a:pt x="2949" y="4"/>
                      <a:pt x="2955" y="4"/>
                    </a:cubicBezTo>
                    <a:cubicBezTo>
                      <a:pt x="2948" y="4"/>
                      <a:pt x="2926" y="13"/>
                      <a:pt x="2929" y="5"/>
                    </a:cubicBezTo>
                    <a:cubicBezTo>
                      <a:pt x="2915" y="10"/>
                      <a:pt x="2909" y="9"/>
                      <a:pt x="2891" y="12"/>
                    </a:cubicBezTo>
                    <a:cubicBezTo>
                      <a:pt x="2905" y="7"/>
                      <a:pt x="2875" y="9"/>
                      <a:pt x="2890" y="6"/>
                    </a:cubicBezTo>
                    <a:cubicBezTo>
                      <a:pt x="2881" y="5"/>
                      <a:pt x="2879" y="9"/>
                      <a:pt x="2873" y="10"/>
                    </a:cubicBezTo>
                    <a:cubicBezTo>
                      <a:pt x="2866" y="9"/>
                      <a:pt x="2869" y="5"/>
                      <a:pt x="2876" y="3"/>
                    </a:cubicBezTo>
                    <a:lnTo>
                      <a:pt x="2868" y="6"/>
                    </a:lnTo>
                    <a:lnTo>
                      <a:pt x="2868" y="5"/>
                    </a:lnTo>
                    <a:lnTo>
                      <a:pt x="2861" y="8"/>
                    </a:lnTo>
                    <a:cubicBezTo>
                      <a:pt x="2853" y="6"/>
                      <a:pt x="2859" y="4"/>
                      <a:pt x="2851" y="4"/>
                    </a:cubicBezTo>
                    <a:lnTo>
                      <a:pt x="2850" y="8"/>
                    </a:lnTo>
                    <a:lnTo>
                      <a:pt x="2844" y="6"/>
                    </a:lnTo>
                    <a:cubicBezTo>
                      <a:pt x="2847" y="7"/>
                      <a:pt x="2842" y="8"/>
                      <a:pt x="2837" y="9"/>
                    </a:cubicBezTo>
                    <a:lnTo>
                      <a:pt x="2837" y="8"/>
                    </a:lnTo>
                    <a:lnTo>
                      <a:pt x="2830" y="10"/>
                    </a:lnTo>
                    <a:cubicBezTo>
                      <a:pt x="2836" y="7"/>
                      <a:pt x="2824" y="9"/>
                      <a:pt x="2827" y="7"/>
                    </a:cubicBezTo>
                    <a:cubicBezTo>
                      <a:pt x="2821" y="7"/>
                      <a:pt x="2821" y="7"/>
                      <a:pt x="2810" y="8"/>
                    </a:cubicBezTo>
                    <a:lnTo>
                      <a:pt x="2812" y="11"/>
                    </a:lnTo>
                    <a:cubicBezTo>
                      <a:pt x="2799" y="14"/>
                      <a:pt x="2811" y="7"/>
                      <a:pt x="2800" y="8"/>
                    </a:cubicBezTo>
                    <a:lnTo>
                      <a:pt x="2801" y="10"/>
                    </a:lnTo>
                    <a:cubicBezTo>
                      <a:pt x="2785" y="7"/>
                      <a:pt x="2774" y="15"/>
                      <a:pt x="2762" y="13"/>
                    </a:cubicBezTo>
                    <a:cubicBezTo>
                      <a:pt x="2769" y="12"/>
                      <a:pt x="2767" y="9"/>
                      <a:pt x="2767" y="10"/>
                    </a:cubicBezTo>
                    <a:cubicBezTo>
                      <a:pt x="2757" y="11"/>
                      <a:pt x="2741" y="12"/>
                      <a:pt x="2730" y="16"/>
                    </a:cubicBezTo>
                    <a:cubicBezTo>
                      <a:pt x="2726" y="12"/>
                      <a:pt x="2725" y="11"/>
                      <a:pt x="2714" y="10"/>
                    </a:cubicBezTo>
                    <a:cubicBezTo>
                      <a:pt x="2707" y="11"/>
                      <a:pt x="2705" y="12"/>
                      <a:pt x="2703" y="14"/>
                    </a:cubicBezTo>
                    <a:cubicBezTo>
                      <a:pt x="2695" y="13"/>
                      <a:pt x="2681" y="16"/>
                      <a:pt x="2681" y="14"/>
                    </a:cubicBezTo>
                    <a:cubicBezTo>
                      <a:pt x="2679" y="16"/>
                      <a:pt x="2674" y="14"/>
                      <a:pt x="2670" y="16"/>
                    </a:cubicBezTo>
                    <a:lnTo>
                      <a:pt x="2669" y="15"/>
                    </a:lnTo>
                    <a:lnTo>
                      <a:pt x="2670" y="17"/>
                    </a:lnTo>
                    <a:cubicBezTo>
                      <a:pt x="2656" y="12"/>
                      <a:pt x="2647" y="23"/>
                      <a:pt x="2633" y="18"/>
                    </a:cubicBezTo>
                    <a:lnTo>
                      <a:pt x="2636" y="17"/>
                    </a:lnTo>
                    <a:lnTo>
                      <a:pt x="2630" y="19"/>
                    </a:lnTo>
                    <a:cubicBezTo>
                      <a:pt x="2629" y="18"/>
                      <a:pt x="2631" y="17"/>
                      <a:pt x="2631" y="15"/>
                    </a:cubicBezTo>
                    <a:lnTo>
                      <a:pt x="2605" y="17"/>
                    </a:lnTo>
                    <a:lnTo>
                      <a:pt x="2610" y="18"/>
                    </a:lnTo>
                    <a:cubicBezTo>
                      <a:pt x="2605" y="19"/>
                      <a:pt x="2601" y="22"/>
                      <a:pt x="2595" y="21"/>
                    </a:cubicBezTo>
                    <a:cubicBezTo>
                      <a:pt x="2605" y="16"/>
                      <a:pt x="2586" y="21"/>
                      <a:pt x="2584" y="18"/>
                    </a:cubicBezTo>
                    <a:lnTo>
                      <a:pt x="2589" y="17"/>
                    </a:lnTo>
                    <a:cubicBezTo>
                      <a:pt x="2582" y="18"/>
                      <a:pt x="2582" y="18"/>
                      <a:pt x="2582" y="20"/>
                    </a:cubicBezTo>
                    <a:cubicBezTo>
                      <a:pt x="2572" y="22"/>
                      <a:pt x="2575" y="16"/>
                      <a:pt x="2566" y="19"/>
                    </a:cubicBezTo>
                    <a:lnTo>
                      <a:pt x="2573" y="19"/>
                    </a:lnTo>
                    <a:cubicBezTo>
                      <a:pt x="2575" y="20"/>
                      <a:pt x="2570" y="23"/>
                      <a:pt x="2566" y="23"/>
                    </a:cubicBezTo>
                    <a:cubicBezTo>
                      <a:pt x="2565" y="23"/>
                      <a:pt x="2561" y="22"/>
                      <a:pt x="2565" y="21"/>
                    </a:cubicBezTo>
                    <a:cubicBezTo>
                      <a:pt x="2557" y="23"/>
                      <a:pt x="2545" y="22"/>
                      <a:pt x="2542" y="24"/>
                    </a:cubicBezTo>
                    <a:cubicBezTo>
                      <a:pt x="2537" y="23"/>
                      <a:pt x="2538" y="21"/>
                      <a:pt x="2541" y="20"/>
                    </a:cubicBezTo>
                    <a:cubicBezTo>
                      <a:pt x="2524" y="24"/>
                      <a:pt x="2533" y="20"/>
                      <a:pt x="2516" y="24"/>
                    </a:cubicBezTo>
                    <a:lnTo>
                      <a:pt x="2516" y="22"/>
                    </a:lnTo>
                    <a:lnTo>
                      <a:pt x="2511" y="24"/>
                    </a:lnTo>
                    <a:lnTo>
                      <a:pt x="2502" y="22"/>
                    </a:lnTo>
                    <a:lnTo>
                      <a:pt x="2505" y="23"/>
                    </a:lnTo>
                    <a:cubicBezTo>
                      <a:pt x="2500" y="24"/>
                      <a:pt x="2496" y="25"/>
                      <a:pt x="2490" y="25"/>
                    </a:cubicBezTo>
                    <a:lnTo>
                      <a:pt x="2492" y="23"/>
                    </a:lnTo>
                    <a:cubicBezTo>
                      <a:pt x="2476" y="25"/>
                      <a:pt x="2474" y="20"/>
                      <a:pt x="2459" y="24"/>
                    </a:cubicBezTo>
                    <a:cubicBezTo>
                      <a:pt x="2458" y="24"/>
                      <a:pt x="2460" y="23"/>
                      <a:pt x="2461" y="23"/>
                    </a:cubicBezTo>
                    <a:cubicBezTo>
                      <a:pt x="2448" y="27"/>
                      <a:pt x="2451" y="19"/>
                      <a:pt x="2437" y="25"/>
                    </a:cubicBezTo>
                    <a:cubicBezTo>
                      <a:pt x="2438" y="24"/>
                      <a:pt x="2436" y="23"/>
                      <a:pt x="2437" y="22"/>
                    </a:cubicBezTo>
                    <a:lnTo>
                      <a:pt x="2430" y="24"/>
                    </a:lnTo>
                    <a:lnTo>
                      <a:pt x="2431" y="21"/>
                    </a:lnTo>
                    <a:lnTo>
                      <a:pt x="2426" y="26"/>
                    </a:lnTo>
                    <a:lnTo>
                      <a:pt x="2422" y="23"/>
                    </a:lnTo>
                    <a:lnTo>
                      <a:pt x="2419" y="25"/>
                    </a:lnTo>
                    <a:cubicBezTo>
                      <a:pt x="2412" y="19"/>
                      <a:pt x="2403" y="24"/>
                      <a:pt x="2393" y="20"/>
                    </a:cubicBezTo>
                    <a:lnTo>
                      <a:pt x="2395" y="24"/>
                    </a:lnTo>
                    <a:cubicBezTo>
                      <a:pt x="2372" y="34"/>
                      <a:pt x="2341" y="23"/>
                      <a:pt x="2313" y="29"/>
                    </a:cubicBezTo>
                    <a:lnTo>
                      <a:pt x="2313" y="26"/>
                    </a:lnTo>
                    <a:lnTo>
                      <a:pt x="2302" y="30"/>
                    </a:lnTo>
                    <a:cubicBezTo>
                      <a:pt x="2296" y="28"/>
                      <a:pt x="2306" y="27"/>
                      <a:pt x="2304" y="26"/>
                    </a:cubicBezTo>
                    <a:cubicBezTo>
                      <a:pt x="2291" y="28"/>
                      <a:pt x="2299" y="31"/>
                      <a:pt x="2284" y="33"/>
                    </a:cubicBezTo>
                    <a:cubicBezTo>
                      <a:pt x="2277" y="31"/>
                      <a:pt x="2287" y="30"/>
                      <a:pt x="2290" y="29"/>
                    </a:cubicBezTo>
                    <a:cubicBezTo>
                      <a:pt x="2277" y="31"/>
                      <a:pt x="2257" y="34"/>
                      <a:pt x="2247" y="33"/>
                    </a:cubicBezTo>
                    <a:cubicBezTo>
                      <a:pt x="2247" y="34"/>
                      <a:pt x="2246" y="34"/>
                      <a:pt x="2247" y="34"/>
                    </a:cubicBezTo>
                    <a:cubicBezTo>
                      <a:pt x="2238" y="36"/>
                      <a:pt x="2226" y="36"/>
                      <a:pt x="2216" y="36"/>
                    </a:cubicBezTo>
                    <a:cubicBezTo>
                      <a:pt x="2216" y="35"/>
                      <a:pt x="2218" y="35"/>
                      <a:pt x="2221" y="34"/>
                    </a:cubicBezTo>
                    <a:cubicBezTo>
                      <a:pt x="2217" y="34"/>
                      <a:pt x="2212" y="33"/>
                      <a:pt x="2209" y="35"/>
                    </a:cubicBezTo>
                    <a:lnTo>
                      <a:pt x="2213" y="32"/>
                    </a:lnTo>
                    <a:cubicBezTo>
                      <a:pt x="2205" y="32"/>
                      <a:pt x="2190" y="36"/>
                      <a:pt x="2188" y="33"/>
                    </a:cubicBezTo>
                    <a:cubicBezTo>
                      <a:pt x="2189" y="34"/>
                      <a:pt x="2189" y="36"/>
                      <a:pt x="2183" y="36"/>
                    </a:cubicBezTo>
                    <a:cubicBezTo>
                      <a:pt x="2179" y="32"/>
                      <a:pt x="2165" y="39"/>
                      <a:pt x="2154" y="37"/>
                    </a:cubicBezTo>
                    <a:cubicBezTo>
                      <a:pt x="2155" y="36"/>
                      <a:pt x="2163" y="36"/>
                      <a:pt x="2161" y="36"/>
                    </a:cubicBezTo>
                    <a:cubicBezTo>
                      <a:pt x="2155" y="35"/>
                      <a:pt x="2151" y="37"/>
                      <a:pt x="2146" y="39"/>
                    </a:cubicBezTo>
                    <a:lnTo>
                      <a:pt x="2147" y="37"/>
                    </a:lnTo>
                    <a:lnTo>
                      <a:pt x="2123" y="41"/>
                    </a:lnTo>
                    <a:cubicBezTo>
                      <a:pt x="2119" y="36"/>
                      <a:pt x="2099" y="43"/>
                      <a:pt x="2101" y="39"/>
                    </a:cubicBezTo>
                    <a:cubicBezTo>
                      <a:pt x="2092" y="40"/>
                      <a:pt x="2108" y="41"/>
                      <a:pt x="2097" y="42"/>
                    </a:cubicBezTo>
                    <a:cubicBezTo>
                      <a:pt x="2094" y="40"/>
                      <a:pt x="2087" y="44"/>
                      <a:pt x="2088" y="41"/>
                    </a:cubicBezTo>
                    <a:lnTo>
                      <a:pt x="2089" y="40"/>
                    </a:lnTo>
                    <a:lnTo>
                      <a:pt x="2081" y="41"/>
                    </a:lnTo>
                    <a:lnTo>
                      <a:pt x="2086" y="38"/>
                    </a:lnTo>
                    <a:cubicBezTo>
                      <a:pt x="2079" y="39"/>
                      <a:pt x="2074" y="42"/>
                      <a:pt x="2074" y="44"/>
                    </a:cubicBezTo>
                    <a:cubicBezTo>
                      <a:pt x="2068" y="43"/>
                      <a:pt x="2059" y="45"/>
                      <a:pt x="2056" y="42"/>
                    </a:cubicBezTo>
                    <a:lnTo>
                      <a:pt x="2058" y="41"/>
                    </a:lnTo>
                    <a:cubicBezTo>
                      <a:pt x="2040" y="43"/>
                      <a:pt x="2028" y="34"/>
                      <a:pt x="2014" y="40"/>
                    </a:cubicBezTo>
                    <a:cubicBezTo>
                      <a:pt x="2013" y="40"/>
                      <a:pt x="2013" y="39"/>
                      <a:pt x="2015" y="39"/>
                    </a:cubicBezTo>
                    <a:lnTo>
                      <a:pt x="2004" y="39"/>
                    </a:lnTo>
                    <a:lnTo>
                      <a:pt x="2007" y="37"/>
                    </a:lnTo>
                    <a:lnTo>
                      <a:pt x="1989" y="41"/>
                    </a:lnTo>
                    <a:lnTo>
                      <a:pt x="1989" y="39"/>
                    </a:lnTo>
                    <a:cubicBezTo>
                      <a:pt x="1977" y="39"/>
                      <a:pt x="1958" y="41"/>
                      <a:pt x="1942" y="42"/>
                    </a:cubicBezTo>
                    <a:lnTo>
                      <a:pt x="1945" y="41"/>
                    </a:lnTo>
                    <a:cubicBezTo>
                      <a:pt x="1928" y="44"/>
                      <a:pt x="1928" y="40"/>
                      <a:pt x="1916" y="42"/>
                    </a:cubicBezTo>
                    <a:cubicBezTo>
                      <a:pt x="1916" y="42"/>
                      <a:pt x="1917" y="42"/>
                      <a:pt x="1917" y="41"/>
                    </a:cubicBezTo>
                    <a:lnTo>
                      <a:pt x="1906" y="42"/>
                    </a:lnTo>
                    <a:lnTo>
                      <a:pt x="1908" y="40"/>
                    </a:lnTo>
                    <a:cubicBezTo>
                      <a:pt x="1900" y="44"/>
                      <a:pt x="1884" y="37"/>
                      <a:pt x="1890" y="39"/>
                    </a:cubicBezTo>
                    <a:cubicBezTo>
                      <a:pt x="1885" y="41"/>
                      <a:pt x="1877" y="43"/>
                      <a:pt x="1876" y="45"/>
                    </a:cubicBezTo>
                    <a:cubicBezTo>
                      <a:pt x="1863" y="46"/>
                      <a:pt x="1873" y="43"/>
                      <a:pt x="1865" y="42"/>
                    </a:cubicBezTo>
                    <a:cubicBezTo>
                      <a:pt x="1856" y="42"/>
                      <a:pt x="1855" y="45"/>
                      <a:pt x="1843" y="44"/>
                    </a:cubicBezTo>
                    <a:lnTo>
                      <a:pt x="1843" y="42"/>
                    </a:lnTo>
                    <a:cubicBezTo>
                      <a:pt x="1837" y="43"/>
                      <a:pt x="1834" y="44"/>
                      <a:pt x="1826" y="44"/>
                    </a:cubicBezTo>
                    <a:lnTo>
                      <a:pt x="1828" y="43"/>
                    </a:lnTo>
                    <a:cubicBezTo>
                      <a:pt x="1816" y="47"/>
                      <a:pt x="1813" y="39"/>
                      <a:pt x="1803" y="46"/>
                    </a:cubicBezTo>
                    <a:cubicBezTo>
                      <a:pt x="1797" y="45"/>
                      <a:pt x="1787" y="46"/>
                      <a:pt x="1788" y="43"/>
                    </a:cubicBezTo>
                    <a:cubicBezTo>
                      <a:pt x="1772" y="45"/>
                      <a:pt x="1760" y="47"/>
                      <a:pt x="1744" y="48"/>
                    </a:cubicBezTo>
                    <a:cubicBezTo>
                      <a:pt x="1741" y="43"/>
                      <a:pt x="1741" y="49"/>
                      <a:pt x="1731" y="46"/>
                    </a:cubicBezTo>
                    <a:lnTo>
                      <a:pt x="1732" y="48"/>
                    </a:lnTo>
                    <a:cubicBezTo>
                      <a:pt x="1709" y="49"/>
                      <a:pt x="1684" y="43"/>
                      <a:pt x="1659" y="44"/>
                    </a:cubicBezTo>
                    <a:lnTo>
                      <a:pt x="1659" y="41"/>
                    </a:lnTo>
                    <a:lnTo>
                      <a:pt x="1654" y="44"/>
                    </a:lnTo>
                    <a:cubicBezTo>
                      <a:pt x="1627" y="43"/>
                      <a:pt x="1593" y="43"/>
                      <a:pt x="1572" y="43"/>
                    </a:cubicBezTo>
                    <a:cubicBezTo>
                      <a:pt x="1565" y="44"/>
                      <a:pt x="1555" y="47"/>
                      <a:pt x="1544" y="46"/>
                    </a:cubicBezTo>
                    <a:lnTo>
                      <a:pt x="1545" y="46"/>
                    </a:lnTo>
                    <a:cubicBezTo>
                      <a:pt x="1526" y="48"/>
                      <a:pt x="1506" y="49"/>
                      <a:pt x="1485" y="47"/>
                    </a:cubicBezTo>
                    <a:cubicBezTo>
                      <a:pt x="1486" y="46"/>
                      <a:pt x="1484" y="45"/>
                      <a:pt x="1487" y="45"/>
                    </a:cubicBezTo>
                    <a:cubicBezTo>
                      <a:pt x="1482" y="48"/>
                      <a:pt x="1474" y="45"/>
                      <a:pt x="1470" y="45"/>
                    </a:cubicBezTo>
                    <a:lnTo>
                      <a:pt x="1475" y="47"/>
                    </a:lnTo>
                    <a:cubicBezTo>
                      <a:pt x="1469" y="49"/>
                      <a:pt x="1461" y="47"/>
                      <a:pt x="1458" y="45"/>
                    </a:cubicBezTo>
                    <a:lnTo>
                      <a:pt x="1448" y="48"/>
                    </a:lnTo>
                    <a:cubicBezTo>
                      <a:pt x="1448" y="47"/>
                      <a:pt x="1447" y="47"/>
                      <a:pt x="1447" y="46"/>
                    </a:cubicBezTo>
                    <a:lnTo>
                      <a:pt x="1445" y="48"/>
                    </a:lnTo>
                    <a:lnTo>
                      <a:pt x="1440" y="44"/>
                    </a:lnTo>
                    <a:cubicBezTo>
                      <a:pt x="1438" y="45"/>
                      <a:pt x="1425" y="46"/>
                      <a:pt x="1421" y="49"/>
                    </a:cubicBezTo>
                    <a:cubicBezTo>
                      <a:pt x="1421" y="48"/>
                      <a:pt x="1412" y="47"/>
                      <a:pt x="1419" y="46"/>
                    </a:cubicBezTo>
                    <a:lnTo>
                      <a:pt x="1384" y="45"/>
                    </a:lnTo>
                    <a:lnTo>
                      <a:pt x="1390" y="46"/>
                    </a:lnTo>
                    <a:cubicBezTo>
                      <a:pt x="1390" y="49"/>
                      <a:pt x="1380" y="51"/>
                      <a:pt x="1375" y="50"/>
                    </a:cubicBezTo>
                    <a:cubicBezTo>
                      <a:pt x="1382" y="47"/>
                      <a:pt x="1375" y="46"/>
                      <a:pt x="1372" y="44"/>
                    </a:cubicBezTo>
                    <a:cubicBezTo>
                      <a:pt x="1368" y="45"/>
                      <a:pt x="1376" y="46"/>
                      <a:pt x="1374" y="48"/>
                    </a:cubicBezTo>
                    <a:cubicBezTo>
                      <a:pt x="1368" y="49"/>
                      <a:pt x="1356" y="50"/>
                      <a:pt x="1353" y="49"/>
                    </a:cubicBezTo>
                    <a:lnTo>
                      <a:pt x="1356" y="48"/>
                    </a:lnTo>
                    <a:cubicBezTo>
                      <a:pt x="1348" y="49"/>
                      <a:pt x="1345" y="44"/>
                      <a:pt x="1337" y="44"/>
                    </a:cubicBezTo>
                    <a:cubicBezTo>
                      <a:pt x="1330" y="46"/>
                      <a:pt x="1325" y="44"/>
                      <a:pt x="1326" y="49"/>
                    </a:cubicBezTo>
                    <a:cubicBezTo>
                      <a:pt x="1316" y="50"/>
                      <a:pt x="1322" y="46"/>
                      <a:pt x="1319" y="45"/>
                    </a:cubicBezTo>
                    <a:cubicBezTo>
                      <a:pt x="1314" y="47"/>
                      <a:pt x="1300" y="46"/>
                      <a:pt x="1298" y="43"/>
                    </a:cubicBezTo>
                    <a:cubicBezTo>
                      <a:pt x="1292" y="50"/>
                      <a:pt x="1271" y="41"/>
                      <a:pt x="1269" y="46"/>
                    </a:cubicBezTo>
                    <a:lnTo>
                      <a:pt x="1260" y="43"/>
                    </a:lnTo>
                    <a:cubicBezTo>
                      <a:pt x="1260" y="44"/>
                      <a:pt x="1258" y="48"/>
                      <a:pt x="1252" y="48"/>
                    </a:cubicBezTo>
                    <a:cubicBezTo>
                      <a:pt x="1245" y="47"/>
                      <a:pt x="1247" y="44"/>
                      <a:pt x="1245" y="42"/>
                    </a:cubicBezTo>
                    <a:lnTo>
                      <a:pt x="1241" y="48"/>
                    </a:lnTo>
                    <a:cubicBezTo>
                      <a:pt x="1204" y="41"/>
                      <a:pt x="1156" y="45"/>
                      <a:pt x="1115" y="39"/>
                    </a:cubicBezTo>
                    <a:cubicBezTo>
                      <a:pt x="1097" y="40"/>
                      <a:pt x="1075" y="42"/>
                      <a:pt x="1054" y="41"/>
                    </a:cubicBezTo>
                    <a:lnTo>
                      <a:pt x="1056" y="40"/>
                    </a:lnTo>
                    <a:lnTo>
                      <a:pt x="1035" y="38"/>
                    </a:lnTo>
                    <a:lnTo>
                      <a:pt x="1050" y="41"/>
                    </a:lnTo>
                    <a:cubicBezTo>
                      <a:pt x="1046" y="41"/>
                      <a:pt x="1042" y="42"/>
                      <a:pt x="1038" y="42"/>
                    </a:cubicBezTo>
                    <a:cubicBezTo>
                      <a:pt x="1015" y="39"/>
                      <a:pt x="985" y="36"/>
                      <a:pt x="956" y="38"/>
                    </a:cubicBezTo>
                    <a:cubicBezTo>
                      <a:pt x="938" y="44"/>
                      <a:pt x="944" y="32"/>
                      <a:pt x="927" y="36"/>
                    </a:cubicBezTo>
                    <a:cubicBezTo>
                      <a:pt x="928" y="36"/>
                      <a:pt x="929" y="35"/>
                      <a:pt x="930" y="34"/>
                    </a:cubicBezTo>
                    <a:cubicBezTo>
                      <a:pt x="911" y="36"/>
                      <a:pt x="901" y="37"/>
                      <a:pt x="882" y="40"/>
                    </a:cubicBezTo>
                    <a:cubicBezTo>
                      <a:pt x="885" y="34"/>
                      <a:pt x="870" y="40"/>
                      <a:pt x="872" y="37"/>
                    </a:cubicBezTo>
                    <a:lnTo>
                      <a:pt x="870" y="39"/>
                    </a:lnTo>
                    <a:cubicBezTo>
                      <a:pt x="866" y="38"/>
                      <a:pt x="856" y="37"/>
                      <a:pt x="858" y="35"/>
                    </a:cubicBezTo>
                    <a:lnTo>
                      <a:pt x="849" y="38"/>
                    </a:lnTo>
                    <a:lnTo>
                      <a:pt x="848" y="35"/>
                    </a:lnTo>
                    <a:cubicBezTo>
                      <a:pt x="837" y="35"/>
                      <a:pt x="814" y="36"/>
                      <a:pt x="808" y="31"/>
                    </a:cubicBezTo>
                    <a:cubicBezTo>
                      <a:pt x="781" y="34"/>
                      <a:pt x="737" y="32"/>
                      <a:pt x="703" y="31"/>
                    </a:cubicBezTo>
                    <a:cubicBezTo>
                      <a:pt x="698" y="33"/>
                      <a:pt x="688" y="33"/>
                      <a:pt x="680" y="33"/>
                    </a:cubicBezTo>
                    <a:lnTo>
                      <a:pt x="672" y="30"/>
                    </a:lnTo>
                    <a:cubicBezTo>
                      <a:pt x="664" y="31"/>
                      <a:pt x="656" y="35"/>
                      <a:pt x="648" y="33"/>
                    </a:cubicBezTo>
                    <a:cubicBezTo>
                      <a:pt x="648" y="32"/>
                      <a:pt x="649" y="32"/>
                      <a:pt x="649" y="32"/>
                    </a:cubicBezTo>
                    <a:cubicBezTo>
                      <a:pt x="641" y="32"/>
                      <a:pt x="633" y="30"/>
                      <a:pt x="626" y="33"/>
                    </a:cubicBezTo>
                    <a:cubicBezTo>
                      <a:pt x="617" y="33"/>
                      <a:pt x="608" y="31"/>
                      <a:pt x="611" y="28"/>
                    </a:cubicBezTo>
                    <a:cubicBezTo>
                      <a:pt x="610" y="34"/>
                      <a:pt x="592" y="27"/>
                      <a:pt x="592" y="27"/>
                    </a:cubicBezTo>
                    <a:cubicBezTo>
                      <a:pt x="592" y="27"/>
                      <a:pt x="138" y="8"/>
                      <a:pt x="26" y="36"/>
                    </a:cubicBezTo>
                    <a:cubicBezTo>
                      <a:pt x="23" y="38"/>
                      <a:pt x="12" y="40"/>
                      <a:pt x="16" y="43"/>
                    </a:cubicBezTo>
                    <a:cubicBezTo>
                      <a:pt x="8" y="44"/>
                      <a:pt x="5" y="39"/>
                      <a:pt x="3" y="42"/>
                    </a:cubicBezTo>
                    <a:cubicBezTo>
                      <a:pt x="14" y="44"/>
                      <a:pt x="0" y="49"/>
                      <a:pt x="10" y="52"/>
                    </a:cubicBezTo>
                    <a:lnTo>
                      <a:pt x="3" y="53"/>
                    </a:lnTo>
                    <a:cubicBezTo>
                      <a:pt x="2" y="55"/>
                      <a:pt x="13" y="51"/>
                      <a:pt x="11" y="54"/>
                    </a:cubicBezTo>
                    <a:lnTo>
                      <a:pt x="13" y="49"/>
                    </a:lnTo>
                    <a:cubicBezTo>
                      <a:pt x="18" y="50"/>
                      <a:pt x="21" y="51"/>
                      <a:pt x="23" y="53"/>
                    </a:cubicBezTo>
                    <a:cubicBezTo>
                      <a:pt x="28" y="51"/>
                      <a:pt x="32" y="44"/>
                      <a:pt x="44" y="47"/>
                    </a:cubicBezTo>
                    <a:lnTo>
                      <a:pt x="41" y="47"/>
                    </a:lnTo>
                    <a:cubicBezTo>
                      <a:pt x="51" y="47"/>
                      <a:pt x="47" y="51"/>
                      <a:pt x="49" y="52"/>
                    </a:cubicBezTo>
                    <a:lnTo>
                      <a:pt x="47" y="52"/>
                    </a:lnTo>
                    <a:lnTo>
                      <a:pt x="55" y="54"/>
                    </a:lnTo>
                    <a:cubicBezTo>
                      <a:pt x="49" y="52"/>
                      <a:pt x="38" y="56"/>
                      <a:pt x="44" y="56"/>
                    </a:cubicBezTo>
                    <a:cubicBezTo>
                      <a:pt x="56" y="58"/>
                      <a:pt x="41" y="55"/>
                      <a:pt x="50" y="54"/>
                    </a:cubicBezTo>
                    <a:cubicBezTo>
                      <a:pt x="55" y="54"/>
                      <a:pt x="54" y="57"/>
                      <a:pt x="53" y="58"/>
                    </a:cubicBezTo>
                    <a:lnTo>
                      <a:pt x="63" y="58"/>
                    </a:lnTo>
                    <a:cubicBezTo>
                      <a:pt x="63" y="61"/>
                      <a:pt x="57" y="58"/>
                      <a:pt x="61" y="61"/>
                    </a:cubicBezTo>
                    <a:lnTo>
                      <a:pt x="73" y="58"/>
                    </a:lnTo>
                    <a:cubicBezTo>
                      <a:pt x="76" y="64"/>
                      <a:pt x="87" y="56"/>
                      <a:pt x="93" y="61"/>
                    </a:cubicBezTo>
                    <a:cubicBezTo>
                      <a:pt x="84" y="63"/>
                      <a:pt x="94" y="63"/>
                      <a:pt x="92" y="65"/>
                    </a:cubicBezTo>
                    <a:lnTo>
                      <a:pt x="115" y="65"/>
                    </a:lnTo>
                    <a:cubicBezTo>
                      <a:pt x="117" y="66"/>
                      <a:pt x="109" y="67"/>
                      <a:pt x="112" y="67"/>
                    </a:cubicBezTo>
                    <a:cubicBezTo>
                      <a:pt x="116" y="68"/>
                      <a:pt x="119" y="65"/>
                      <a:pt x="121" y="65"/>
                    </a:cubicBezTo>
                    <a:cubicBezTo>
                      <a:pt x="123" y="67"/>
                      <a:pt x="138" y="65"/>
                      <a:pt x="137" y="69"/>
                    </a:cubicBezTo>
                    <a:cubicBezTo>
                      <a:pt x="152" y="72"/>
                      <a:pt x="144" y="65"/>
                      <a:pt x="158" y="67"/>
                    </a:cubicBezTo>
                    <a:cubicBezTo>
                      <a:pt x="159" y="69"/>
                      <a:pt x="146" y="67"/>
                      <a:pt x="153" y="70"/>
                    </a:cubicBezTo>
                    <a:lnTo>
                      <a:pt x="167" y="69"/>
                    </a:lnTo>
                    <a:cubicBezTo>
                      <a:pt x="166" y="70"/>
                      <a:pt x="164" y="73"/>
                      <a:pt x="159" y="72"/>
                    </a:cubicBezTo>
                    <a:cubicBezTo>
                      <a:pt x="198" y="76"/>
                      <a:pt x="220" y="89"/>
                      <a:pt x="256" y="86"/>
                    </a:cubicBezTo>
                    <a:cubicBezTo>
                      <a:pt x="261" y="89"/>
                      <a:pt x="252" y="88"/>
                      <a:pt x="248" y="90"/>
                    </a:cubicBezTo>
                    <a:cubicBezTo>
                      <a:pt x="274" y="86"/>
                      <a:pt x="285" y="97"/>
                      <a:pt x="307" y="96"/>
                    </a:cubicBezTo>
                    <a:lnTo>
                      <a:pt x="308" y="94"/>
                    </a:lnTo>
                    <a:cubicBezTo>
                      <a:pt x="339" y="102"/>
                      <a:pt x="376" y="98"/>
                      <a:pt x="411" y="102"/>
                    </a:cubicBezTo>
                    <a:lnTo>
                      <a:pt x="407" y="100"/>
                    </a:lnTo>
                    <a:cubicBezTo>
                      <a:pt x="412" y="98"/>
                      <a:pt x="419" y="98"/>
                      <a:pt x="425" y="97"/>
                    </a:cubicBezTo>
                    <a:cubicBezTo>
                      <a:pt x="426" y="98"/>
                      <a:pt x="421" y="101"/>
                      <a:pt x="431" y="101"/>
                    </a:cubicBezTo>
                    <a:cubicBezTo>
                      <a:pt x="429" y="100"/>
                      <a:pt x="425" y="99"/>
                      <a:pt x="426" y="98"/>
                    </a:cubicBezTo>
                    <a:cubicBezTo>
                      <a:pt x="456" y="104"/>
                      <a:pt x="520" y="104"/>
                      <a:pt x="569" y="107"/>
                    </a:cubicBezTo>
                    <a:cubicBezTo>
                      <a:pt x="636" y="106"/>
                      <a:pt x="709" y="112"/>
                      <a:pt x="774" y="111"/>
                    </a:cubicBezTo>
                    <a:cubicBezTo>
                      <a:pt x="764" y="111"/>
                      <a:pt x="769" y="106"/>
                      <a:pt x="776" y="107"/>
                    </a:cubicBezTo>
                    <a:cubicBezTo>
                      <a:pt x="797" y="117"/>
                      <a:pt x="812" y="106"/>
                      <a:pt x="833" y="113"/>
                    </a:cubicBezTo>
                    <a:cubicBezTo>
                      <a:pt x="871" y="111"/>
                      <a:pt x="905" y="120"/>
                      <a:pt x="941" y="114"/>
                    </a:cubicBezTo>
                    <a:lnTo>
                      <a:pt x="942" y="117"/>
                    </a:lnTo>
                    <a:cubicBezTo>
                      <a:pt x="947" y="118"/>
                      <a:pt x="948" y="116"/>
                      <a:pt x="954" y="116"/>
                    </a:cubicBezTo>
                    <a:lnTo>
                      <a:pt x="954" y="117"/>
                    </a:lnTo>
                    <a:cubicBezTo>
                      <a:pt x="967" y="118"/>
                      <a:pt x="983" y="116"/>
                      <a:pt x="991" y="117"/>
                    </a:cubicBezTo>
                    <a:lnTo>
                      <a:pt x="991" y="114"/>
                    </a:lnTo>
                    <a:cubicBezTo>
                      <a:pt x="999" y="114"/>
                      <a:pt x="995" y="117"/>
                      <a:pt x="1003" y="115"/>
                    </a:cubicBezTo>
                    <a:lnTo>
                      <a:pt x="1003" y="117"/>
                    </a:lnTo>
                    <a:lnTo>
                      <a:pt x="1012" y="114"/>
                    </a:lnTo>
                    <a:cubicBezTo>
                      <a:pt x="1011" y="119"/>
                      <a:pt x="1035" y="115"/>
                      <a:pt x="1041" y="117"/>
                    </a:cubicBezTo>
                    <a:cubicBezTo>
                      <a:pt x="1051" y="117"/>
                      <a:pt x="1070" y="115"/>
                      <a:pt x="1086" y="116"/>
                    </a:cubicBezTo>
                    <a:cubicBezTo>
                      <a:pt x="1089" y="119"/>
                      <a:pt x="1107" y="119"/>
                      <a:pt x="1119" y="121"/>
                    </a:cubicBezTo>
                    <a:cubicBezTo>
                      <a:pt x="1143" y="121"/>
                      <a:pt x="1176" y="120"/>
                      <a:pt x="1206" y="122"/>
                    </a:cubicBezTo>
                    <a:lnTo>
                      <a:pt x="1206" y="118"/>
                    </a:lnTo>
                    <a:lnTo>
                      <a:pt x="1214" y="118"/>
                    </a:lnTo>
                    <a:cubicBezTo>
                      <a:pt x="1214" y="119"/>
                      <a:pt x="1215" y="119"/>
                      <a:pt x="1213" y="120"/>
                    </a:cubicBezTo>
                    <a:cubicBezTo>
                      <a:pt x="1219" y="124"/>
                      <a:pt x="1231" y="119"/>
                      <a:pt x="1238" y="121"/>
                    </a:cubicBezTo>
                    <a:cubicBezTo>
                      <a:pt x="1234" y="118"/>
                      <a:pt x="1232" y="121"/>
                      <a:pt x="1228" y="121"/>
                    </a:cubicBezTo>
                    <a:cubicBezTo>
                      <a:pt x="1221" y="119"/>
                      <a:pt x="1228" y="116"/>
                      <a:pt x="1236" y="117"/>
                    </a:cubicBezTo>
                    <a:lnTo>
                      <a:pt x="1236" y="118"/>
                    </a:lnTo>
                    <a:lnTo>
                      <a:pt x="1242" y="117"/>
                    </a:lnTo>
                    <a:cubicBezTo>
                      <a:pt x="1242" y="119"/>
                      <a:pt x="1248" y="121"/>
                      <a:pt x="1248" y="123"/>
                    </a:cubicBezTo>
                    <a:cubicBezTo>
                      <a:pt x="1274" y="123"/>
                      <a:pt x="1292" y="119"/>
                      <a:pt x="1318" y="120"/>
                    </a:cubicBezTo>
                    <a:cubicBezTo>
                      <a:pt x="1315" y="123"/>
                      <a:pt x="1337" y="120"/>
                      <a:pt x="1332" y="125"/>
                    </a:cubicBezTo>
                    <a:cubicBezTo>
                      <a:pt x="1348" y="123"/>
                      <a:pt x="1329" y="121"/>
                      <a:pt x="1337" y="117"/>
                    </a:cubicBezTo>
                    <a:cubicBezTo>
                      <a:pt x="1341" y="117"/>
                      <a:pt x="1346" y="116"/>
                      <a:pt x="1346" y="118"/>
                    </a:cubicBezTo>
                    <a:cubicBezTo>
                      <a:pt x="1344" y="119"/>
                      <a:pt x="1350" y="121"/>
                      <a:pt x="1346" y="121"/>
                    </a:cubicBezTo>
                    <a:lnTo>
                      <a:pt x="1357" y="121"/>
                    </a:lnTo>
                    <a:cubicBezTo>
                      <a:pt x="1358" y="121"/>
                      <a:pt x="1356" y="122"/>
                      <a:pt x="1355" y="122"/>
                    </a:cubicBezTo>
                    <a:cubicBezTo>
                      <a:pt x="1376" y="120"/>
                      <a:pt x="1393" y="126"/>
                      <a:pt x="1412" y="123"/>
                    </a:cubicBezTo>
                    <a:cubicBezTo>
                      <a:pt x="1414" y="121"/>
                      <a:pt x="1405" y="123"/>
                      <a:pt x="1406" y="121"/>
                    </a:cubicBezTo>
                    <a:cubicBezTo>
                      <a:pt x="1426" y="117"/>
                      <a:pt x="1423" y="124"/>
                      <a:pt x="1442" y="122"/>
                    </a:cubicBezTo>
                    <a:lnTo>
                      <a:pt x="1438" y="124"/>
                    </a:lnTo>
                    <a:cubicBezTo>
                      <a:pt x="1444" y="122"/>
                      <a:pt x="1446" y="120"/>
                      <a:pt x="1456" y="122"/>
                    </a:cubicBezTo>
                    <a:cubicBezTo>
                      <a:pt x="1458" y="126"/>
                      <a:pt x="1448" y="125"/>
                      <a:pt x="1443" y="126"/>
                    </a:cubicBezTo>
                    <a:cubicBezTo>
                      <a:pt x="1450" y="126"/>
                      <a:pt x="1467" y="126"/>
                      <a:pt x="1461" y="123"/>
                    </a:cubicBezTo>
                    <a:cubicBezTo>
                      <a:pt x="1469" y="122"/>
                      <a:pt x="1472" y="125"/>
                      <a:pt x="1477" y="126"/>
                    </a:cubicBezTo>
                    <a:cubicBezTo>
                      <a:pt x="1477" y="125"/>
                      <a:pt x="1469" y="123"/>
                      <a:pt x="1474" y="122"/>
                    </a:cubicBezTo>
                    <a:cubicBezTo>
                      <a:pt x="1485" y="124"/>
                      <a:pt x="1502" y="124"/>
                      <a:pt x="1515" y="124"/>
                    </a:cubicBezTo>
                    <a:cubicBezTo>
                      <a:pt x="1515" y="125"/>
                      <a:pt x="1516" y="126"/>
                      <a:pt x="1514" y="126"/>
                    </a:cubicBezTo>
                    <a:cubicBezTo>
                      <a:pt x="1525" y="122"/>
                      <a:pt x="1524" y="129"/>
                      <a:pt x="1539" y="128"/>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4" name="Freeform 2440"/>
              <p:cNvSpPr>
                <a:spLocks/>
              </p:cNvSpPr>
              <p:nvPr/>
            </p:nvSpPr>
            <p:spPr bwMode="auto">
              <a:xfrm>
                <a:off x="4256088" y="3959226"/>
                <a:ext cx="3175" cy="0"/>
              </a:xfrm>
              <a:custGeom>
                <a:avLst/>
                <a:gdLst>
                  <a:gd name="T0" fmla="*/ 8 w 8"/>
                  <a:gd name="T1" fmla="*/ 1 h 3"/>
                  <a:gd name="T2" fmla="*/ 8 w 8"/>
                  <a:gd name="T3" fmla="*/ 1 h 3"/>
                  <a:gd name="T4" fmla="*/ 2 w 8"/>
                  <a:gd name="T5" fmla="*/ 0 h 3"/>
                  <a:gd name="T6" fmla="*/ 0 w 8"/>
                  <a:gd name="T7" fmla="*/ 3 h 3"/>
                  <a:gd name="T8" fmla="*/ 8 w 8"/>
                  <a:gd name="T9" fmla="*/ 1 h 3"/>
                </a:gdLst>
                <a:ahLst/>
                <a:cxnLst>
                  <a:cxn ang="0">
                    <a:pos x="T0" y="T1"/>
                  </a:cxn>
                  <a:cxn ang="0">
                    <a:pos x="T2" y="T3"/>
                  </a:cxn>
                  <a:cxn ang="0">
                    <a:pos x="T4" y="T5"/>
                  </a:cxn>
                  <a:cxn ang="0">
                    <a:pos x="T6" y="T7"/>
                  </a:cxn>
                  <a:cxn ang="0">
                    <a:pos x="T8" y="T9"/>
                  </a:cxn>
                </a:cxnLst>
                <a:rect l="0" t="0" r="r" b="b"/>
                <a:pathLst>
                  <a:path w="8" h="3">
                    <a:moveTo>
                      <a:pt x="8" y="1"/>
                    </a:moveTo>
                    <a:lnTo>
                      <a:pt x="8" y="1"/>
                    </a:lnTo>
                    <a:lnTo>
                      <a:pt x="2" y="0"/>
                    </a:lnTo>
                    <a:cubicBezTo>
                      <a:pt x="2" y="1"/>
                      <a:pt x="2" y="2"/>
                      <a:pt x="0" y="3"/>
                    </a:cubicBezTo>
                    <a:lnTo>
                      <a:pt x="8" y="1"/>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5" name="Freeform 2441"/>
              <p:cNvSpPr>
                <a:spLocks/>
              </p:cNvSpPr>
              <p:nvPr/>
            </p:nvSpPr>
            <p:spPr bwMode="auto">
              <a:xfrm>
                <a:off x="4178301" y="3962401"/>
                <a:ext cx="1588"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1" y="1"/>
                      <a:pt x="1" y="1"/>
                      <a:pt x="0" y="1"/>
                    </a:cubicBezTo>
                    <a:cubicBezTo>
                      <a:pt x="1" y="1"/>
                      <a:pt x="2" y="1"/>
                      <a:pt x="2"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6" name="Freeform 2442"/>
              <p:cNvSpPr>
                <a:spLocks/>
              </p:cNvSpPr>
              <p:nvPr/>
            </p:nvSpPr>
            <p:spPr bwMode="auto">
              <a:xfrm>
                <a:off x="4159251" y="3963988"/>
                <a:ext cx="3175" cy="1588"/>
              </a:xfrm>
              <a:custGeom>
                <a:avLst/>
                <a:gdLst>
                  <a:gd name="T0" fmla="*/ 1 w 6"/>
                  <a:gd name="T1" fmla="*/ 2 h 2"/>
                  <a:gd name="T2" fmla="*/ 1 w 6"/>
                  <a:gd name="T3" fmla="*/ 2 h 2"/>
                  <a:gd name="T4" fmla="*/ 0 w 6"/>
                  <a:gd name="T5" fmla="*/ 0 h 2"/>
                  <a:gd name="T6" fmla="*/ 1 w 6"/>
                  <a:gd name="T7" fmla="*/ 2 h 2"/>
                </a:gdLst>
                <a:ahLst/>
                <a:cxnLst>
                  <a:cxn ang="0">
                    <a:pos x="T0" y="T1"/>
                  </a:cxn>
                  <a:cxn ang="0">
                    <a:pos x="T2" y="T3"/>
                  </a:cxn>
                  <a:cxn ang="0">
                    <a:pos x="T4" y="T5"/>
                  </a:cxn>
                  <a:cxn ang="0">
                    <a:pos x="T6" y="T7"/>
                  </a:cxn>
                </a:cxnLst>
                <a:rect l="0" t="0" r="r" b="b"/>
                <a:pathLst>
                  <a:path w="6" h="2">
                    <a:moveTo>
                      <a:pt x="1" y="2"/>
                    </a:moveTo>
                    <a:lnTo>
                      <a:pt x="1" y="2"/>
                    </a:lnTo>
                    <a:cubicBezTo>
                      <a:pt x="6" y="1"/>
                      <a:pt x="2" y="1"/>
                      <a:pt x="0" y="0"/>
                    </a:cubicBezTo>
                    <a:cubicBezTo>
                      <a:pt x="0" y="1"/>
                      <a:pt x="0" y="1"/>
                      <a:pt x="1"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7" name="Freeform 2443"/>
              <p:cNvSpPr>
                <a:spLocks/>
              </p:cNvSpPr>
              <p:nvPr/>
            </p:nvSpPr>
            <p:spPr bwMode="auto">
              <a:xfrm>
                <a:off x="4303713" y="3952876"/>
                <a:ext cx="0" cy="1588"/>
              </a:xfrm>
              <a:custGeom>
                <a:avLst/>
                <a:gdLst>
                  <a:gd name="T0" fmla="*/ 1 w 2"/>
                  <a:gd name="T1" fmla="*/ 0 h 1"/>
                  <a:gd name="T2" fmla="*/ 1 w 2"/>
                  <a:gd name="T3" fmla="*/ 0 h 1"/>
                  <a:gd name="T4" fmla="*/ 0 w 2"/>
                  <a:gd name="T5" fmla="*/ 1 h 1"/>
                  <a:gd name="T6" fmla="*/ 1 w 2"/>
                  <a:gd name="T7" fmla="*/ 0 h 1"/>
                </a:gdLst>
                <a:ahLst/>
                <a:cxnLst>
                  <a:cxn ang="0">
                    <a:pos x="T0" y="T1"/>
                  </a:cxn>
                  <a:cxn ang="0">
                    <a:pos x="T2" y="T3"/>
                  </a:cxn>
                  <a:cxn ang="0">
                    <a:pos x="T4" y="T5"/>
                  </a:cxn>
                  <a:cxn ang="0">
                    <a:pos x="T6" y="T7"/>
                  </a:cxn>
                </a:cxnLst>
                <a:rect l="0" t="0" r="r" b="b"/>
                <a:pathLst>
                  <a:path w="2" h="1">
                    <a:moveTo>
                      <a:pt x="1" y="0"/>
                    </a:moveTo>
                    <a:lnTo>
                      <a:pt x="1" y="0"/>
                    </a:lnTo>
                    <a:cubicBezTo>
                      <a:pt x="1" y="0"/>
                      <a:pt x="0" y="1"/>
                      <a:pt x="0" y="1"/>
                    </a:cubicBezTo>
                    <a:cubicBezTo>
                      <a:pt x="1" y="1"/>
                      <a:pt x="2" y="0"/>
                      <a:pt x="1"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8" name="Freeform 2444"/>
              <p:cNvSpPr>
                <a:spLocks/>
              </p:cNvSpPr>
              <p:nvPr/>
            </p:nvSpPr>
            <p:spPr bwMode="auto">
              <a:xfrm>
                <a:off x="4427538" y="3944938"/>
                <a:ext cx="1588"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cubicBezTo>
                      <a:pt x="1" y="0"/>
                      <a:pt x="1" y="0"/>
                      <a:pt x="0" y="0"/>
                    </a:cubicBezTo>
                    <a:cubicBezTo>
                      <a:pt x="0" y="0"/>
                      <a:pt x="1" y="0"/>
                      <a:pt x="2"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09" name="Freeform 2445"/>
              <p:cNvSpPr>
                <a:spLocks/>
              </p:cNvSpPr>
              <p:nvPr/>
            </p:nvSpPr>
            <p:spPr bwMode="auto">
              <a:xfrm>
                <a:off x="4419601" y="3943351"/>
                <a:ext cx="1588" cy="1588"/>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2" y="1"/>
                      <a:pt x="3" y="1"/>
                      <a:pt x="4"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0" name="Freeform 2446"/>
              <p:cNvSpPr>
                <a:spLocks/>
              </p:cNvSpPr>
              <p:nvPr/>
            </p:nvSpPr>
            <p:spPr bwMode="auto">
              <a:xfrm>
                <a:off x="4271963" y="3956051"/>
                <a:ext cx="1588" cy="0"/>
              </a:xfrm>
              <a:custGeom>
                <a:avLst/>
                <a:gdLst>
                  <a:gd name="T0" fmla="*/ 5 w 5"/>
                  <a:gd name="T1" fmla="*/ 0 h 2"/>
                  <a:gd name="T2" fmla="*/ 5 w 5"/>
                  <a:gd name="T3" fmla="*/ 0 h 2"/>
                  <a:gd name="T4" fmla="*/ 0 w 5"/>
                  <a:gd name="T5" fmla="*/ 2 h 2"/>
                  <a:gd name="T6" fmla="*/ 5 w 5"/>
                  <a:gd name="T7" fmla="*/ 0 h 2"/>
                </a:gdLst>
                <a:ahLst/>
                <a:cxnLst>
                  <a:cxn ang="0">
                    <a:pos x="T0" y="T1"/>
                  </a:cxn>
                  <a:cxn ang="0">
                    <a:pos x="T2" y="T3"/>
                  </a:cxn>
                  <a:cxn ang="0">
                    <a:pos x="T4" y="T5"/>
                  </a:cxn>
                  <a:cxn ang="0">
                    <a:pos x="T6" y="T7"/>
                  </a:cxn>
                </a:cxnLst>
                <a:rect l="0" t="0" r="r" b="b"/>
                <a:pathLst>
                  <a:path w="5" h="2">
                    <a:moveTo>
                      <a:pt x="5" y="0"/>
                    </a:moveTo>
                    <a:lnTo>
                      <a:pt x="5" y="0"/>
                    </a:lnTo>
                    <a:cubicBezTo>
                      <a:pt x="3" y="1"/>
                      <a:pt x="2" y="1"/>
                      <a:pt x="0" y="2"/>
                    </a:cubicBezTo>
                    <a:cubicBezTo>
                      <a:pt x="3" y="1"/>
                      <a:pt x="4" y="1"/>
                      <a:pt x="5"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1" name="Freeform 2447"/>
              <p:cNvSpPr>
                <a:spLocks/>
              </p:cNvSpPr>
              <p:nvPr/>
            </p:nvSpPr>
            <p:spPr bwMode="auto">
              <a:xfrm>
                <a:off x="4416426" y="3944938"/>
                <a:ext cx="1588" cy="0"/>
              </a:xfrm>
              <a:custGeom>
                <a:avLst/>
                <a:gdLst>
                  <a:gd name="T0" fmla="*/ 5 w 5"/>
                  <a:gd name="T1" fmla="*/ 0 h 1"/>
                  <a:gd name="T2" fmla="*/ 5 w 5"/>
                  <a:gd name="T3" fmla="*/ 0 h 1"/>
                  <a:gd name="T4" fmla="*/ 0 w 5"/>
                  <a:gd name="T5" fmla="*/ 0 h 1"/>
                  <a:gd name="T6" fmla="*/ 0 w 5"/>
                  <a:gd name="T7" fmla="*/ 1 h 1"/>
                  <a:gd name="T8" fmla="*/ 5 w 5"/>
                  <a:gd name="T9" fmla="*/ 0 h 1"/>
                </a:gdLst>
                <a:ahLst/>
                <a:cxnLst>
                  <a:cxn ang="0">
                    <a:pos x="T0" y="T1"/>
                  </a:cxn>
                  <a:cxn ang="0">
                    <a:pos x="T2" y="T3"/>
                  </a:cxn>
                  <a:cxn ang="0">
                    <a:pos x="T4" y="T5"/>
                  </a:cxn>
                  <a:cxn ang="0">
                    <a:pos x="T6" y="T7"/>
                  </a:cxn>
                  <a:cxn ang="0">
                    <a:pos x="T8" y="T9"/>
                  </a:cxn>
                </a:cxnLst>
                <a:rect l="0" t="0" r="r" b="b"/>
                <a:pathLst>
                  <a:path w="5" h="1">
                    <a:moveTo>
                      <a:pt x="5" y="0"/>
                    </a:moveTo>
                    <a:lnTo>
                      <a:pt x="5" y="0"/>
                    </a:lnTo>
                    <a:lnTo>
                      <a:pt x="0" y="0"/>
                    </a:lnTo>
                    <a:cubicBezTo>
                      <a:pt x="0" y="0"/>
                      <a:pt x="0" y="0"/>
                      <a:pt x="0" y="1"/>
                    </a:cubicBezTo>
                    <a:lnTo>
                      <a:pt x="5"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2" name="Freeform 2448"/>
              <p:cNvSpPr>
                <a:spLocks/>
              </p:cNvSpPr>
              <p:nvPr/>
            </p:nvSpPr>
            <p:spPr bwMode="auto">
              <a:xfrm>
                <a:off x="4429126" y="3944938"/>
                <a:ext cx="1588" cy="0"/>
              </a:xfrm>
              <a:custGeom>
                <a:avLst/>
                <a:gdLst>
                  <a:gd name="T0" fmla="*/ 7 w 7"/>
                  <a:gd name="T1" fmla="*/ 0 h 1"/>
                  <a:gd name="T2" fmla="*/ 7 w 7"/>
                  <a:gd name="T3" fmla="*/ 0 h 1"/>
                  <a:gd name="T4" fmla="*/ 0 w 7"/>
                  <a:gd name="T5" fmla="*/ 0 h 1"/>
                  <a:gd name="T6" fmla="*/ 7 w 7"/>
                  <a:gd name="T7" fmla="*/ 0 h 1"/>
                </a:gdLst>
                <a:ahLst/>
                <a:cxnLst>
                  <a:cxn ang="0">
                    <a:pos x="T0" y="T1"/>
                  </a:cxn>
                  <a:cxn ang="0">
                    <a:pos x="T2" y="T3"/>
                  </a:cxn>
                  <a:cxn ang="0">
                    <a:pos x="T4" y="T5"/>
                  </a:cxn>
                  <a:cxn ang="0">
                    <a:pos x="T6" y="T7"/>
                  </a:cxn>
                </a:cxnLst>
                <a:rect l="0" t="0" r="r" b="b"/>
                <a:pathLst>
                  <a:path w="7" h="1">
                    <a:moveTo>
                      <a:pt x="7" y="0"/>
                    </a:moveTo>
                    <a:lnTo>
                      <a:pt x="7" y="0"/>
                    </a:lnTo>
                    <a:cubicBezTo>
                      <a:pt x="4" y="0"/>
                      <a:pt x="1" y="0"/>
                      <a:pt x="0" y="0"/>
                    </a:cubicBezTo>
                    <a:cubicBezTo>
                      <a:pt x="2" y="1"/>
                      <a:pt x="5" y="1"/>
                      <a:pt x="7"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3" name="Freeform 2449"/>
              <p:cNvSpPr>
                <a:spLocks/>
              </p:cNvSpPr>
              <p:nvPr/>
            </p:nvSpPr>
            <p:spPr bwMode="auto">
              <a:xfrm>
                <a:off x="4348163" y="3949701"/>
                <a:ext cx="1588" cy="0"/>
              </a:xfrm>
              <a:custGeom>
                <a:avLst/>
                <a:gdLst>
                  <a:gd name="T0" fmla="*/ 5 w 5"/>
                  <a:gd name="T1" fmla="*/ 0 h 1"/>
                  <a:gd name="T2" fmla="*/ 5 w 5"/>
                  <a:gd name="T3" fmla="*/ 0 h 1"/>
                  <a:gd name="T4" fmla="*/ 4 w 5"/>
                  <a:gd name="T5" fmla="*/ 0 h 1"/>
                  <a:gd name="T6" fmla="*/ 5 w 5"/>
                  <a:gd name="T7" fmla="*/ 0 h 1"/>
                </a:gdLst>
                <a:ahLst/>
                <a:cxnLst>
                  <a:cxn ang="0">
                    <a:pos x="T0" y="T1"/>
                  </a:cxn>
                  <a:cxn ang="0">
                    <a:pos x="T2" y="T3"/>
                  </a:cxn>
                  <a:cxn ang="0">
                    <a:pos x="T4" y="T5"/>
                  </a:cxn>
                  <a:cxn ang="0">
                    <a:pos x="T6" y="T7"/>
                  </a:cxn>
                </a:cxnLst>
                <a:rect l="0" t="0" r="r" b="b"/>
                <a:pathLst>
                  <a:path w="5" h="1">
                    <a:moveTo>
                      <a:pt x="5" y="0"/>
                    </a:moveTo>
                    <a:lnTo>
                      <a:pt x="5" y="0"/>
                    </a:lnTo>
                    <a:cubicBezTo>
                      <a:pt x="4" y="0"/>
                      <a:pt x="4" y="0"/>
                      <a:pt x="4" y="0"/>
                    </a:cubicBezTo>
                    <a:cubicBezTo>
                      <a:pt x="0" y="1"/>
                      <a:pt x="2" y="1"/>
                      <a:pt x="5"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4" name="Freeform 2450"/>
              <p:cNvSpPr>
                <a:spLocks/>
              </p:cNvSpPr>
              <p:nvPr/>
            </p:nvSpPr>
            <p:spPr bwMode="auto">
              <a:xfrm>
                <a:off x="4410076" y="3946526"/>
                <a:ext cx="1588" cy="0"/>
              </a:xfrm>
              <a:custGeom>
                <a:avLst/>
                <a:gdLst>
                  <a:gd name="T0" fmla="*/ 3 w 3"/>
                  <a:gd name="T1" fmla="*/ 0 h 1"/>
                  <a:gd name="T2" fmla="*/ 3 w 3"/>
                  <a:gd name="T3" fmla="*/ 0 h 1"/>
                  <a:gd name="T4" fmla="*/ 2 w 3"/>
                  <a:gd name="T5" fmla="*/ 0 h 1"/>
                  <a:gd name="T6" fmla="*/ 0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3" y="0"/>
                    </a:lnTo>
                    <a:lnTo>
                      <a:pt x="2" y="0"/>
                    </a:lnTo>
                    <a:lnTo>
                      <a:pt x="0" y="1"/>
                    </a:lnTo>
                    <a:lnTo>
                      <a:pt x="3"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5" name="Freeform 2451"/>
              <p:cNvSpPr>
                <a:spLocks/>
              </p:cNvSpPr>
              <p:nvPr/>
            </p:nvSpPr>
            <p:spPr bwMode="auto">
              <a:xfrm>
                <a:off x="4437063" y="3944938"/>
                <a:ext cx="1588" cy="0"/>
              </a:xfrm>
              <a:custGeom>
                <a:avLst/>
                <a:gdLst>
                  <a:gd name="T0" fmla="*/ 2 w 3"/>
                  <a:gd name="T1" fmla="*/ 0 h 1"/>
                  <a:gd name="T2" fmla="*/ 2 w 3"/>
                  <a:gd name="T3" fmla="*/ 0 h 1"/>
                  <a:gd name="T4" fmla="*/ 0 w 3"/>
                  <a:gd name="T5" fmla="*/ 1 h 1"/>
                  <a:gd name="T6" fmla="*/ 3 w 3"/>
                  <a:gd name="T7" fmla="*/ 1 h 1"/>
                  <a:gd name="T8" fmla="*/ 2 w 3"/>
                  <a:gd name="T9" fmla="*/ 0 h 1"/>
                </a:gdLst>
                <a:ahLst/>
                <a:cxnLst>
                  <a:cxn ang="0">
                    <a:pos x="T0" y="T1"/>
                  </a:cxn>
                  <a:cxn ang="0">
                    <a:pos x="T2" y="T3"/>
                  </a:cxn>
                  <a:cxn ang="0">
                    <a:pos x="T4" y="T5"/>
                  </a:cxn>
                  <a:cxn ang="0">
                    <a:pos x="T6" y="T7"/>
                  </a:cxn>
                  <a:cxn ang="0">
                    <a:pos x="T8" y="T9"/>
                  </a:cxn>
                </a:cxnLst>
                <a:rect l="0" t="0" r="r" b="b"/>
                <a:pathLst>
                  <a:path w="3" h="1">
                    <a:moveTo>
                      <a:pt x="2" y="0"/>
                    </a:moveTo>
                    <a:lnTo>
                      <a:pt x="2" y="0"/>
                    </a:lnTo>
                    <a:cubicBezTo>
                      <a:pt x="1" y="1"/>
                      <a:pt x="0" y="1"/>
                      <a:pt x="0" y="1"/>
                    </a:cubicBezTo>
                    <a:cubicBezTo>
                      <a:pt x="1" y="1"/>
                      <a:pt x="2" y="1"/>
                      <a:pt x="3" y="1"/>
                    </a:cubicBezTo>
                    <a:cubicBezTo>
                      <a:pt x="3" y="1"/>
                      <a:pt x="2" y="1"/>
                      <a:pt x="2"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6" name="Freeform 2452"/>
              <p:cNvSpPr>
                <a:spLocks/>
              </p:cNvSpPr>
              <p:nvPr/>
            </p:nvSpPr>
            <p:spPr bwMode="auto">
              <a:xfrm>
                <a:off x="4375151" y="3948113"/>
                <a:ext cx="1588" cy="0"/>
              </a:xfrm>
              <a:custGeom>
                <a:avLst/>
                <a:gdLst>
                  <a:gd name="T0" fmla="*/ 1 w 3"/>
                  <a:gd name="T1" fmla="*/ 3 h 3"/>
                  <a:gd name="T2" fmla="*/ 1 w 3"/>
                  <a:gd name="T3" fmla="*/ 3 h 3"/>
                  <a:gd name="T4" fmla="*/ 3 w 3"/>
                  <a:gd name="T5" fmla="*/ 0 h 3"/>
                  <a:gd name="T6" fmla="*/ 1 w 3"/>
                  <a:gd name="T7" fmla="*/ 3 h 3"/>
                </a:gdLst>
                <a:ahLst/>
                <a:cxnLst>
                  <a:cxn ang="0">
                    <a:pos x="T0" y="T1"/>
                  </a:cxn>
                  <a:cxn ang="0">
                    <a:pos x="T2" y="T3"/>
                  </a:cxn>
                  <a:cxn ang="0">
                    <a:pos x="T4" y="T5"/>
                  </a:cxn>
                  <a:cxn ang="0">
                    <a:pos x="T6" y="T7"/>
                  </a:cxn>
                </a:cxnLst>
                <a:rect l="0" t="0" r="r" b="b"/>
                <a:pathLst>
                  <a:path w="3" h="3">
                    <a:moveTo>
                      <a:pt x="1" y="3"/>
                    </a:moveTo>
                    <a:lnTo>
                      <a:pt x="1" y="3"/>
                    </a:lnTo>
                    <a:cubicBezTo>
                      <a:pt x="2" y="1"/>
                      <a:pt x="3" y="0"/>
                      <a:pt x="3" y="0"/>
                    </a:cubicBezTo>
                    <a:cubicBezTo>
                      <a:pt x="1" y="0"/>
                      <a:pt x="0" y="1"/>
                      <a:pt x="1" y="3"/>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7" name="Freeform 2453"/>
              <p:cNvSpPr>
                <a:spLocks/>
              </p:cNvSpPr>
              <p:nvPr/>
            </p:nvSpPr>
            <p:spPr bwMode="auto">
              <a:xfrm>
                <a:off x="4519613" y="4445001"/>
                <a:ext cx="0" cy="1588"/>
              </a:xfrm>
              <a:custGeom>
                <a:avLst/>
                <a:gdLst>
                  <a:gd name="T0" fmla="*/ 0 w 1"/>
                  <a:gd name="T1" fmla="*/ 1 h 1"/>
                  <a:gd name="T2" fmla="*/ 0 w 1"/>
                  <a:gd name="T3" fmla="*/ 1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1"/>
                    </a:cubicBezTo>
                    <a:cubicBezTo>
                      <a:pt x="0" y="0"/>
                      <a:pt x="0"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8" name="Freeform 2454"/>
              <p:cNvSpPr>
                <a:spLocks/>
              </p:cNvSpPr>
              <p:nvPr/>
            </p:nvSpPr>
            <p:spPr bwMode="auto">
              <a:xfrm>
                <a:off x="4516438" y="4400551"/>
                <a:ext cx="1588" cy="0"/>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cubicBezTo>
                      <a:pt x="1"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19" name="Freeform 2455"/>
              <p:cNvSpPr>
                <a:spLocks/>
              </p:cNvSpPr>
              <p:nvPr/>
            </p:nvSpPr>
            <p:spPr bwMode="auto">
              <a:xfrm>
                <a:off x="4521201" y="4473576"/>
                <a:ext cx="0" cy="1588"/>
              </a:xfrm>
              <a:custGeom>
                <a:avLst/>
                <a:gdLst>
                  <a:gd name="T0" fmla="*/ 1 w 1"/>
                  <a:gd name="T1" fmla="*/ 0 h 6"/>
                  <a:gd name="T2" fmla="*/ 1 w 1"/>
                  <a:gd name="T3" fmla="*/ 0 h 6"/>
                  <a:gd name="T4" fmla="*/ 0 w 1"/>
                  <a:gd name="T5" fmla="*/ 0 h 6"/>
                  <a:gd name="T6" fmla="*/ 1 w 1"/>
                  <a:gd name="T7" fmla="*/ 6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lnTo>
                      <a:pt x="1" y="0"/>
                    </a:lnTo>
                    <a:cubicBezTo>
                      <a:pt x="1" y="0"/>
                      <a:pt x="1" y="0"/>
                      <a:pt x="0" y="0"/>
                    </a:cubicBezTo>
                    <a:cubicBezTo>
                      <a:pt x="1" y="1"/>
                      <a:pt x="1" y="3"/>
                      <a:pt x="1" y="6"/>
                    </a:cubicBezTo>
                    <a:lnTo>
                      <a:pt x="1"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0" name="Freeform 2456"/>
              <p:cNvSpPr>
                <a:spLocks/>
              </p:cNvSpPr>
              <p:nvPr/>
            </p:nvSpPr>
            <p:spPr bwMode="auto">
              <a:xfrm>
                <a:off x="4513263" y="4302126"/>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1" name="Freeform 2457"/>
              <p:cNvSpPr>
                <a:spLocks/>
              </p:cNvSpPr>
              <p:nvPr/>
            </p:nvSpPr>
            <p:spPr bwMode="auto">
              <a:xfrm>
                <a:off x="4514851" y="4359276"/>
                <a:ext cx="0" cy="1588"/>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0" y="0"/>
                      <a:pt x="0" y="0"/>
                    </a:cubicBezTo>
                    <a:cubicBezTo>
                      <a:pt x="0" y="1"/>
                      <a:pt x="0" y="2"/>
                      <a:pt x="1"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2" name="Freeform 2458"/>
              <p:cNvSpPr>
                <a:spLocks/>
              </p:cNvSpPr>
              <p:nvPr/>
            </p:nvSpPr>
            <p:spPr bwMode="auto">
              <a:xfrm>
                <a:off x="4513263" y="4487863"/>
                <a:ext cx="0" cy="1588"/>
              </a:xfrm>
              <a:custGeom>
                <a:avLst/>
                <a:gdLst>
                  <a:gd name="T0" fmla="*/ 0 w 2"/>
                  <a:gd name="T1" fmla="*/ 3 h 3"/>
                  <a:gd name="T2" fmla="*/ 0 w 2"/>
                  <a:gd name="T3" fmla="*/ 3 h 3"/>
                  <a:gd name="T4" fmla="*/ 2 w 2"/>
                  <a:gd name="T5" fmla="*/ 0 h 3"/>
                  <a:gd name="T6" fmla="*/ 0 w 2"/>
                  <a:gd name="T7" fmla="*/ 3 h 3"/>
                </a:gdLst>
                <a:ahLst/>
                <a:cxnLst>
                  <a:cxn ang="0">
                    <a:pos x="T0" y="T1"/>
                  </a:cxn>
                  <a:cxn ang="0">
                    <a:pos x="T2" y="T3"/>
                  </a:cxn>
                  <a:cxn ang="0">
                    <a:pos x="T4" y="T5"/>
                  </a:cxn>
                  <a:cxn ang="0">
                    <a:pos x="T6" y="T7"/>
                  </a:cxn>
                </a:cxnLst>
                <a:rect l="0" t="0" r="r" b="b"/>
                <a:pathLst>
                  <a:path w="2" h="3">
                    <a:moveTo>
                      <a:pt x="0" y="3"/>
                    </a:moveTo>
                    <a:lnTo>
                      <a:pt x="0" y="3"/>
                    </a:lnTo>
                    <a:lnTo>
                      <a:pt x="2" y="0"/>
                    </a:lnTo>
                    <a:cubicBezTo>
                      <a:pt x="1" y="0"/>
                      <a:pt x="1" y="1"/>
                      <a:pt x="0" y="3"/>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3" name="Freeform 2459"/>
              <p:cNvSpPr>
                <a:spLocks/>
              </p:cNvSpPr>
              <p:nvPr/>
            </p:nvSpPr>
            <p:spPr bwMode="auto">
              <a:xfrm>
                <a:off x="4519613" y="451643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1" y="1"/>
                      <a:pt x="1" y="0"/>
                      <a:pt x="1" y="0"/>
                    </a:cubicBezTo>
                    <a:cubicBezTo>
                      <a:pt x="1" y="0"/>
                      <a:pt x="1"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4" name="Freeform 2460"/>
              <p:cNvSpPr>
                <a:spLocks/>
              </p:cNvSpPr>
              <p:nvPr/>
            </p:nvSpPr>
            <p:spPr bwMode="auto">
              <a:xfrm>
                <a:off x="4521201" y="450532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0" y="0"/>
                      <a:pt x="0" y="0"/>
                    </a:cubicBezTo>
                    <a:cubicBezTo>
                      <a:pt x="0" y="1"/>
                      <a:pt x="0" y="2"/>
                      <a:pt x="1"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5" name="Freeform 2461"/>
              <p:cNvSpPr>
                <a:spLocks/>
              </p:cNvSpPr>
              <p:nvPr/>
            </p:nvSpPr>
            <p:spPr bwMode="auto">
              <a:xfrm>
                <a:off x="4519613" y="4503738"/>
                <a:ext cx="1588" cy="1588"/>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cubicBezTo>
                      <a:pt x="0" y="1"/>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6" name="Freeform 2462"/>
              <p:cNvSpPr>
                <a:spLocks/>
              </p:cNvSpPr>
              <p:nvPr/>
            </p:nvSpPr>
            <p:spPr bwMode="auto">
              <a:xfrm>
                <a:off x="4505326" y="3943351"/>
                <a:ext cx="1588" cy="3175"/>
              </a:xfrm>
              <a:custGeom>
                <a:avLst/>
                <a:gdLst>
                  <a:gd name="T0" fmla="*/ 3 w 3"/>
                  <a:gd name="T1" fmla="*/ 7 h 7"/>
                  <a:gd name="T2" fmla="*/ 3 w 3"/>
                  <a:gd name="T3" fmla="*/ 7 h 7"/>
                  <a:gd name="T4" fmla="*/ 0 w 3"/>
                  <a:gd name="T5" fmla="*/ 0 h 7"/>
                  <a:gd name="T6" fmla="*/ 3 w 3"/>
                  <a:gd name="T7" fmla="*/ 7 h 7"/>
                </a:gdLst>
                <a:ahLst/>
                <a:cxnLst>
                  <a:cxn ang="0">
                    <a:pos x="T0" y="T1"/>
                  </a:cxn>
                  <a:cxn ang="0">
                    <a:pos x="T2" y="T3"/>
                  </a:cxn>
                  <a:cxn ang="0">
                    <a:pos x="T4" y="T5"/>
                  </a:cxn>
                  <a:cxn ang="0">
                    <a:pos x="T6" y="T7"/>
                  </a:cxn>
                </a:cxnLst>
                <a:rect l="0" t="0" r="r" b="b"/>
                <a:pathLst>
                  <a:path w="3" h="7">
                    <a:moveTo>
                      <a:pt x="3" y="7"/>
                    </a:moveTo>
                    <a:lnTo>
                      <a:pt x="3" y="7"/>
                    </a:lnTo>
                    <a:cubicBezTo>
                      <a:pt x="3" y="5"/>
                      <a:pt x="1" y="3"/>
                      <a:pt x="0" y="0"/>
                    </a:cubicBezTo>
                    <a:lnTo>
                      <a:pt x="3" y="7"/>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7" name="Freeform 2463"/>
              <p:cNvSpPr>
                <a:spLocks/>
              </p:cNvSpPr>
              <p:nvPr/>
            </p:nvSpPr>
            <p:spPr bwMode="auto">
              <a:xfrm>
                <a:off x="4508501" y="4213226"/>
                <a:ext cx="1588"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0" y="0"/>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8" name="Freeform 2464"/>
              <p:cNvSpPr>
                <a:spLocks/>
              </p:cNvSpPr>
              <p:nvPr/>
            </p:nvSpPr>
            <p:spPr bwMode="auto">
              <a:xfrm>
                <a:off x="4500563" y="3944938"/>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cubicBezTo>
                      <a:pt x="0" y="1"/>
                      <a:pt x="0" y="1"/>
                      <a:pt x="0"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29" name="Freeform 2465"/>
              <p:cNvSpPr>
                <a:spLocks/>
              </p:cNvSpPr>
              <p:nvPr/>
            </p:nvSpPr>
            <p:spPr bwMode="auto">
              <a:xfrm>
                <a:off x="4508501" y="4471988"/>
                <a:ext cx="1588" cy="3175"/>
              </a:xfrm>
              <a:custGeom>
                <a:avLst/>
                <a:gdLst>
                  <a:gd name="T0" fmla="*/ 3 w 3"/>
                  <a:gd name="T1" fmla="*/ 8 h 8"/>
                  <a:gd name="T2" fmla="*/ 3 w 3"/>
                  <a:gd name="T3" fmla="*/ 8 h 8"/>
                  <a:gd name="T4" fmla="*/ 1 w 3"/>
                  <a:gd name="T5" fmla="*/ 0 h 8"/>
                  <a:gd name="T6" fmla="*/ 3 w 3"/>
                  <a:gd name="T7" fmla="*/ 8 h 8"/>
                </a:gdLst>
                <a:ahLst/>
                <a:cxnLst>
                  <a:cxn ang="0">
                    <a:pos x="T0" y="T1"/>
                  </a:cxn>
                  <a:cxn ang="0">
                    <a:pos x="T2" y="T3"/>
                  </a:cxn>
                  <a:cxn ang="0">
                    <a:pos x="T4" y="T5"/>
                  </a:cxn>
                  <a:cxn ang="0">
                    <a:pos x="T6" y="T7"/>
                  </a:cxn>
                </a:cxnLst>
                <a:rect l="0" t="0" r="r" b="b"/>
                <a:pathLst>
                  <a:path w="3" h="8">
                    <a:moveTo>
                      <a:pt x="3" y="8"/>
                    </a:moveTo>
                    <a:lnTo>
                      <a:pt x="3" y="8"/>
                    </a:lnTo>
                    <a:cubicBezTo>
                      <a:pt x="1" y="5"/>
                      <a:pt x="3" y="0"/>
                      <a:pt x="1" y="0"/>
                    </a:cubicBezTo>
                    <a:cubicBezTo>
                      <a:pt x="1" y="3"/>
                      <a:pt x="0" y="7"/>
                      <a:pt x="3" y="8"/>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0" name="Freeform 2466"/>
              <p:cNvSpPr>
                <a:spLocks/>
              </p:cNvSpPr>
              <p:nvPr/>
            </p:nvSpPr>
            <p:spPr bwMode="auto">
              <a:xfrm>
                <a:off x="4484688" y="4194176"/>
                <a:ext cx="0" cy="1588"/>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cubicBezTo>
                      <a:pt x="0" y="1"/>
                      <a:pt x="0" y="1"/>
                      <a:pt x="0"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1" name="Freeform 2467"/>
              <p:cNvSpPr>
                <a:spLocks/>
              </p:cNvSpPr>
              <p:nvPr/>
            </p:nvSpPr>
            <p:spPr bwMode="auto">
              <a:xfrm>
                <a:off x="4500563" y="3944938"/>
                <a:ext cx="1588" cy="0"/>
              </a:xfrm>
              <a:custGeom>
                <a:avLst/>
                <a:gdLst>
                  <a:gd name="T0" fmla="*/ 0 w 1"/>
                  <a:gd name="T1" fmla="*/ 0 h 2"/>
                  <a:gd name="T2" fmla="*/ 0 w 1"/>
                  <a:gd name="T3" fmla="*/ 0 h 2"/>
                  <a:gd name="T4" fmla="*/ 0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0" y="2"/>
                    </a:lnTo>
                    <a:cubicBezTo>
                      <a:pt x="0" y="2"/>
                      <a:pt x="0" y="2"/>
                      <a:pt x="1" y="1"/>
                    </a:cubicBezTo>
                    <a:cubicBezTo>
                      <a:pt x="0" y="1"/>
                      <a:pt x="0" y="1"/>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2" name="Freeform 2468"/>
              <p:cNvSpPr>
                <a:spLocks/>
              </p:cNvSpPr>
              <p:nvPr/>
            </p:nvSpPr>
            <p:spPr bwMode="auto">
              <a:xfrm>
                <a:off x="4508501" y="4121151"/>
                <a:ext cx="0" cy="0"/>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cubicBezTo>
                      <a:pt x="0" y="0"/>
                      <a:pt x="0" y="0"/>
                      <a:pt x="0" y="1"/>
                    </a:cubicBezTo>
                    <a:lnTo>
                      <a:pt x="0"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3" name="Freeform 2469"/>
              <p:cNvSpPr>
                <a:spLocks/>
              </p:cNvSpPr>
              <p:nvPr/>
            </p:nvSpPr>
            <p:spPr bwMode="auto">
              <a:xfrm>
                <a:off x="4510088" y="4116388"/>
                <a:ext cx="0" cy="1588"/>
              </a:xfrm>
              <a:custGeom>
                <a:avLst/>
                <a:gdLst>
                  <a:gd name="T0" fmla="*/ 0 w 1"/>
                  <a:gd name="T1" fmla="*/ 0 h 4"/>
                  <a:gd name="T2" fmla="*/ 0 w 1"/>
                  <a:gd name="T3" fmla="*/ 0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0" y="0"/>
                    </a:lnTo>
                    <a:cubicBezTo>
                      <a:pt x="0" y="1"/>
                      <a:pt x="0" y="2"/>
                      <a:pt x="1" y="4"/>
                    </a:cubicBezTo>
                    <a:cubicBezTo>
                      <a:pt x="1" y="2"/>
                      <a:pt x="1" y="1"/>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4" name="Freeform 2470"/>
              <p:cNvSpPr>
                <a:spLocks/>
              </p:cNvSpPr>
              <p:nvPr/>
            </p:nvSpPr>
            <p:spPr bwMode="auto">
              <a:xfrm>
                <a:off x="4505326" y="3941763"/>
                <a:ext cx="0" cy="1588"/>
              </a:xfrm>
              <a:custGeom>
                <a:avLst/>
                <a:gdLst>
                  <a:gd name="T0" fmla="*/ 1 w 1"/>
                  <a:gd name="T1" fmla="*/ 4 h 4"/>
                  <a:gd name="T2" fmla="*/ 1 w 1"/>
                  <a:gd name="T3" fmla="*/ 4 h 4"/>
                  <a:gd name="T4" fmla="*/ 0 w 1"/>
                  <a:gd name="T5" fmla="*/ 0 h 4"/>
                  <a:gd name="T6" fmla="*/ 1 w 1"/>
                  <a:gd name="T7" fmla="*/ 4 h 4"/>
                </a:gdLst>
                <a:ahLst/>
                <a:cxnLst>
                  <a:cxn ang="0">
                    <a:pos x="T0" y="T1"/>
                  </a:cxn>
                  <a:cxn ang="0">
                    <a:pos x="T2" y="T3"/>
                  </a:cxn>
                  <a:cxn ang="0">
                    <a:pos x="T4" y="T5"/>
                  </a:cxn>
                  <a:cxn ang="0">
                    <a:pos x="T6" y="T7"/>
                  </a:cxn>
                </a:cxnLst>
                <a:rect l="0" t="0" r="r" b="b"/>
                <a:pathLst>
                  <a:path w="1" h="4">
                    <a:moveTo>
                      <a:pt x="1" y="4"/>
                    </a:moveTo>
                    <a:lnTo>
                      <a:pt x="1" y="4"/>
                    </a:lnTo>
                    <a:lnTo>
                      <a:pt x="0" y="0"/>
                    </a:lnTo>
                    <a:cubicBezTo>
                      <a:pt x="0" y="2"/>
                      <a:pt x="0" y="3"/>
                      <a:pt x="1" y="4"/>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5" name="Freeform 2471"/>
              <p:cNvSpPr>
                <a:spLocks/>
              </p:cNvSpPr>
              <p:nvPr/>
            </p:nvSpPr>
            <p:spPr bwMode="auto">
              <a:xfrm>
                <a:off x="4510088" y="4064001"/>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0"/>
                      <a:pt x="1" y="1"/>
                      <a:pt x="1" y="1"/>
                    </a:cubicBezTo>
                    <a:cubicBezTo>
                      <a:pt x="1"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6" name="Freeform 2472"/>
              <p:cNvSpPr>
                <a:spLocks/>
              </p:cNvSpPr>
              <p:nvPr/>
            </p:nvSpPr>
            <p:spPr bwMode="auto">
              <a:xfrm>
                <a:off x="4514851" y="4364038"/>
                <a:ext cx="0" cy="0"/>
              </a:xfrm>
              <a:custGeom>
                <a:avLst/>
                <a:gdLst>
                  <a:gd name="T0" fmla="*/ 0 w 1"/>
                  <a:gd name="T1" fmla="*/ 0 h 1"/>
                  <a:gd name="T2" fmla="*/ 0 w 1"/>
                  <a:gd name="T3" fmla="*/ 0 h 1"/>
                  <a:gd name="T4" fmla="*/ 0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0"/>
                      <a:pt x="0" y="1"/>
                      <a:pt x="0" y="1"/>
                    </a:cubicBezTo>
                    <a:cubicBezTo>
                      <a:pt x="0" y="1"/>
                      <a:pt x="1" y="1"/>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7" name="Rectangle 2473"/>
              <p:cNvSpPr>
                <a:spLocks noChangeArrowheads="1"/>
              </p:cNvSpPr>
              <p:nvPr/>
            </p:nvSpPr>
            <p:spPr bwMode="auto">
              <a:xfrm>
                <a:off x="4495801" y="4329113"/>
                <a:ext cx="1588" cy="1588"/>
              </a:xfrm>
              <a:prstGeom prst="rect">
                <a:avLst/>
              </a:prstGeom>
              <a:solidFill>
                <a:srgbClr val="6E6F73"/>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8" name="Freeform 2474"/>
              <p:cNvSpPr>
                <a:spLocks/>
              </p:cNvSpPr>
              <p:nvPr/>
            </p:nvSpPr>
            <p:spPr bwMode="auto">
              <a:xfrm>
                <a:off x="4495801" y="4329113"/>
                <a:ext cx="0" cy="1588"/>
              </a:xfrm>
              <a:custGeom>
                <a:avLst/>
                <a:gdLst>
                  <a:gd name="T0" fmla="*/ 3 w 3"/>
                  <a:gd name="T1" fmla="*/ 6 h 6"/>
                  <a:gd name="T2" fmla="*/ 3 w 3"/>
                  <a:gd name="T3" fmla="*/ 6 h 6"/>
                  <a:gd name="T4" fmla="*/ 0 w 3"/>
                  <a:gd name="T5" fmla="*/ 0 h 6"/>
                  <a:gd name="T6" fmla="*/ 3 w 3"/>
                  <a:gd name="T7" fmla="*/ 6 h 6"/>
                </a:gdLst>
                <a:ahLst/>
                <a:cxnLst>
                  <a:cxn ang="0">
                    <a:pos x="T0" y="T1"/>
                  </a:cxn>
                  <a:cxn ang="0">
                    <a:pos x="T2" y="T3"/>
                  </a:cxn>
                  <a:cxn ang="0">
                    <a:pos x="T4" y="T5"/>
                  </a:cxn>
                  <a:cxn ang="0">
                    <a:pos x="T6" y="T7"/>
                  </a:cxn>
                </a:cxnLst>
                <a:rect l="0" t="0" r="r" b="b"/>
                <a:pathLst>
                  <a:path w="3" h="6">
                    <a:moveTo>
                      <a:pt x="3" y="6"/>
                    </a:moveTo>
                    <a:lnTo>
                      <a:pt x="3" y="6"/>
                    </a:lnTo>
                    <a:cubicBezTo>
                      <a:pt x="3" y="4"/>
                      <a:pt x="2" y="1"/>
                      <a:pt x="0" y="0"/>
                    </a:cubicBezTo>
                    <a:cubicBezTo>
                      <a:pt x="0" y="2"/>
                      <a:pt x="1" y="3"/>
                      <a:pt x="3" y="6"/>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9" name="Freeform 2475"/>
              <p:cNvSpPr>
                <a:spLocks/>
              </p:cNvSpPr>
              <p:nvPr/>
            </p:nvSpPr>
            <p:spPr bwMode="auto">
              <a:xfrm>
                <a:off x="4495801" y="4324351"/>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1"/>
                      <a:pt x="0" y="1"/>
                    </a:cubicBezTo>
                    <a:cubicBezTo>
                      <a:pt x="0" y="1"/>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0" name="Freeform 2476"/>
              <p:cNvSpPr>
                <a:spLocks/>
              </p:cNvSpPr>
              <p:nvPr/>
            </p:nvSpPr>
            <p:spPr bwMode="auto">
              <a:xfrm>
                <a:off x="4497388" y="4364038"/>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1" name="Freeform 2477"/>
              <p:cNvSpPr>
                <a:spLocks/>
              </p:cNvSpPr>
              <p:nvPr/>
            </p:nvSpPr>
            <p:spPr bwMode="auto">
              <a:xfrm>
                <a:off x="4495801" y="4356101"/>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2"/>
                      <a:pt x="0" y="1"/>
                      <a:pt x="0" y="0"/>
                    </a:cubicBezTo>
                    <a:cubicBezTo>
                      <a:pt x="0" y="1"/>
                      <a:pt x="0" y="1"/>
                      <a:pt x="0"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2" name="Rectangle 2478"/>
              <p:cNvSpPr>
                <a:spLocks noChangeArrowheads="1"/>
              </p:cNvSpPr>
              <p:nvPr/>
            </p:nvSpPr>
            <p:spPr bwMode="auto">
              <a:xfrm>
                <a:off x="4492626" y="4305301"/>
                <a:ext cx="1588" cy="1588"/>
              </a:xfrm>
              <a:prstGeom prst="rect">
                <a:avLst/>
              </a:prstGeom>
              <a:solidFill>
                <a:srgbClr val="6E6F73"/>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3" name="Freeform 2479"/>
              <p:cNvSpPr>
                <a:spLocks/>
              </p:cNvSpPr>
              <p:nvPr/>
            </p:nvSpPr>
            <p:spPr bwMode="auto">
              <a:xfrm>
                <a:off x="4483101" y="3941763"/>
                <a:ext cx="39688" cy="584200"/>
              </a:xfrm>
              <a:custGeom>
                <a:avLst/>
                <a:gdLst>
                  <a:gd name="T0" fmla="*/ 10 w 127"/>
                  <a:gd name="T1" fmla="*/ 1031 h 1863"/>
                  <a:gd name="T2" fmla="*/ 20 w 127"/>
                  <a:gd name="T3" fmla="*/ 1105 h 1863"/>
                  <a:gd name="T4" fmla="*/ 29 w 127"/>
                  <a:gd name="T5" fmla="*/ 1156 h 1863"/>
                  <a:gd name="T6" fmla="*/ 31 w 127"/>
                  <a:gd name="T7" fmla="*/ 1185 h 1863"/>
                  <a:gd name="T8" fmla="*/ 36 w 127"/>
                  <a:gd name="T9" fmla="*/ 1216 h 1863"/>
                  <a:gd name="T10" fmla="*/ 39 w 127"/>
                  <a:gd name="T11" fmla="*/ 1230 h 1863"/>
                  <a:gd name="T12" fmla="*/ 40 w 127"/>
                  <a:gd name="T13" fmla="*/ 1259 h 1863"/>
                  <a:gd name="T14" fmla="*/ 41 w 127"/>
                  <a:gd name="T15" fmla="*/ 1296 h 1863"/>
                  <a:gd name="T16" fmla="*/ 51 w 127"/>
                  <a:gd name="T17" fmla="*/ 1338 h 1863"/>
                  <a:gd name="T18" fmla="*/ 59 w 127"/>
                  <a:gd name="T19" fmla="*/ 1381 h 1863"/>
                  <a:gd name="T20" fmla="*/ 59 w 127"/>
                  <a:gd name="T21" fmla="*/ 1409 h 1863"/>
                  <a:gd name="T22" fmla="*/ 60 w 127"/>
                  <a:gd name="T23" fmla="*/ 1437 h 1863"/>
                  <a:gd name="T24" fmla="*/ 54 w 127"/>
                  <a:gd name="T25" fmla="*/ 1480 h 1863"/>
                  <a:gd name="T26" fmla="*/ 74 w 127"/>
                  <a:gd name="T27" fmla="*/ 1524 h 1863"/>
                  <a:gd name="T28" fmla="*/ 80 w 127"/>
                  <a:gd name="T29" fmla="*/ 1563 h 1863"/>
                  <a:gd name="T30" fmla="*/ 78 w 127"/>
                  <a:gd name="T31" fmla="*/ 1622 h 1863"/>
                  <a:gd name="T32" fmla="*/ 89 w 127"/>
                  <a:gd name="T33" fmla="*/ 1661 h 1863"/>
                  <a:gd name="T34" fmla="*/ 96 w 127"/>
                  <a:gd name="T35" fmla="*/ 1685 h 1863"/>
                  <a:gd name="T36" fmla="*/ 83 w 127"/>
                  <a:gd name="T37" fmla="*/ 1692 h 1863"/>
                  <a:gd name="T38" fmla="*/ 93 w 127"/>
                  <a:gd name="T39" fmla="*/ 1720 h 1863"/>
                  <a:gd name="T40" fmla="*/ 93 w 127"/>
                  <a:gd name="T41" fmla="*/ 1739 h 1863"/>
                  <a:gd name="T42" fmla="*/ 103 w 127"/>
                  <a:gd name="T43" fmla="*/ 1756 h 1863"/>
                  <a:gd name="T44" fmla="*/ 108 w 127"/>
                  <a:gd name="T45" fmla="*/ 1818 h 1863"/>
                  <a:gd name="T46" fmla="*/ 107 w 127"/>
                  <a:gd name="T47" fmla="*/ 1849 h 1863"/>
                  <a:gd name="T48" fmla="*/ 115 w 127"/>
                  <a:gd name="T49" fmla="*/ 1828 h 1863"/>
                  <a:gd name="T50" fmla="*/ 115 w 127"/>
                  <a:gd name="T51" fmla="*/ 1801 h 1863"/>
                  <a:gd name="T52" fmla="*/ 124 w 127"/>
                  <a:gd name="T53" fmla="*/ 1786 h 1863"/>
                  <a:gd name="T54" fmla="*/ 117 w 127"/>
                  <a:gd name="T55" fmla="*/ 1725 h 1863"/>
                  <a:gd name="T56" fmla="*/ 122 w 127"/>
                  <a:gd name="T57" fmla="*/ 1708 h 1863"/>
                  <a:gd name="T58" fmla="*/ 120 w 127"/>
                  <a:gd name="T59" fmla="*/ 1681 h 1863"/>
                  <a:gd name="T60" fmla="*/ 116 w 127"/>
                  <a:gd name="T61" fmla="*/ 1610 h 1863"/>
                  <a:gd name="T62" fmla="*/ 114 w 127"/>
                  <a:gd name="T63" fmla="*/ 1580 h 1863"/>
                  <a:gd name="T64" fmla="*/ 111 w 127"/>
                  <a:gd name="T65" fmla="*/ 1541 h 1863"/>
                  <a:gd name="T66" fmla="*/ 109 w 127"/>
                  <a:gd name="T67" fmla="*/ 1511 h 1863"/>
                  <a:gd name="T68" fmla="*/ 109 w 127"/>
                  <a:gd name="T69" fmla="*/ 1478 h 1863"/>
                  <a:gd name="T70" fmla="*/ 107 w 127"/>
                  <a:gd name="T71" fmla="*/ 1453 h 1863"/>
                  <a:gd name="T72" fmla="*/ 101 w 127"/>
                  <a:gd name="T73" fmla="*/ 1372 h 1863"/>
                  <a:gd name="T74" fmla="*/ 102 w 127"/>
                  <a:gd name="T75" fmla="*/ 1329 h 1863"/>
                  <a:gd name="T76" fmla="*/ 95 w 127"/>
                  <a:gd name="T77" fmla="*/ 1275 h 1863"/>
                  <a:gd name="T78" fmla="*/ 92 w 127"/>
                  <a:gd name="T79" fmla="*/ 1246 h 1863"/>
                  <a:gd name="T80" fmla="*/ 96 w 127"/>
                  <a:gd name="T81" fmla="*/ 1194 h 1863"/>
                  <a:gd name="T82" fmla="*/ 96 w 127"/>
                  <a:gd name="T83" fmla="*/ 1146 h 1863"/>
                  <a:gd name="T84" fmla="*/ 93 w 127"/>
                  <a:gd name="T85" fmla="*/ 1098 h 1863"/>
                  <a:gd name="T86" fmla="*/ 93 w 127"/>
                  <a:gd name="T87" fmla="*/ 996 h 1863"/>
                  <a:gd name="T88" fmla="*/ 86 w 127"/>
                  <a:gd name="T89" fmla="*/ 883 h 1863"/>
                  <a:gd name="T90" fmla="*/ 81 w 127"/>
                  <a:gd name="T91" fmla="*/ 854 h 1863"/>
                  <a:gd name="T92" fmla="*/ 80 w 127"/>
                  <a:gd name="T93" fmla="*/ 813 h 1863"/>
                  <a:gd name="T94" fmla="*/ 84 w 127"/>
                  <a:gd name="T95" fmla="*/ 757 h 1863"/>
                  <a:gd name="T96" fmla="*/ 85 w 127"/>
                  <a:gd name="T97" fmla="*/ 622 h 1863"/>
                  <a:gd name="T98" fmla="*/ 83 w 127"/>
                  <a:gd name="T99" fmla="*/ 524 h 1863"/>
                  <a:gd name="T100" fmla="*/ 84 w 127"/>
                  <a:gd name="T101" fmla="*/ 409 h 1863"/>
                  <a:gd name="T102" fmla="*/ 76 w 127"/>
                  <a:gd name="T103" fmla="*/ 16 h 1863"/>
                  <a:gd name="T104" fmla="*/ 59 w 127"/>
                  <a:gd name="T105" fmla="*/ 14 h 1863"/>
                  <a:gd name="T106" fmla="*/ 57 w 127"/>
                  <a:gd name="T107" fmla="*/ 30 h 1863"/>
                  <a:gd name="T108" fmla="*/ 47 w 127"/>
                  <a:gd name="T109" fmla="*/ 69 h 1863"/>
                  <a:gd name="T110" fmla="*/ 40 w 127"/>
                  <a:gd name="T111" fmla="*/ 96 h 1863"/>
                  <a:gd name="T112" fmla="*/ 18 w 127"/>
                  <a:gd name="T113" fmla="*/ 256 h 1863"/>
                  <a:gd name="T114" fmla="*/ 7 w 127"/>
                  <a:gd name="T115" fmla="*/ 566 h 1863"/>
                  <a:gd name="T116" fmla="*/ 6 w 127"/>
                  <a:gd name="T117" fmla="*/ 604 h 1863"/>
                  <a:gd name="T118" fmla="*/ 8 w 127"/>
                  <a:gd name="T119" fmla="*/ 730 h 1863"/>
                  <a:gd name="T120" fmla="*/ 3 w 127"/>
                  <a:gd name="T121" fmla="*/ 751 h 1863"/>
                  <a:gd name="T122" fmla="*/ 6 w 127"/>
                  <a:gd name="T123" fmla="*/ 816 h 1863"/>
                  <a:gd name="T124" fmla="*/ 8 w 127"/>
                  <a:gd name="T125" fmla="*/ 880 h 1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 h="1863">
                    <a:moveTo>
                      <a:pt x="4" y="927"/>
                    </a:moveTo>
                    <a:lnTo>
                      <a:pt x="4" y="927"/>
                    </a:lnTo>
                    <a:cubicBezTo>
                      <a:pt x="6" y="950"/>
                      <a:pt x="11" y="981"/>
                      <a:pt x="11" y="1004"/>
                    </a:cubicBezTo>
                    <a:cubicBezTo>
                      <a:pt x="15" y="1009"/>
                      <a:pt x="15" y="1016"/>
                      <a:pt x="17" y="1024"/>
                    </a:cubicBezTo>
                    <a:lnTo>
                      <a:pt x="11" y="1025"/>
                    </a:lnTo>
                    <a:lnTo>
                      <a:pt x="13" y="1031"/>
                    </a:lnTo>
                    <a:cubicBezTo>
                      <a:pt x="12" y="1034"/>
                      <a:pt x="12" y="1026"/>
                      <a:pt x="10" y="1031"/>
                    </a:cubicBezTo>
                    <a:lnTo>
                      <a:pt x="14" y="1033"/>
                    </a:lnTo>
                    <a:cubicBezTo>
                      <a:pt x="12" y="1034"/>
                      <a:pt x="13" y="1049"/>
                      <a:pt x="9" y="1039"/>
                    </a:cubicBezTo>
                    <a:lnTo>
                      <a:pt x="10" y="1063"/>
                    </a:lnTo>
                    <a:cubicBezTo>
                      <a:pt x="10" y="1068"/>
                      <a:pt x="15" y="1066"/>
                      <a:pt x="14" y="1072"/>
                    </a:cubicBezTo>
                    <a:cubicBezTo>
                      <a:pt x="12" y="1073"/>
                      <a:pt x="12" y="1070"/>
                      <a:pt x="10" y="1070"/>
                    </a:cubicBezTo>
                    <a:cubicBezTo>
                      <a:pt x="7" y="1088"/>
                      <a:pt x="22" y="1090"/>
                      <a:pt x="21" y="1107"/>
                    </a:cubicBezTo>
                    <a:lnTo>
                      <a:pt x="20" y="1105"/>
                    </a:lnTo>
                    <a:cubicBezTo>
                      <a:pt x="21" y="1108"/>
                      <a:pt x="21" y="1114"/>
                      <a:pt x="22" y="1114"/>
                    </a:cubicBezTo>
                    <a:cubicBezTo>
                      <a:pt x="28" y="1111"/>
                      <a:pt x="19" y="1111"/>
                      <a:pt x="22" y="1106"/>
                    </a:cubicBezTo>
                    <a:cubicBezTo>
                      <a:pt x="27" y="1106"/>
                      <a:pt x="25" y="1112"/>
                      <a:pt x="28" y="1111"/>
                    </a:cubicBezTo>
                    <a:cubicBezTo>
                      <a:pt x="27" y="1115"/>
                      <a:pt x="30" y="1117"/>
                      <a:pt x="30" y="1121"/>
                    </a:cubicBezTo>
                    <a:cubicBezTo>
                      <a:pt x="28" y="1126"/>
                      <a:pt x="30" y="1135"/>
                      <a:pt x="27" y="1139"/>
                    </a:cubicBezTo>
                    <a:cubicBezTo>
                      <a:pt x="28" y="1142"/>
                      <a:pt x="33" y="1145"/>
                      <a:pt x="34" y="1151"/>
                    </a:cubicBezTo>
                    <a:cubicBezTo>
                      <a:pt x="30" y="1155"/>
                      <a:pt x="30" y="1150"/>
                      <a:pt x="29" y="1156"/>
                    </a:cubicBezTo>
                    <a:lnTo>
                      <a:pt x="32" y="1157"/>
                    </a:lnTo>
                    <a:cubicBezTo>
                      <a:pt x="32" y="1162"/>
                      <a:pt x="31" y="1161"/>
                      <a:pt x="30" y="1161"/>
                    </a:cubicBezTo>
                    <a:cubicBezTo>
                      <a:pt x="30" y="1166"/>
                      <a:pt x="34" y="1165"/>
                      <a:pt x="32" y="1171"/>
                    </a:cubicBezTo>
                    <a:lnTo>
                      <a:pt x="30" y="1168"/>
                    </a:lnTo>
                    <a:cubicBezTo>
                      <a:pt x="31" y="1173"/>
                      <a:pt x="31" y="1175"/>
                      <a:pt x="31" y="1181"/>
                    </a:cubicBezTo>
                    <a:cubicBezTo>
                      <a:pt x="29" y="1181"/>
                      <a:pt x="29" y="1179"/>
                      <a:pt x="29" y="1177"/>
                    </a:cubicBezTo>
                    <a:cubicBezTo>
                      <a:pt x="26" y="1180"/>
                      <a:pt x="32" y="1183"/>
                      <a:pt x="31" y="1185"/>
                    </a:cubicBezTo>
                    <a:cubicBezTo>
                      <a:pt x="32" y="1184"/>
                      <a:pt x="33" y="1179"/>
                      <a:pt x="35" y="1181"/>
                    </a:cubicBezTo>
                    <a:cubicBezTo>
                      <a:pt x="35" y="1185"/>
                      <a:pt x="40" y="1188"/>
                      <a:pt x="36" y="1191"/>
                    </a:cubicBezTo>
                    <a:lnTo>
                      <a:pt x="34" y="1187"/>
                    </a:lnTo>
                    <a:cubicBezTo>
                      <a:pt x="36" y="1194"/>
                      <a:pt x="37" y="1191"/>
                      <a:pt x="37" y="1199"/>
                    </a:cubicBezTo>
                    <a:cubicBezTo>
                      <a:pt x="37" y="1198"/>
                      <a:pt x="36" y="1199"/>
                      <a:pt x="35" y="1199"/>
                    </a:cubicBezTo>
                    <a:cubicBezTo>
                      <a:pt x="39" y="1203"/>
                      <a:pt x="36" y="1210"/>
                      <a:pt x="37" y="1218"/>
                    </a:cubicBezTo>
                    <a:lnTo>
                      <a:pt x="36" y="1216"/>
                    </a:lnTo>
                    <a:cubicBezTo>
                      <a:pt x="37" y="1219"/>
                      <a:pt x="39" y="1221"/>
                      <a:pt x="39" y="1222"/>
                    </a:cubicBezTo>
                    <a:cubicBezTo>
                      <a:pt x="41" y="1218"/>
                      <a:pt x="41" y="1219"/>
                      <a:pt x="44" y="1218"/>
                    </a:cubicBezTo>
                    <a:cubicBezTo>
                      <a:pt x="40" y="1224"/>
                      <a:pt x="50" y="1227"/>
                      <a:pt x="48" y="1236"/>
                    </a:cubicBezTo>
                    <a:cubicBezTo>
                      <a:pt x="46" y="1236"/>
                      <a:pt x="44" y="1234"/>
                      <a:pt x="46" y="1231"/>
                    </a:cubicBezTo>
                    <a:cubicBezTo>
                      <a:pt x="41" y="1228"/>
                      <a:pt x="37" y="1228"/>
                      <a:pt x="34" y="1223"/>
                    </a:cubicBezTo>
                    <a:cubicBezTo>
                      <a:pt x="36" y="1226"/>
                      <a:pt x="37" y="1230"/>
                      <a:pt x="35" y="1229"/>
                    </a:cubicBezTo>
                    <a:lnTo>
                      <a:pt x="39" y="1230"/>
                    </a:lnTo>
                    <a:cubicBezTo>
                      <a:pt x="39" y="1232"/>
                      <a:pt x="39" y="1234"/>
                      <a:pt x="39" y="1236"/>
                    </a:cubicBezTo>
                    <a:cubicBezTo>
                      <a:pt x="42" y="1236"/>
                      <a:pt x="43" y="1231"/>
                      <a:pt x="45" y="1236"/>
                    </a:cubicBezTo>
                    <a:cubicBezTo>
                      <a:pt x="47" y="1241"/>
                      <a:pt x="41" y="1239"/>
                      <a:pt x="43" y="1240"/>
                    </a:cubicBezTo>
                    <a:cubicBezTo>
                      <a:pt x="45" y="1247"/>
                      <a:pt x="48" y="1242"/>
                      <a:pt x="47" y="1250"/>
                    </a:cubicBezTo>
                    <a:cubicBezTo>
                      <a:pt x="47" y="1249"/>
                      <a:pt x="46" y="1248"/>
                      <a:pt x="46" y="1247"/>
                    </a:cubicBezTo>
                    <a:cubicBezTo>
                      <a:pt x="45" y="1252"/>
                      <a:pt x="48" y="1260"/>
                      <a:pt x="43" y="1262"/>
                    </a:cubicBezTo>
                    <a:cubicBezTo>
                      <a:pt x="42" y="1261"/>
                      <a:pt x="40" y="1261"/>
                      <a:pt x="40" y="1259"/>
                    </a:cubicBezTo>
                    <a:lnTo>
                      <a:pt x="41" y="1259"/>
                    </a:lnTo>
                    <a:cubicBezTo>
                      <a:pt x="37" y="1254"/>
                      <a:pt x="43" y="1264"/>
                      <a:pt x="38" y="1262"/>
                    </a:cubicBezTo>
                    <a:cubicBezTo>
                      <a:pt x="41" y="1262"/>
                      <a:pt x="41" y="1269"/>
                      <a:pt x="40" y="1272"/>
                    </a:cubicBezTo>
                    <a:lnTo>
                      <a:pt x="43" y="1271"/>
                    </a:lnTo>
                    <a:cubicBezTo>
                      <a:pt x="53" y="1281"/>
                      <a:pt x="37" y="1271"/>
                      <a:pt x="39" y="1282"/>
                    </a:cubicBezTo>
                    <a:cubicBezTo>
                      <a:pt x="42" y="1288"/>
                      <a:pt x="40" y="1279"/>
                      <a:pt x="42" y="1283"/>
                    </a:cubicBezTo>
                    <a:cubicBezTo>
                      <a:pt x="42" y="1288"/>
                      <a:pt x="39" y="1290"/>
                      <a:pt x="41" y="1296"/>
                    </a:cubicBezTo>
                    <a:cubicBezTo>
                      <a:pt x="40" y="1298"/>
                      <a:pt x="39" y="1302"/>
                      <a:pt x="35" y="1303"/>
                    </a:cubicBezTo>
                    <a:cubicBezTo>
                      <a:pt x="37" y="1307"/>
                      <a:pt x="35" y="1316"/>
                      <a:pt x="38" y="1318"/>
                    </a:cubicBezTo>
                    <a:cubicBezTo>
                      <a:pt x="41" y="1310"/>
                      <a:pt x="34" y="1311"/>
                      <a:pt x="38" y="1302"/>
                    </a:cubicBezTo>
                    <a:lnTo>
                      <a:pt x="42" y="1304"/>
                    </a:lnTo>
                    <a:cubicBezTo>
                      <a:pt x="42" y="1310"/>
                      <a:pt x="44" y="1317"/>
                      <a:pt x="43" y="1321"/>
                    </a:cubicBezTo>
                    <a:cubicBezTo>
                      <a:pt x="44" y="1320"/>
                      <a:pt x="45" y="1320"/>
                      <a:pt x="45" y="1320"/>
                    </a:cubicBezTo>
                    <a:cubicBezTo>
                      <a:pt x="47" y="1328"/>
                      <a:pt x="51" y="1331"/>
                      <a:pt x="51" y="1338"/>
                    </a:cubicBezTo>
                    <a:cubicBezTo>
                      <a:pt x="48" y="1340"/>
                      <a:pt x="48" y="1335"/>
                      <a:pt x="47" y="1332"/>
                    </a:cubicBezTo>
                    <a:cubicBezTo>
                      <a:pt x="45" y="1337"/>
                      <a:pt x="47" y="1337"/>
                      <a:pt x="47" y="1345"/>
                    </a:cubicBezTo>
                    <a:cubicBezTo>
                      <a:pt x="44" y="1346"/>
                      <a:pt x="47" y="1340"/>
                      <a:pt x="44" y="1339"/>
                    </a:cubicBezTo>
                    <a:lnTo>
                      <a:pt x="46" y="1348"/>
                    </a:lnTo>
                    <a:cubicBezTo>
                      <a:pt x="45" y="1348"/>
                      <a:pt x="45" y="1348"/>
                      <a:pt x="45" y="1348"/>
                    </a:cubicBezTo>
                    <a:cubicBezTo>
                      <a:pt x="50" y="1349"/>
                      <a:pt x="45" y="1355"/>
                      <a:pt x="47" y="1360"/>
                    </a:cubicBezTo>
                    <a:cubicBezTo>
                      <a:pt x="48" y="1372"/>
                      <a:pt x="54" y="1374"/>
                      <a:pt x="59" y="1381"/>
                    </a:cubicBezTo>
                    <a:cubicBezTo>
                      <a:pt x="58" y="1383"/>
                      <a:pt x="56" y="1383"/>
                      <a:pt x="55" y="1382"/>
                    </a:cubicBezTo>
                    <a:cubicBezTo>
                      <a:pt x="57" y="1379"/>
                      <a:pt x="55" y="1380"/>
                      <a:pt x="54" y="1379"/>
                    </a:cubicBezTo>
                    <a:cubicBezTo>
                      <a:pt x="55" y="1383"/>
                      <a:pt x="51" y="1389"/>
                      <a:pt x="48" y="1386"/>
                    </a:cubicBezTo>
                    <a:cubicBezTo>
                      <a:pt x="50" y="1393"/>
                      <a:pt x="51" y="1384"/>
                      <a:pt x="52" y="1388"/>
                    </a:cubicBezTo>
                    <a:lnTo>
                      <a:pt x="53" y="1397"/>
                    </a:lnTo>
                    <a:cubicBezTo>
                      <a:pt x="55" y="1396"/>
                      <a:pt x="55" y="1393"/>
                      <a:pt x="58" y="1397"/>
                    </a:cubicBezTo>
                    <a:cubicBezTo>
                      <a:pt x="59" y="1401"/>
                      <a:pt x="58" y="1403"/>
                      <a:pt x="59" y="1409"/>
                    </a:cubicBezTo>
                    <a:cubicBezTo>
                      <a:pt x="57" y="1408"/>
                      <a:pt x="55" y="1411"/>
                      <a:pt x="55" y="1407"/>
                    </a:cubicBezTo>
                    <a:cubicBezTo>
                      <a:pt x="54" y="1409"/>
                      <a:pt x="55" y="1413"/>
                      <a:pt x="57" y="1415"/>
                    </a:cubicBezTo>
                    <a:cubicBezTo>
                      <a:pt x="59" y="1409"/>
                      <a:pt x="60" y="1424"/>
                      <a:pt x="63" y="1419"/>
                    </a:cubicBezTo>
                    <a:lnTo>
                      <a:pt x="61" y="1425"/>
                    </a:lnTo>
                    <a:cubicBezTo>
                      <a:pt x="61" y="1424"/>
                      <a:pt x="60" y="1424"/>
                      <a:pt x="60" y="1422"/>
                    </a:cubicBezTo>
                    <a:cubicBezTo>
                      <a:pt x="57" y="1424"/>
                      <a:pt x="62" y="1427"/>
                      <a:pt x="62" y="1429"/>
                    </a:cubicBezTo>
                    <a:cubicBezTo>
                      <a:pt x="62" y="1431"/>
                      <a:pt x="62" y="1436"/>
                      <a:pt x="60" y="1437"/>
                    </a:cubicBezTo>
                    <a:cubicBezTo>
                      <a:pt x="62" y="1438"/>
                      <a:pt x="61" y="1443"/>
                      <a:pt x="60" y="1444"/>
                    </a:cubicBezTo>
                    <a:cubicBezTo>
                      <a:pt x="60" y="1446"/>
                      <a:pt x="62" y="1444"/>
                      <a:pt x="63" y="1445"/>
                    </a:cubicBezTo>
                    <a:lnTo>
                      <a:pt x="64" y="1454"/>
                    </a:lnTo>
                    <a:cubicBezTo>
                      <a:pt x="62" y="1455"/>
                      <a:pt x="56" y="1456"/>
                      <a:pt x="56" y="1454"/>
                    </a:cubicBezTo>
                    <a:cubicBezTo>
                      <a:pt x="58" y="1458"/>
                      <a:pt x="61" y="1455"/>
                      <a:pt x="62" y="1461"/>
                    </a:cubicBezTo>
                    <a:cubicBezTo>
                      <a:pt x="58" y="1458"/>
                      <a:pt x="59" y="1468"/>
                      <a:pt x="55" y="1464"/>
                    </a:cubicBezTo>
                    <a:cubicBezTo>
                      <a:pt x="52" y="1467"/>
                      <a:pt x="53" y="1476"/>
                      <a:pt x="54" y="1480"/>
                    </a:cubicBezTo>
                    <a:cubicBezTo>
                      <a:pt x="58" y="1483"/>
                      <a:pt x="56" y="1475"/>
                      <a:pt x="59" y="1475"/>
                    </a:cubicBezTo>
                    <a:cubicBezTo>
                      <a:pt x="61" y="1488"/>
                      <a:pt x="70" y="1488"/>
                      <a:pt x="69" y="1498"/>
                    </a:cubicBezTo>
                    <a:lnTo>
                      <a:pt x="70" y="1496"/>
                    </a:lnTo>
                    <a:cubicBezTo>
                      <a:pt x="72" y="1502"/>
                      <a:pt x="72" y="1501"/>
                      <a:pt x="75" y="1504"/>
                    </a:cubicBezTo>
                    <a:cubicBezTo>
                      <a:pt x="71" y="1503"/>
                      <a:pt x="65" y="1512"/>
                      <a:pt x="67" y="1522"/>
                    </a:cubicBezTo>
                    <a:cubicBezTo>
                      <a:pt x="69" y="1523"/>
                      <a:pt x="70" y="1516"/>
                      <a:pt x="73" y="1518"/>
                    </a:cubicBezTo>
                    <a:lnTo>
                      <a:pt x="74" y="1524"/>
                    </a:lnTo>
                    <a:cubicBezTo>
                      <a:pt x="74" y="1525"/>
                      <a:pt x="73" y="1524"/>
                      <a:pt x="73" y="1523"/>
                    </a:cubicBezTo>
                    <a:cubicBezTo>
                      <a:pt x="75" y="1529"/>
                      <a:pt x="69" y="1535"/>
                      <a:pt x="74" y="1536"/>
                    </a:cubicBezTo>
                    <a:lnTo>
                      <a:pt x="69" y="1543"/>
                    </a:lnTo>
                    <a:lnTo>
                      <a:pt x="71" y="1540"/>
                    </a:lnTo>
                    <a:cubicBezTo>
                      <a:pt x="73" y="1541"/>
                      <a:pt x="74" y="1548"/>
                      <a:pt x="75" y="1549"/>
                    </a:cubicBezTo>
                    <a:cubicBezTo>
                      <a:pt x="78" y="1556"/>
                      <a:pt x="76" y="1558"/>
                      <a:pt x="74" y="1562"/>
                    </a:cubicBezTo>
                    <a:cubicBezTo>
                      <a:pt x="76" y="1561"/>
                      <a:pt x="79" y="1558"/>
                      <a:pt x="80" y="1563"/>
                    </a:cubicBezTo>
                    <a:cubicBezTo>
                      <a:pt x="74" y="1564"/>
                      <a:pt x="79" y="1575"/>
                      <a:pt x="76" y="1575"/>
                    </a:cubicBezTo>
                    <a:cubicBezTo>
                      <a:pt x="76" y="1577"/>
                      <a:pt x="75" y="1581"/>
                      <a:pt x="77" y="1581"/>
                    </a:cubicBezTo>
                    <a:lnTo>
                      <a:pt x="73" y="1581"/>
                    </a:lnTo>
                    <a:cubicBezTo>
                      <a:pt x="79" y="1581"/>
                      <a:pt x="79" y="1589"/>
                      <a:pt x="81" y="1595"/>
                    </a:cubicBezTo>
                    <a:cubicBezTo>
                      <a:pt x="74" y="1594"/>
                      <a:pt x="82" y="1602"/>
                      <a:pt x="76" y="1605"/>
                    </a:cubicBezTo>
                    <a:cubicBezTo>
                      <a:pt x="81" y="1606"/>
                      <a:pt x="79" y="1616"/>
                      <a:pt x="84" y="1616"/>
                    </a:cubicBezTo>
                    <a:cubicBezTo>
                      <a:pt x="84" y="1621"/>
                      <a:pt x="80" y="1621"/>
                      <a:pt x="78" y="1622"/>
                    </a:cubicBezTo>
                    <a:lnTo>
                      <a:pt x="80" y="1624"/>
                    </a:lnTo>
                    <a:cubicBezTo>
                      <a:pt x="78" y="1627"/>
                      <a:pt x="79" y="1636"/>
                      <a:pt x="78" y="1641"/>
                    </a:cubicBezTo>
                    <a:lnTo>
                      <a:pt x="83" y="1645"/>
                    </a:lnTo>
                    <a:lnTo>
                      <a:pt x="81" y="1648"/>
                    </a:lnTo>
                    <a:cubicBezTo>
                      <a:pt x="82" y="1648"/>
                      <a:pt x="83" y="1652"/>
                      <a:pt x="85" y="1649"/>
                    </a:cubicBezTo>
                    <a:lnTo>
                      <a:pt x="85" y="1652"/>
                    </a:lnTo>
                    <a:cubicBezTo>
                      <a:pt x="89" y="1652"/>
                      <a:pt x="86" y="1656"/>
                      <a:pt x="89" y="1661"/>
                    </a:cubicBezTo>
                    <a:cubicBezTo>
                      <a:pt x="88" y="1662"/>
                      <a:pt x="87" y="1662"/>
                      <a:pt x="86" y="1661"/>
                    </a:cubicBezTo>
                    <a:cubicBezTo>
                      <a:pt x="87" y="1663"/>
                      <a:pt x="84" y="1663"/>
                      <a:pt x="83" y="1664"/>
                    </a:cubicBezTo>
                    <a:cubicBezTo>
                      <a:pt x="84" y="1662"/>
                      <a:pt x="92" y="1673"/>
                      <a:pt x="94" y="1665"/>
                    </a:cubicBezTo>
                    <a:cubicBezTo>
                      <a:pt x="96" y="1665"/>
                      <a:pt x="98" y="1669"/>
                      <a:pt x="97" y="1671"/>
                    </a:cubicBezTo>
                    <a:lnTo>
                      <a:pt x="93" y="1673"/>
                    </a:lnTo>
                    <a:lnTo>
                      <a:pt x="98" y="1676"/>
                    </a:lnTo>
                    <a:cubicBezTo>
                      <a:pt x="99" y="1680"/>
                      <a:pt x="96" y="1682"/>
                      <a:pt x="96" y="1685"/>
                    </a:cubicBezTo>
                    <a:cubicBezTo>
                      <a:pt x="96" y="1682"/>
                      <a:pt x="87" y="1679"/>
                      <a:pt x="88" y="1687"/>
                    </a:cubicBezTo>
                    <a:cubicBezTo>
                      <a:pt x="87" y="1683"/>
                      <a:pt x="84" y="1681"/>
                      <a:pt x="83" y="1679"/>
                    </a:cubicBezTo>
                    <a:cubicBezTo>
                      <a:pt x="83" y="1680"/>
                      <a:pt x="83" y="1681"/>
                      <a:pt x="81" y="1679"/>
                    </a:cubicBezTo>
                    <a:cubicBezTo>
                      <a:pt x="83" y="1685"/>
                      <a:pt x="84" y="1681"/>
                      <a:pt x="85" y="1687"/>
                    </a:cubicBezTo>
                    <a:cubicBezTo>
                      <a:pt x="81" y="1688"/>
                      <a:pt x="80" y="1690"/>
                      <a:pt x="80" y="1696"/>
                    </a:cubicBezTo>
                    <a:lnTo>
                      <a:pt x="82" y="1691"/>
                    </a:lnTo>
                    <a:cubicBezTo>
                      <a:pt x="82" y="1691"/>
                      <a:pt x="83" y="1691"/>
                      <a:pt x="83" y="1692"/>
                    </a:cubicBezTo>
                    <a:cubicBezTo>
                      <a:pt x="83" y="1690"/>
                      <a:pt x="84" y="1689"/>
                      <a:pt x="85" y="1689"/>
                    </a:cubicBezTo>
                    <a:cubicBezTo>
                      <a:pt x="85" y="1690"/>
                      <a:pt x="91" y="1696"/>
                      <a:pt x="89" y="1697"/>
                    </a:cubicBezTo>
                    <a:cubicBezTo>
                      <a:pt x="94" y="1690"/>
                      <a:pt x="95" y="1709"/>
                      <a:pt x="98" y="1704"/>
                    </a:cubicBezTo>
                    <a:cubicBezTo>
                      <a:pt x="99" y="1704"/>
                      <a:pt x="100" y="1709"/>
                      <a:pt x="98" y="1710"/>
                    </a:cubicBezTo>
                    <a:cubicBezTo>
                      <a:pt x="94" y="1705"/>
                      <a:pt x="94" y="1715"/>
                      <a:pt x="91" y="1714"/>
                    </a:cubicBezTo>
                    <a:cubicBezTo>
                      <a:pt x="93" y="1716"/>
                      <a:pt x="94" y="1709"/>
                      <a:pt x="95" y="1712"/>
                    </a:cubicBezTo>
                    <a:cubicBezTo>
                      <a:pt x="96" y="1715"/>
                      <a:pt x="94" y="1718"/>
                      <a:pt x="93" y="1720"/>
                    </a:cubicBezTo>
                    <a:lnTo>
                      <a:pt x="92" y="1719"/>
                    </a:lnTo>
                    <a:lnTo>
                      <a:pt x="91" y="1724"/>
                    </a:lnTo>
                    <a:cubicBezTo>
                      <a:pt x="93" y="1725"/>
                      <a:pt x="94" y="1719"/>
                      <a:pt x="95" y="1723"/>
                    </a:cubicBezTo>
                    <a:cubicBezTo>
                      <a:pt x="95" y="1725"/>
                      <a:pt x="96" y="1729"/>
                      <a:pt x="95" y="1729"/>
                    </a:cubicBezTo>
                    <a:cubicBezTo>
                      <a:pt x="92" y="1727"/>
                      <a:pt x="88" y="1729"/>
                      <a:pt x="87" y="1725"/>
                    </a:cubicBezTo>
                    <a:cubicBezTo>
                      <a:pt x="88" y="1729"/>
                      <a:pt x="90" y="1739"/>
                      <a:pt x="93" y="1735"/>
                    </a:cubicBezTo>
                    <a:lnTo>
                      <a:pt x="93" y="1739"/>
                    </a:lnTo>
                    <a:cubicBezTo>
                      <a:pt x="94" y="1736"/>
                      <a:pt x="97" y="1728"/>
                      <a:pt x="98" y="1736"/>
                    </a:cubicBezTo>
                    <a:lnTo>
                      <a:pt x="97" y="1736"/>
                    </a:lnTo>
                    <a:lnTo>
                      <a:pt x="101" y="1742"/>
                    </a:lnTo>
                    <a:lnTo>
                      <a:pt x="99" y="1744"/>
                    </a:lnTo>
                    <a:cubicBezTo>
                      <a:pt x="100" y="1744"/>
                      <a:pt x="101" y="1745"/>
                      <a:pt x="101" y="1747"/>
                    </a:cubicBezTo>
                    <a:cubicBezTo>
                      <a:pt x="100" y="1748"/>
                      <a:pt x="100" y="1750"/>
                      <a:pt x="99" y="1750"/>
                    </a:cubicBezTo>
                    <a:cubicBezTo>
                      <a:pt x="99" y="1756"/>
                      <a:pt x="101" y="1755"/>
                      <a:pt x="103" y="1756"/>
                    </a:cubicBezTo>
                    <a:cubicBezTo>
                      <a:pt x="103" y="1759"/>
                      <a:pt x="103" y="1760"/>
                      <a:pt x="100" y="1759"/>
                    </a:cubicBezTo>
                    <a:cubicBezTo>
                      <a:pt x="100" y="1764"/>
                      <a:pt x="102" y="1772"/>
                      <a:pt x="100" y="1775"/>
                    </a:cubicBezTo>
                    <a:cubicBezTo>
                      <a:pt x="103" y="1781"/>
                      <a:pt x="101" y="1774"/>
                      <a:pt x="104" y="1777"/>
                    </a:cubicBezTo>
                    <a:cubicBezTo>
                      <a:pt x="98" y="1783"/>
                      <a:pt x="104" y="1798"/>
                      <a:pt x="106" y="1807"/>
                    </a:cubicBezTo>
                    <a:cubicBezTo>
                      <a:pt x="112" y="1804"/>
                      <a:pt x="107" y="1810"/>
                      <a:pt x="113" y="1811"/>
                    </a:cubicBezTo>
                    <a:cubicBezTo>
                      <a:pt x="111" y="1809"/>
                      <a:pt x="109" y="1821"/>
                      <a:pt x="107" y="1813"/>
                    </a:cubicBezTo>
                    <a:lnTo>
                      <a:pt x="108" y="1818"/>
                    </a:lnTo>
                    <a:cubicBezTo>
                      <a:pt x="105" y="1822"/>
                      <a:pt x="104" y="1810"/>
                      <a:pt x="101" y="1816"/>
                    </a:cubicBezTo>
                    <a:cubicBezTo>
                      <a:pt x="102" y="1822"/>
                      <a:pt x="109" y="1825"/>
                      <a:pt x="107" y="1832"/>
                    </a:cubicBezTo>
                    <a:cubicBezTo>
                      <a:pt x="103" y="1830"/>
                      <a:pt x="110" y="1837"/>
                      <a:pt x="105" y="1836"/>
                    </a:cubicBezTo>
                    <a:cubicBezTo>
                      <a:pt x="103" y="1835"/>
                      <a:pt x="103" y="1833"/>
                      <a:pt x="103" y="1831"/>
                    </a:cubicBezTo>
                    <a:lnTo>
                      <a:pt x="102" y="1832"/>
                    </a:lnTo>
                    <a:cubicBezTo>
                      <a:pt x="103" y="1846"/>
                      <a:pt x="107" y="1835"/>
                      <a:pt x="111" y="1842"/>
                    </a:cubicBezTo>
                    <a:cubicBezTo>
                      <a:pt x="113" y="1850"/>
                      <a:pt x="109" y="1849"/>
                      <a:pt x="107" y="1849"/>
                    </a:cubicBezTo>
                    <a:cubicBezTo>
                      <a:pt x="106" y="1851"/>
                      <a:pt x="108" y="1855"/>
                      <a:pt x="109" y="1857"/>
                    </a:cubicBezTo>
                    <a:cubicBezTo>
                      <a:pt x="106" y="1852"/>
                      <a:pt x="110" y="1847"/>
                      <a:pt x="113" y="1849"/>
                    </a:cubicBezTo>
                    <a:cubicBezTo>
                      <a:pt x="109" y="1853"/>
                      <a:pt x="115" y="1861"/>
                      <a:pt x="117" y="1863"/>
                    </a:cubicBezTo>
                    <a:cubicBezTo>
                      <a:pt x="120" y="1851"/>
                      <a:pt x="116" y="1855"/>
                      <a:pt x="120" y="1844"/>
                    </a:cubicBezTo>
                    <a:cubicBezTo>
                      <a:pt x="118" y="1842"/>
                      <a:pt x="114" y="1843"/>
                      <a:pt x="115" y="1836"/>
                    </a:cubicBezTo>
                    <a:cubicBezTo>
                      <a:pt x="117" y="1840"/>
                      <a:pt x="117" y="1836"/>
                      <a:pt x="117" y="1835"/>
                    </a:cubicBezTo>
                    <a:cubicBezTo>
                      <a:pt x="115" y="1836"/>
                      <a:pt x="116" y="1830"/>
                      <a:pt x="115" y="1828"/>
                    </a:cubicBezTo>
                    <a:cubicBezTo>
                      <a:pt x="116" y="1826"/>
                      <a:pt x="121" y="1832"/>
                      <a:pt x="121" y="1825"/>
                    </a:cubicBezTo>
                    <a:lnTo>
                      <a:pt x="115" y="1824"/>
                    </a:lnTo>
                    <a:cubicBezTo>
                      <a:pt x="115" y="1822"/>
                      <a:pt x="119" y="1825"/>
                      <a:pt x="117" y="1820"/>
                    </a:cubicBezTo>
                    <a:cubicBezTo>
                      <a:pt x="120" y="1822"/>
                      <a:pt x="122" y="1818"/>
                      <a:pt x="124" y="1825"/>
                    </a:cubicBezTo>
                    <a:cubicBezTo>
                      <a:pt x="127" y="1816"/>
                      <a:pt x="119" y="1812"/>
                      <a:pt x="116" y="1806"/>
                    </a:cubicBezTo>
                    <a:cubicBezTo>
                      <a:pt x="116" y="1806"/>
                      <a:pt x="117" y="1806"/>
                      <a:pt x="118" y="1807"/>
                    </a:cubicBezTo>
                    <a:cubicBezTo>
                      <a:pt x="116" y="1806"/>
                      <a:pt x="116" y="1803"/>
                      <a:pt x="115" y="1801"/>
                    </a:cubicBezTo>
                    <a:cubicBezTo>
                      <a:pt x="116" y="1796"/>
                      <a:pt x="118" y="1804"/>
                      <a:pt x="120" y="1803"/>
                    </a:cubicBezTo>
                    <a:lnTo>
                      <a:pt x="119" y="1796"/>
                    </a:lnTo>
                    <a:cubicBezTo>
                      <a:pt x="119" y="1796"/>
                      <a:pt x="119" y="1795"/>
                      <a:pt x="119" y="1795"/>
                    </a:cubicBezTo>
                    <a:cubicBezTo>
                      <a:pt x="118" y="1794"/>
                      <a:pt x="117" y="1792"/>
                      <a:pt x="118" y="1791"/>
                    </a:cubicBezTo>
                    <a:cubicBezTo>
                      <a:pt x="121" y="1793"/>
                      <a:pt x="123" y="1794"/>
                      <a:pt x="124" y="1795"/>
                    </a:cubicBezTo>
                    <a:lnTo>
                      <a:pt x="119" y="1788"/>
                    </a:lnTo>
                    <a:cubicBezTo>
                      <a:pt x="121" y="1788"/>
                      <a:pt x="122" y="1781"/>
                      <a:pt x="124" y="1786"/>
                    </a:cubicBezTo>
                    <a:lnTo>
                      <a:pt x="122" y="1775"/>
                    </a:lnTo>
                    <a:lnTo>
                      <a:pt x="125" y="1774"/>
                    </a:lnTo>
                    <a:cubicBezTo>
                      <a:pt x="124" y="1771"/>
                      <a:pt x="124" y="1771"/>
                      <a:pt x="123" y="1774"/>
                    </a:cubicBezTo>
                    <a:cubicBezTo>
                      <a:pt x="124" y="1770"/>
                      <a:pt x="114" y="1758"/>
                      <a:pt x="122" y="1759"/>
                    </a:cubicBezTo>
                    <a:cubicBezTo>
                      <a:pt x="118" y="1750"/>
                      <a:pt x="119" y="1747"/>
                      <a:pt x="116" y="1737"/>
                    </a:cubicBezTo>
                    <a:cubicBezTo>
                      <a:pt x="120" y="1744"/>
                      <a:pt x="119" y="1727"/>
                      <a:pt x="122" y="1735"/>
                    </a:cubicBezTo>
                    <a:cubicBezTo>
                      <a:pt x="123" y="1730"/>
                      <a:pt x="118" y="1729"/>
                      <a:pt x="117" y="1725"/>
                    </a:cubicBezTo>
                    <a:cubicBezTo>
                      <a:pt x="118" y="1721"/>
                      <a:pt x="122" y="1722"/>
                      <a:pt x="124" y="1726"/>
                    </a:cubicBezTo>
                    <a:lnTo>
                      <a:pt x="122" y="1722"/>
                    </a:lnTo>
                    <a:lnTo>
                      <a:pt x="123" y="1722"/>
                    </a:lnTo>
                    <a:lnTo>
                      <a:pt x="120" y="1718"/>
                    </a:lnTo>
                    <a:cubicBezTo>
                      <a:pt x="122" y="1713"/>
                      <a:pt x="124" y="1716"/>
                      <a:pt x="124" y="1712"/>
                    </a:cubicBezTo>
                    <a:lnTo>
                      <a:pt x="120" y="1711"/>
                    </a:lnTo>
                    <a:lnTo>
                      <a:pt x="122" y="1708"/>
                    </a:lnTo>
                    <a:cubicBezTo>
                      <a:pt x="121" y="1709"/>
                      <a:pt x="119" y="1707"/>
                      <a:pt x="119" y="1703"/>
                    </a:cubicBezTo>
                    <a:lnTo>
                      <a:pt x="120" y="1703"/>
                    </a:lnTo>
                    <a:lnTo>
                      <a:pt x="118" y="1699"/>
                    </a:lnTo>
                    <a:cubicBezTo>
                      <a:pt x="121" y="1703"/>
                      <a:pt x="119" y="1696"/>
                      <a:pt x="121" y="1697"/>
                    </a:cubicBezTo>
                    <a:cubicBezTo>
                      <a:pt x="121" y="1694"/>
                      <a:pt x="121" y="1694"/>
                      <a:pt x="120" y="1687"/>
                    </a:cubicBezTo>
                    <a:lnTo>
                      <a:pt x="118" y="1689"/>
                    </a:lnTo>
                    <a:cubicBezTo>
                      <a:pt x="115" y="1681"/>
                      <a:pt x="121" y="1688"/>
                      <a:pt x="120" y="1681"/>
                    </a:cubicBezTo>
                    <a:lnTo>
                      <a:pt x="118" y="1682"/>
                    </a:lnTo>
                    <a:cubicBezTo>
                      <a:pt x="121" y="1672"/>
                      <a:pt x="113" y="1666"/>
                      <a:pt x="115" y="1659"/>
                    </a:cubicBezTo>
                    <a:cubicBezTo>
                      <a:pt x="117" y="1663"/>
                      <a:pt x="120" y="1661"/>
                      <a:pt x="119" y="1661"/>
                    </a:cubicBezTo>
                    <a:cubicBezTo>
                      <a:pt x="117" y="1656"/>
                      <a:pt x="117" y="1646"/>
                      <a:pt x="113" y="1640"/>
                    </a:cubicBezTo>
                    <a:cubicBezTo>
                      <a:pt x="116" y="1637"/>
                      <a:pt x="117" y="1636"/>
                      <a:pt x="119" y="1630"/>
                    </a:cubicBezTo>
                    <a:cubicBezTo>
                      <a:pt x="118" y="1625"/>
                      <a:pt x="117" y="1624"/>
                      <a:pt x="115" y="1623"/>
                    </a:cubicBezTo>
                    <a:cubicBezTo>
                      <a:pt x="116" y="1618"/>
                      <a:pt x="113" y="1610"/>
                      <a:pt x="116" y="1610"/>
                    </a:cubicBezTo>
                    <a:cubicBezTo>
                      <a:pt x="113" y="1609"/>
                      <a:pt x="116" y="1605"/>
                      <a:pt x="113" y="1603"/>
                    </a:cubicBezTo>
                    <a:lnTo>
                      <a:pt x="114" y="1602"/>
                    </a:lnTo>
                    <a:lnTo>
                      <a:pt x="112" y="1603"/>
                    </a:lnTo>
                    <a:cubicBezTo>
                      <a:pt x="117" y="1594"/>
                      <a:pt x="107" y="1590"/>
                      <a:pt x="111" y="1581"/>
                    </a:cubicBezTo>
                    <a:lnTo>
                      <a:pt x="112" y="1583"/>
                    </a:lnTo>
                    <a:lnTo>
                      <a:pt x="111" y="1579"/>
                    </a:lnTo>
                    <a:cubicBezTo>
                      <a:pt x="112" y="1579"/>
                      <a:pt x="113" y="1580"/>
                      <a:pt x="114" y="1580"/>
                    </a:cubicBezTo>
                    <a:lnTo>
                      <a:pt x="113" y="1564"/>
                    </a:lnTo>
                    <a:lnTo>
                      <a:pt x="111" y="1567"/>
                    </a:lnTo>
                    <a:cubicBezTo>
                      <a:pt x="111" y="1564"/>
                      <a:pt x="108" y="1562"/>
                      <a:pt x="109" y="1558"/>
                    </a:cubicBezTo>
                    <a:cubicBezTo>
                      <a:pt x="114" y="1564"/>
                      <a:pt x="109" y="1553"/>
                      <a:pt x="112" y="1551"/>
                    </a:cubicBezTo>
                    <a:lnTo>
                      <a:pt x="113" y="1555"/>
                    </a:lnTo>
                    <a:cubicBezTo>
                      <a:pt x="112" y="1550"/>
                      <a:pt x="112" y="1550"/>
                      <a:pt x="110" y="1551"/>
                    </a:cubicBezTo>
                    <a:cubicBezTo>
                      <a:pt x="108" y="1545"/>
                      <a:pt x="115" y="1546"/>
                      <a:pt x="111" y="1541"/>
                    </a:cubicBezTo>
                    <a:lnTo>
                      <a:pt x="111" y="1545"/>
                    </a:lnTo>
                    <a:cubicBezTo>
                      <a:pt x="110" y="1546"/>
                      <a:pt x="107" y="1543"/>
                      <a:pt x="107" y="1541"/>
                    </a:cubicBezTo>
                    <a:cubicBezTo>
                      <a:pt x="107" y="1540"/>
                      <a:pt x="109" y="1538"/>
                      <a:pt x="109" y="1540"/>
                    </a:cubicBezTo>
                    <a:cubicBezTo>
                      <a:pt x="108" y="1536"/>
                      <a:pt x="108" y="1528"/>
                      <a:pt x="107" y="1526"/>
                    </a:cubicBezTo>
                    <a:cubicBezTo>
                      <a:pt x="107" y="1524"/>
                      <a:pt x="109" y="1524"/>
                      <a:pt x="110" y="1526"/>
                    </a:cubicBezTo>
                    <a:cubicBezTo>
                      <a:pt x="107" y="1516"/>
                      <a:pt x="110" y="1521"/>
                      <a:pt x="107" y="1511"/>
                    </a:cubicBezTo>
                    <a:lnTo>
                      <a:pt x="109" y="1511"/>
                    </a:lnTo>
                    <a:lnTo>
                      <a:pt x="106" y="1508"/>
                    </a:lnTo>
                    <a:lnTo>
                      <a:pt x="109" y="1502"/>
                    </a:lnTo>
                    <a:lnTo>
                      <a:pt x="107" y="1504"/>
                    </a:lnTo>
                    <a:cubicBezTo>
                      <a:pt x="107" y="1501"/>
                      <a:pt x="105" y="1499"/>
                      <a:pt x="106" y="1495"/>
                    </a:cubicBezTo>
                    <a:lnTo>
                      <a:pt x="108" y="1496"/>
                    </a:lnTo>
                    <a:cubicBezTo>
                      <a:pt x="106" y="1487"/>
                      <a:pt x="111" y="1485"/>
                      <a:pt x="107" y="1476"/>
                    </a:cubicBezTo>
                    <a:cubicBezTo>
                      <a:pt x="107" y="1476"/>
                      <a:pt x="108" y="1477"/>
                      <a:pt x="109" y="1478"/>
                    </a:cubicBezTo>
                    <a:cubicBezTo>
                      <a:pt x="104" y="1470"/>
                      <a:pt x="112" y="1471"/>
                      <a:pt x="107" y="1463"/>
                    </a:cubicBezTo>
                    <a:cubicBezTo>
                      <a:pt x="108" y="1464"/>
                      <a:pt x="109" y="1463"/>
                      <a:pt x="109" y="1463"/>
                    </a:cubicBezTo>
                    <a:lnTo>
                      <a:pt x="108" y="1459"/>
                    </a:lnTo>
                    <a:lnTo>
                      <a:pt x="111" y="1459"/>
                    </a:lnTo>
                    <a:lnTo>
                      <a:pt x="106" y="1457"/>
                    </a:lnTo>
                    <a:lnTo>
                      <a:pt x="109" y="1454"/>
                    </a:lnTo>
                    <a:lnTo>
                      <a:pt x="107" y="1453"/>
                    </a:lnTo>
                    <a:cubicBezTo>
                      <a:pt x="113" y="1448"/>
                      <a:pt x="108" y="1443"/>
                      <a:pt x="112" y="1437"/>
                    </a:cubicBezTo>
                    <a:lnTo>
                      <a:pt x="108" y="1438"/>
                    </a:lnTo>
                    <a:cubicBezTo>
                      <a:pt x="98" y="1425"/>
                      <a:pt x="109" y="1406"/>
                      <a:pt x="104" y="1389"/>
                    </a:cubicBezTo>
                    <a:lnTo>
                      <a:pt x="107" y="1389"/>
                    </a:lnTo>
                    <a:lnTo>
                      <a:pt x="103" y="1382"/>
                    </a:lnTo>
                    <a:cubicBezTo>
                      <a:pt x="105" y="1378"/>
                      <a:pt x="106" y="1384"/>
                      <a:pt x="107" y="1383"/>
                    </a:cubicBezTo>
                    <a:cubicBezTo>
                      <a:pt x="105" y="1376"/>
                      <a:pt x="103" y="1380"/>
                      <a:pt x="101" y="1372"/>
                    </a:cubicBezTo>
                    <a:cubicBezTo>
                      <a:pt x="103" y="1367"/>
                      <a:pt x="103" y="1373"/>
                      <a:pt x="105" y="1375"/>
                    </a:cubicBezTo>
                    <a:cubicBezTo>
                      <a:pt x="102" y="1367"/>
                      <a:pt x="100" y="1355"/>
                      <a:pt x="101" y="1349"/>
                    </a:cubicBezTo>
                    <a:cubicBezTo>
                      <a:pt x="101" y="1349"/>
                      <a:pt x="100" y="1349"/>
                      <a:pt x="100" y="1349"/>
                    </a:cubicBezTo>
                    <a:cubicBezTo>
                      <a:pt x="98" y="1344"/>
                      <a:pt x="99" y="1337"/>
                      <a:pt x="98" y="1331"/>
                    </a:cubicBezTo>
                    <a:cubicBezTo>
                      <a:pt x="99" y="1331"/>
                      <a:pt x="100" y="1332"/>
                      <a:pt x="100" y="1334"/>
                    </a:cubicBezTo>
                    <a:cubicBezTo>
                      <a:pt x="100" y="1331"/>
                      <a:pt x="101" y="1328"/>
                      <a:pt x="99" y="1327"/>
                    </a:cubicBezTo>
                    <a:lnTo>
                      <a:pt x="102" y="1329"/>
                    </a:lnTo>
                    <a:cubicBezTo>
                      <a:pt x="102" y="1324"/>
                      <a:pt x="99" y="1315"/>
                      <a:pt x="102" y="1314"/>
                    </a:cubicBezTo>
                    <a:cubicBezTo>
                      <a:pt x="101" y="1315"/>
                      <a:pt x="99" y="1315"/>
                      <a:pt x="99" y="1311"/>
                    </a:cubicBezTo>
                    <a:cubicBezTo>
                      <a:pt x="103" y="1308"/>
                      <a:pt x="96" y="1300"/>
                      <a:pt x="98" y="1293"/>
                    </a:cubicBezTo>
                    <a:cubicBezTo>
                      <a:pt x="99" y="1294"/>
                      <a:pt x="100" y="1299"/>
                      <a:pt x="100" y="1297"/>
                    </a:cubicBezTo>
                    <a:cubicBezTo>
                      <a:pt x="101" y="1294"/>
                      <a:pt x="98" y="1291"/>
                      <a:pt x="97" y="1289"/>
                    </a:cubicBezTo>
                    <a:lnTo>
                      <a:pt x="99" y="1289"/>
                    </a:lnTo>
                    <a:lnTo>
                      <a:pt x="95" y="1275"/>
                    </a:lnTo>
                    <a:cubicBezTo>
                      <a:pt x="99" y="1272"/>
                      <a:pt x="93" y="1261"/>
                      <a:pt x="97" y="1262"/>
                    </a:cubicBezTo>
                    <a:cubicBezTo>
                      <a:pt x="96" y="1256"/>
                      <a:pt x="95" y="1266"/>
                      <a:pt x="94" y="1260"/>
                    </a:cubicBezTo>
                    <a:cubicBezTo>
                      <a:pt x="96" y="1258"/>
                      <a:pt x="92" y="1254"/>
                      <a:pt x="95" y="1254"/>
                    </a:cubicBezTo>
                    <a:lnTo>
                      <a:pt x="96" y="1254"/>
                    </a:lnTo>
                    <a:lnTo>
                      <a:pt x="95" y="1250"/>
                    </a:lnTo>
                    <a:lnTo>
                      <a:pt x="99" y="1252"/>
                    </a:lnTo>
                    <a:cubicBezTo>
                      <a:pt x="98" y="1248"/>
                      <a:pt x="94" y="1246"/>
                      <a:pt x="92" y="1246"/>
                    </a:cubicBezTo>
                    <a:cubicBezTo>
                      <a:pt x="93" y="1242"/>
                      <a:pt x="92" y="1236"/>
                      <a:pt x="94" y="1234"/>
                    </a:cubicBezTo>
                    <a:lnTo>
                      <a:pt x="95" y="1236"/>
                    </a:lnTo>
                    <a:cubicBezTo>
                      <a:pt x="93" y="1225"/>
                      <a:pt x="102" y="1217"/>
                      <a:pt x="97" y="1209"/>
                    </a:cubicBezTo>
                    <a:cubicBezTo>
                      <a:pt x="97" y="1209"/>
                      <a:pt x="98" y="1209"/>
                      <a:pt x="98" y="1210"/>
                    </a:cubicBezTo>
                    <a:lnTo>
                      <a:pt x="97" y="1203"/>
                    </a:lnTo>
                    <a:lnTo>
                      <a:pt x="100" y="1205"/>
                    </a:lnTo>
                    <a:lnTo>
                      <a:pt x="96" y="1194"/>
                    </a:lnTo>
                    <a:lnTo>
                      <a:pt x="97" y="1194"/>
                    </a:lnTo>
                    <a:cubicBezTo>
                      <a:pt x="97" y="1187"/>
                      <a:pt x="96" y="1175"/>
                      <a:pt x="95" y="1166"/>
                    </a:cubicBezTo>
                    <a:lnTo>
                      <a:pt x="96" y="1168"/>
                    </a:lnTo>
                    <a:cubicBezTo>
                      <a:pt x="93" y="1157"/>
                      <a:pt x="96" y="1158"/>
                      <a:pt x="94" y="1150"/>
                    </a:cubicBezTo>
                    <a:cubicBezTo>
                      <a:pt x="95" y="1150"/>
                      <a:pt x="95" y="1151"/>
                      <a:pt x="95" y="1151"/>
                    </a:cubicBezTo>
                    <a:lnTo>
                      <a:pt x="94" y="1144"/>
                    </a:lnTo>
                    <a:lnTo>
                      <a:pt x="96" y="1146"/>
                    </a:lnTo>
                    <a:cubicBezTo>
                      <a:pt x="92" y="1141"/>
                      <a:pt x="99" y="1131"/>
                      <a:pt x="97" y="1134"/>
                    </a:cubicBezTo>
                    <a:cubicBezTo>
                      <a:pt x="95" y="1132"/>
                      <a:pt x="93" y="1127"/>
                      <a:pt x="91" y="1126"/>
                    </a:cubicBezTo>
                    <a:cubicBezTo>
                      <a:pt x="91" y="1119"/>
                      <a:pt x="93" y="1124"/>
                      <a:pt x="94" y="1120"/>
                    </a:cubicBezTo>
                    <a:cubicBezTo>
                      <a:pt x="94" y="1114"/>
                      <a:pt x="91" y="1114"/>
                      <a:pt x="92" y="1106"/>
                    </a:cubicBezTo>
                    <a:lnTo>
                      <a:pt x="94" y="1107"/>
                    </a:lnTo>
                    <a:cubicBezTo>
                      <a:pt x="93" y="1103"/>
                      <a:pt x="92" y="1101"/>
                      <a:pt x="92" y="1097"/>
                    </a:cubicBezTo>
                    <a:lnTo>
                      <a:pt x="93" y="1098"/>
                    </a:lnTo>
                    <a:cubicBezTo>
                      <a:pt x="89" y="1090"/>
                      <a:pt x="97" y="1088"/>
                      <a:pt x="90" y="1082"/>
                    </a:cubicBezTo>
                    <a:cubicBezTo>
                      <a:pt x="91" y="1079"/>
                      <a:pt x="89" y="1073"/>
                      <a:pt x="92" y="1073"/>
                    </a:cubicBezTo>
                    <a:cubicBezTo>
                      <a:pt x="90" y="1064"/>
                      <a:pt x="89" y="1057"/>
                      <a:pt x="87" y="1047"/>
                    </a:cubicBezTo>
                    <a:cubicBezTo>
                      <a:pt x="92" y="1046"/>
                      <a:pt x="86" y="1045"/>
                      <a:pt x="89" y="1039"/>
                    </a:cubicBezTo>
                    <a:lnTo>
                      <a:pt x="86" y="1040"/>
                    </a:lnTo>
                    <a:cubicBezTo>
                      <a:pt x="85" y="1027"/>
                      <a:pt x="92" y="1011"/>
                      <a:pt x="90" y="996"/>
                    </a:cubicBezTo>
                    <a:lnTo>
                      <a:pt x="93" y="996"/>
                    </a:lnTo>
                    <a:lnTo>
                      <a:pt x="89" y="993"/>
                    </a:lnTo>
                    <a:cubicBezTo>
                      <a:pt x="90" y="977"/>
                      <a:pt x="90" y="957"/>
                      <a:pt x="90" y="944"/>
                    </a:cubicBezTo>
                    <a:cubicBezTo>
                      <a:pt x="88" y="940"/>
                      <a:pt x="85" y="934"/>
                      <a:pt x="85" y="927"/>
                    </a:cubicBezTo>
                    <a:lnTo>
                      <a:pt x="86" y="928"/>
                    </a:lnTo>
                    <a:cubicBezTo>
                      <a:pt x="84" y="917"/>
                      <a:pt x="83" y="905"/>
                      <a:pt x="84" y="892"/>
                    </a:cubicBezTo>
                    <a:cubicBezTo>
                      <a:pt x="85" y="893"/>
                      <a:pt x="86" y="892"/>
                      <a:pt x="87" y="893"/>
                    </a:cubicBezTo>
                    <a:cubicBezTo>
                      <a:pt x="83" y="890"/>
                      <a:pt x="86" y="886"/>
                      <a:pt x="86" y="883"/>
                    </a:cubicBezTo>
                    <a:lnTo>
                      <a:pt x="84" y="886"/>
                    </a:lnTo>
                    <a:cubicBezTo>
                      <a:pt x="82" y="883"/>
                      <a:pt x="84" y="877"/>
                      <a:pt x="86" y="876"/>
                    </a:cubicBezTo>
                    <a:lnTo>
                      <a:pt x="83" y="870"/>
                    </a:lnTo>
                    <a:cubicBezTo>
                      <a:pt x="83" y="870"/>
                      <a:pt x="83" y="869"/>
                      <a:pt x="84" y="869"/>
                    </a:cubicBezTo>
                    <a:lnTo>
                      <a:pt x="82" y="868"/>
                    </a:lnTo>
                    <a:lnTo>
                      <a:pt x="86" y="865"/>
                    </a:lnTo>
                    <a:cubicBezTo>
                      <a:pt x="85" y="864"/>
                      <a:pt x="84" y="856"/>
                      <a:pt x="81" y="854"/>
                    </a:cubicBezTo>
                    <a:cubicBezTo>
                      <a:pt x="82" y="853"/>
                      <a:pt x="83" y="848"/>
                      <a:pt x="83" y="852"/>
                    </a:cubicBezTo>
                    <a:lnTo>
                      <a:pt x="84" y="832"/>
                    </a:lnTo>
                    <a:lnTo>
                      <a:pt x="83" y="835"/>
                    </a:lnTo>
                    <a:cubicBezTo>
                      <a:pt x="80" y="835"/>
                      <a:pt x="78" y="829"/>
                      <a:pt x="79" y="826"/>
                    </a:cubicBezTo>
                    <a:cubicBezTo>
                      <a:pt x="82" y="830"/>
                      <a:pt x="83" y="826"/>
                      <a:pt x="85" y="825"/>
                    </a:cubicBezTo>
                    <a:cubicBezTo>
                      <a:pt x="84" y="822"/>
                      <a:pt x="83" y="827"/>
                      <a:pt x="81" y="826"/>
                    </a:cubicBezTo>
                    <a:cubicBezTo>
                      <a:pt x="79" y="822"/>
                      <a:pt x="78" y="815"/>
                      <a:pt x="80" y="813"/>
                    </a:cubicBezTo>
                    <a:lnTo>
                      <a:pt x="81" y="815"/>
                    </a:lnTo>
                    <a:cubicBezTo>
                      <a:pt x="80" y="810"/>
                      <a:pt x="84" y="808"/>
                      <a:pt x="84" y="803"/>
                    </a:cubicBezTo>
                    <a:cubicBezTo>
                      <a:pt x="82" y="799"/>
                      <a:pt x="84" y="796"/>
                      <a:pt x="79" y="797"/>
                    </a:cubicBezTo>
                    <a:cubicBezTo>
                      <a:pt x="78" y="791"/>
                      <a:pt x="82" y="794"/>
                      <a:pt x="83" y="792"/>
                    </a:cubicBezTo>
                    <a:cubicBezTo>
                      <a:pt x="80" y="790"/>
                      <a:pt x="82" y="781"/>
                      <a:pt x="84" y="780"/>
                    </a:cubicBezTo>
                    <a:cubicBezTo>
                      <a:pt x="77" y="777"/>
                      <a:pt x="87" y="764"/>
                      <a:pt x="81" y="762"/>
                    </a:cubicBezTo>
                    <a:lnTo>
                      <a:pt x="84" y="757"/>
                    </a:lnTo>
                    <a:cubicBezTo>
                      <a:pt x="82" y="757"/>
                      <a:pt x="79" y="756"/>
                      <a:pt x="78" y="752"/>
                    </a:cubicBezTo>
                    <a:cubicBezTo>
                      <a:pt x="80" y="748"/>
                      <a:pt x="83" y="749"/>
                      <a:pt x="84" y="748"/>
                    </a:cubicBezTo>
                    <a:lnTo>
                      <a:pt x="78" y="746"/>
                    </a:lnTo>
                    <a:cubicBezTo>
                      <a:pt x="84" y="724"/>
                      <a:pt x="80" y="695"/>
                      <a:pt x="86" y="670"/>
                    </a:cubicBezTo>
                    <a:cubicBezTo>
                      <a:pt x="85" y="660"/>
                      <a:pt x="82" y="646"/>
                      <a:pt x="83" y="633"/>
                    </a:cubicBezTo>
                    <a:lnTo>
                      <a:pt x="84" y="635"/>
                    </a:lnTo>
                    <a:lnTo>
                      <a:pt x="85" y="622"/>
                    </a:lnTo>
                    <a:lnTo>
                      <a:pt x="83" y="631"/>
                    </a:lnTo>
                    <a:cubicBezTo>
                      <a:pt x="82" y="629"/>
                      <a:pt x="81" y="627"/>
                      <a:pt x="81" y="624"/>
                    </a:cubicBezTo>
                    <a:cubicBezTo>
                      <a:pt x="83" y="610"/>
                      <a:pt x="86" y="592"/>
                      <a:pt x="84" y="575"/>
                    </a:cubicBezTo>
                    <a:cubicBezTo>
                      <a:pt x="77" y="564"/>
                      <a:pt x="90" y="568"/>
                      <a:pt x="85" y="557"/>
                    </a:cubicBezTo>
                    <a:cubicBezTo>
                      <a:pt x="85" y="558"/>
                      <a:pt x="86" y="558"/>
                      <a:pt x="87" y="559"/>
                    </a:cubicBezTo>
                    <a:cubicBezTo>
                      <a:pt x="85" y="548"/>
                      <a:pt x="84" y="542"/>
                      <a:pt x="80" y="530"/>
                    </a:cubicBezTo>
                    <a:cubicBezTo>
                      <a:pt x="87" y="532"/>
                      <a:pt x="80" y="523"/>
                      <a:pt x="83" y="524"/>
                    </a:cubicBezTo>
                    <a:lnTo>
                      <a:pt x="81" y="523"/>
                    </a:lnTo>
                    <a:cubicBezTo>
                      <a:pt x="82" y="521"/>
                      <a:pt x="83" y="515"/>
                      <a:pt x="85" y="516"/>
                    </a:cubicBezTo>
                    <a:lnTo>
                      <a:pt x="82" y="511"/>
                    </a:lnTo>
                    <a:lnTo>
                      <a:pt x="84" y="510"/>
                    </a:lnTo>
                    <a:cubicBezTo>
                      <a:pt x="85" y="503"/>
                      <a:pt x="82" y="489"/>
                      <a:pt x="88" y="486"/>
                    </a:cubicBezTo>
                    <a:cubicBezTo>
                      <a:pt x="84" y="469"/>
                      <a:pt x="85" y="443"/>
                      <a:pt x="87" y="423"/>
                    </a:cubicBezTo>
                    <a:cubicBezTo>
                      <a:pt x="85" y="420"/>
                      <a:pt x="84" y="414"/>
                      <a:pt x="84" y="409"/>
                    </a:cubicBezTo>
                    <a:lnTo>
                      <a:pt x="87" y="404"/>
                    </a:lnTo>
                    <a:cubicBezTo>
                      <a:pt x="87" y="400"/>
                      <a:pt x="82" y="394"/>
                      <a:pt x="85" y="390"/>
                    </a:cubicBezTo>
                    <a:cubicBezTo>
                      <a:pt x="85" y="390"/>
                      <a:pt x="85" y="390"/>
                      <a:pt x="85" y="391"/>
                    </a:cubicBezTo>
                    <a:cubicBezTo>
                      <a:pt x="85" y="386"/>
                      <a:pt x="87" y="381"/>
                      <a:pt x="84" y="376"/>
                    </a:cubicBezTo>
                    <a:cubicBezTo>
                      <a:pt x="84" y="371"/>
                      <a:pt x="86" y="366"/>
                      <a:pt x="89" y="368"/>
                    </a:cubicBezTo>
                    <a:cubicBezTo>
                      <a:pt x="83" y="367"/>
                      <a:pt x="89" y="356"/>
                      <a:pt x="89" y="356"/>
                    </a:cubicBezTo>
                    <a:cubicBezTo>
                      <a:pt x="89" y="356"/>
                      <a:pt x="105" y="84"/>
                      <a:pt x="76" y="16"/>
                    </a:cubicBezTo>
                    <a:cubicBezTo>
                      <a:pt x="73" y="14"/>
                      <a:pt x="71" y="8"/>
                      <a:pt x="68" y="10"/>
                    </a:cubicBezTo>
                    <a:cubicBezTo>
                      <a:pt x="67" y="6"/>
                      <a:pt x="72" y="3"/>
                      <a:pt x="69" y="2"/>
                    </a:cubicBezTo>
                    <a:cubicBezTo>
                      <a:pt x="68" y="9"/>
                      <a:pt x="62" y="0"/>
                      <a:pt x="59" y="7"/>
                    </a:cubicBezTo>
                    <a:lnTo>
                      <a:pt x="58" y="2"/>
                    </a:lnTo>
                    <a:cubicBezTo>
                      <a:pt x="57" y="2"/>
                      <a:pt x="61" y="8"/>
                      <a:pt x="57" y="7"/>
                    </a:cubicBezTo>
                    <a:lnTo>
                      <a:pt x="62" y="8"/>
                    </a:lnTo>
                    <a:cubicBezTo>
                      <a:pt x="61" y="12"/>
                      <a:pt x="60" y="13"/>
                      <a:pt x="59" y="14"/>
                    </a:cubicBezTo>
                    <a:cubicBezTo>
                      <a:pt x="60" y="18"/>
                      <a:pt x="67" y="20"/>
                      <a:pt x="64" y="27"/>
                    </a:cubicBezTo>
                    <a:lnTo>
                      <a:pt x="64" y="25"/>
                    </a:lnTo>
                    <a:cubicBezTo>
                      <a:pt x="64" y="31"/>
                      <a:pt x="61" y="29"/>
                      <a:pt x="60" y="30"/>
                    </a:cubicBezTo>
                    <a:lnTo>
                      <a:pt x="60" y="29"/>
                    </a:lnTo>
                    <a:lnTo>
                      <a:pt x="57" y="34"/>
                    </a:lnTo>
                    <a:cubicBezTo>
                      <a:pt x="59" y="30"/>
                      <a:pt x="55" y="23"/>
                      <a:pt x="55" y="27"/>
                    </a:cubicBezTo>
                    <a:cubicBezTo>
                      <a:pt x="54" y="34"/>
                      <a:pt x="57" y="25"/>
                      <a:pt x="57" y="30"/>
                    </a:cubicBezTo>
                    <a:cubicBezTo>
                      <a:pt x="57" y="34"/>
                      <a:pt x="55" y="33"/>
                      <a:pt x="53" y="33"/>
                    </a:cubicBezTo>
                    <a:lnTo>
                      <a:pt x="53" y="39"/>
                    </a:lnTo>
                    <a:cubicBezTo>
                      <a:pt x="51" y="38"/>
                      <a:pt x="53" y="35"/>
                      <a:pt x="51" y="37"/>
                    </a:cubicBezTo>
                    <a:lnTo>
                      <a:pt x="53" y="45"/>
                    </a:lnTo>
                    <a:cubicBezTo>
                      <a:pt x="48" y="46"/>
                      <a:pt x="56" y="53"/>
                      <a:pt x="51" y="56"/>
                    </a:cubicBezTo>
                    <a:cubicBezTo>
                      <a:pt x="49" y="51"/>
                      <a:pt x="49" y="57"/>
                      <a:pt x="47" y="56"/>
                    </a:cubicBezTo>
                    <a:lnTo>
                      <a:pt x="47" y="69"/>
                    </a:lnTo>
                    <a:cubicBezTo>
                      <a:pt x="46" y="71"/>
                      <a:pt x="45" y="66"/>
                      <a:pt x="45" y="68"/>
                    </a:cubicBezTo>
                    <a:cubicBezTo>
                      <a:pt x="44" y="70"/>
                      <a:pt x="47" y="72"/>
                      <a:pt x="47" y="73"/>
                    </a:cubicBezTo>
                    <a:cubicBezTo>
                      <a:pt x="45" y="74"/>
                      <a:pt x="47" y="83"/>
                      <a:pt x="43" y="83"/>
                    </a:cubicBezTo>
                    <a:cubicBezTo>
                      <a:pt x="40" y="92"/>
                      <a:pt x="48" y="87"/>
                      <a:pt x="46" y="95"/>
                    </a:cubicBezTo>
                    <a:cubicBezTo>
                      <a:pt x="43" y="96"/>
                      <a:pt x="45" y="88"/>
                      <a:pt x="43" y="92"/>
                    </a:cubicBezTo>
                    <a:lnTo>
                      <a:pt x="43" y="101"/>
                    </a:lnTo>
                    <a:cubicBezTo>
                      <a:pt x="42" y="100"/>
                      <a:pt x="40" y="99"/>
                      <a:pt x="40" y="96"/>
                    </a:cubicBezTo>
                    <a:cubicBezTo>
                      <a:pt x="37" y="120"/>
                      <a:pt x="24" y="132"/>
                      <a:pt x="27" y="154"/>
                    </a:cubicBezTo>
                    <a:cubicBezTo>
                      <a:pt x="24" y="157"/>
                      <a:pt x="25" y="152"/>
                      <a:pt x="24" y="150"/>
                    </a:cubicBezTo>
                    <a:cubicBezTo>
                      <a:pt x="27" y="165"/>
                      <a:pt x="17" y="172"/>
                      <a:pt x="17" y="185"/>
                    </a:cubicBezTo>
                    <a:lnTo>
                      <a:pt x="20" y="185"/>
                    </a:lnTo>
                    <a:cubicBezTo>
                      <a:pt x="12" y="204"/>
                      <a:pt x="17" y="226"/>
                      <a:pt x="13" y="247"/>
                    </a:cubicBezTo>
                    <a:lnTo>
                      <a:pt x="15" y="245"/>
                    </a:lnTo>
                    <a:cubicBezTo>
                      <a:pt x="17" y="248"/>
                      <a:pt x="17" y="253"/>
                      <a:pt x="18" y="256"/>
                    </a:cubicBezTo>
                    <a:cubicBezTo>
                      <a:pt x="17" y="257"/>
                      <a:pt x="14" y="253"/>
                      <a:pt x="14" y="260"/>
                    </a:cubicBezTo>
                    <a:cubicBezTo>
                      <a:pt x="15" y="258"/>
                      <a:pt x="16" y="256"/>
                      <a:pt x="17" y="257"/>
                    </a:cubicBezTo>
                    <a:cubicBezTo>
                      <a:pt x="11" y="275"/>
                      <a:pt x="12" y="313"/>
                      <a:pt x="9" y="343"/>
                    </a:cubicBezTo>
                    <a:cubicBezTo>
                      <a:pt x="11" y="383"/>
                      <a:pt x="6" y="427"/>
                      <a:pt x="7" y="466"/>
                    </a:cubicBezTo>
                    <a:cubicBezTo>
                      <a:pt x="7" y="460"/>
                      <a:pt x="12" y="463"/>
                      <a:pt x="11" y="467"/>
                    </a:cubicBezTo>
                    <a:cubicBezTo>
                      <a:pt x="1" y="480"/>
                      <a:pt x="13" y="489"/>
                      <a:pt x="6" y="501"/>
                    </a:cubicBezTo>
                    <a:cubicBezTo>
                      <a:pt x="9" y="524"/>
                      <a:pt x="0" y="545"/>
                      <a:pt x="7" y="566"/>
                    </a:cubicBezTo>
                    <a:lnTo>
                      <a:pt x="5" y="567"/>
                    </a:lnTo>
                    <a:cubicBezTo>
                      <a:pt x="3" y="570"/>
                      <a:pt x="5" y="571"/>
                      <a:pt x="6" y="574"/>
                    </a:cubicBezTo>
                    <a:lnTo>
                      <a:pt x="5" y="574"/>
                    </a:lnTo>
                    <a:cubicBezTo>
                      <a:pt x="4" y="582"/>
                      <a:pt x="6" y="592"/>
                      <a:pt x="5" y="596"/>
                    </a:cubicBezTo>
                    <a:lnTo>
                      <a:pt x="8" y="597"/>
                    </a:lnTo>
                    <a:cubicBezTo>
                      <a:pt x="8" y="601"/>
                      <a:pt x="6" y="599"/>
                      <a:pt x="8" y="604"/>
                    </a:cubicBezTo>
                    <a:lnTo>
                      <a:pt x="6" y="604"/>
                    </a:lnTo>
                    <a:lnTo>
                      <a:pt x="9" y="609"/>
                    </a:lnTo>
                    <a:cubicBezTo>
                      <a:pt x="3" y="609"/>
                      <a:pt x="8" y="623"/>
                      <a:pt x="6" y="627"/>
                    </a:cubicBezTo>
                    <a:cubicBezTo>
                      <a:pt x="7" y="633"/>
                      <a:pt x="9" y="644"/>
                      <a:pt x="8" y="653"/>
                    </a:cubicBezTo>
                    <a:cubicBezTo>
                      <a:pt x="5" y="655"/>
                      <a:pt x="5" y="667"/>
                      <a:pt x="4" y="674"/>
                    </a:cubicBezTo>
                    <a:cubicBezTo>
                      <a:pt x="4" y="688"/>
                      <a:pt x="5" y="708"/>
                      <a:pt x="4" y="726"/>
                    </a:cubicBezTo>
                    <a:lnTo>
                      <a:pt x="7" y="726"/>
                    </a:lnTo>
                    <a:lnTo>
                      <a:pt x="8" y="730"/>
                    </a:lnTo>
                    <a:cubicBezTo>
                      <a:pt x="7" y="730"/>
                      <a:pt x="7" y="731"/>
                      <a:pt x="6" y="730"/>
                    </a:cubicBezTo>
                    <a:cubicBezTo>
                      <a:pt x="2" y="734"/>
                      <a:pt x="7" y="741"/>
                      <a:pt x="5" y="745"/>
                    </a:cubicBezTo>
                    <a:cubicBezTo>
                      <a:pt x="8" y="743"/>
                      <a:pt x="6" y="742"/>
                      <a:pt x="6" y="739"/>
                    </a:cubicBezTo>
                    <a:cubicBezTo>
                      <a:pt x="7" y="735"/>
                      <a:pt x="11" y="739"/>
                      <a:pt x="9" y="744"/>
                    </a:cubicBezTo>
                    <a:lnTo>
                      <a:pt x="8" y="744"/>
                    </a:lnTo>
                    <a:lnTo>
                      <a:pt x="10" y="747"/>
                    </a:lnTo>
                    <a:cubicBezTo>
                      <a:pt x="7" y="748"/>
                      <a:pt x="6" y="751"/>
                      <a:pt x="3" y="751"/>
                    </a:cubicBezTo>
                    <a:cubicBezTo>
                      <a:pt x="4" y="767"/>
                      <a:pt x="9" y="778"/>
                      <a:pt x="8" y="794"/>
                    </a:cubicBezTo>
                    <a:cubicBezTo>
                      <a:pt x="5" y="792"/>
                      <a:pt x="9" y="805"/>
                      <a:pt x="3" y="802"/>
                    </a:cubicBezTo>
                    <a:cubicBezTo>
                      <a:pt x="5" y="811"/>
                      <a:pt x="8" y="800"/>
                      <a:pt x="11" y="805"/>
                    </a:cubicBezTo>
                    <a:cubicBezTo>
                      <a:pt x="11" y="807"/>
                      <a:pt x="13" y="810"/>
                      <a:pt x="11" y="811"/>
                    </a:cubicBezTo>
                    <a:cubicBezTo>
                      <a:pt x="10" y="809"/>
                      <a:pt x="8" y="813"/>
                      <a:pt x="7" y="811"/>
                    </a:cubicBezTo>
                    <a:lnTo>
                      <a:pt x="8" y="817"/>
                    </a:lnTo>
                    <a:cubicBezTo>
                      <a:pt x="7" y="818"/>
                      <a:pt x="6" y="816"/>
                      <a:pt x="6" y="816"/>
                    </a:cubicBezTo>
                    <a:cubicBezTo>
                      <a:pt x="9" y="829"/>
                      <a:pt x="3" y="839"/>
                      <a:pt x="6" y="850"/>
                    </a:cubicBezTo>
                    <a:cubicBezTo>
                      <a:pt x="8" y="851"/>
                      <a:pt x="7" y="846"/>
                      <a:pt x="9" y="847"/>
                    </a:cubicBezTo>
                    <a:cubicBezTo>
                      <a:pt x="13" y="858"/>
                      <a:pt x="6" y="857"/>
                      <a:pt x="9" y="868"/>
                    </a:cubicBezTo>
                    <a:lnTo>
                      <a:pt x="6" y="866"/>
                    </a:lnTo>
                    <a:cubicBezTo>
                      <a:pt x="8" y="869"/>
                      <a:pt x="10" y="871"/>
                      <a:pt x="8" y="877"/>
                    </a:cubicBezTo>
                    <a:cubicBezTo>
                      <a:pt x="5" y="878"/>
                      <a:pt x="6" y="872"/>
                      <a:pt x="4" y="869"/>
                    </a:cubicBezTo>
                    <a:cubicBezTo>
                      <a:pt x="4" y="873"/>
                      <a:pt x="5" y="883"/>
                      <a:pt x="8" y="880"/>
                    </a:cubicBezTo>
                    <a:cubicBezTo>
                      <a:pt x="9" y="885"/>
                      <a:pt x="6" y="887"/>
                      <a:pt x="5" y="889"/>
                    </a:cubicBezTo>
                    <a:cubicBezTo>
                      <a:pt x="6" y="889"/>
                      <a:pt x="7" y="885"/>
                      <a:pt x="9" y="887"/>
                    </a:cubicBezTo>
                    <a:cubicBezTo>
                      <a:pt x="7" y="894"/>
                      <a:pt x="8" y="904"/>
                      <a:pt x="8" y="912"/>
                    </a:cubicBezTo>
                    <a:cubicBezTo>
                      <a:pt x="7" y="912"/>
                      <a:pt x="6" y="913"/>
                      <a:pt x="5" y="912"/>
                    </a:cubicBezTo>
                    <a:cubicBezTo>
                      <a:pt x="9" y="918"/>
                      <a:pt x="2" y="918"/>
                      <a:pt x="4" y="927"/>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4" name="Freeform 2480"/>
              <p:cNvSpPr>
                <a:spLocks/>
              </p:cNvSpPr>
              <p:nvPr/>
            </p:nvSpPr>
            <p:spPr bwMode="auto">
              <a:xfrm>
                <a:off x="4495801" y="4364038"/>
                <a:ext cx="1588" cy="1588"/>
              </a:xfrm>
              <a:custGeom>
                <a:avLst/>
                <a:gdLst>
                  <a:gd name="T0" fmla="*/ 3 w 3"/>
                  <a:gd name="T1" fmla="*/ 5 h 5"/>
                  <a:gd name="T2" fmla="*/ 3 w 3"/>
                  <a:gd name="T3" fmla="*/ 5 h 5"/>
                  <a:gd name="T4" fmla="*/ 3 w 3"/>
                  <a:gd name="T5" fmla="*/ 2 h 5"/>
                  <a:gd name="T6" fmla="*/ 0 w 3"/>
                  <a:gd name="T7" fmla="*/ 0 h 5"/>
                  <a:gd name="T8" fmla="*/ 3 w 3"/>
                  <a:gd name="T9" fmla="*/ 5 h 5"/>
                </a:gdLst>
                <a:ahLst/>
                <a:cxnLst>
                  <a:cxn ang="0">
                    <a:pos x="T0" y="T1"/>
                  </a:cxn>
                  <a:cxn ang="0">
                    <a:pos x="T2" y="T3"/>
                  </a:cxn>
                  <a:cxn ang="0">
                    <a:pos x="T4" y="T5"/>
                  </a:cxn>
                  <a:cxn ang="0">
                    <a:pos x="T6" y="T7"/>
                  </a:cxn>
                  <a:cxn ang="0">
                    <a:pos x="T8" y="T9"/>
                  </a:cxn>
                </a:cxnLst>
                <a:rect l="0" t="0" r="r" b="b"/>
                <a:pathLst>
                  <a:path w="3" h="5">
                    <a:moveTo>
                      <a:pt x="3" y="5"/>
                    </a:moveTo>
                    <a:lnTo>
                      <a:pt x="3" y="5"/>
                    </a:lnTo>
                    <a:lnTo>
                      <a:pt x="3" y="2"/>
                    </a:lnTo>
                    <a:cubicBezTo>
                      <a:pt x="2" y="2"/>
                      <a:pt x="1" y="2"/>
                      <a:pt x="0" y="0"/>
                    </a:cubicBezTo>
                    <a:lnTo>
                      <a:pt x="3" y="5"/>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5" name="Freeform 2481"/>
              <p:cNvSpPr>
                <a:spLocks/>
              </p:cNvSpPr>
              <p:nvPr/>
            </p:nvSpPr>
            <p:spPr bwMode="auto">
              <a:xfrm>
                <a:off x="4494213" y="4316413"/>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1"/>
                      <a:pt x="1" y="1"/>
                      <a:pt x="0" y="0"/>
                    </a:cubicBezTo>
                    <a:cubicBezTo>
                      <a:pt x="1" y="1"/>
                      <a:pt x="1" y="1"/>
                      <a:pt x="1"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6" name="Freeform 2482"/>
              <p:cNvSpPr>
                <a:spLocks/>
              </p:cNvSpPr>
              <p:nvPr/>
            </p:nvSpPr>
            <p:spPr bwMode="auto">
              <a:xfrm>
                <a:off x="4491038" y="4305301"/>
                <a:ext cx="1588" cy="1588"/>
              </a:xfrm>
              <a:custGeom>
                <a:avLst/>
                <a:gdLst>
                  <a:gd name="T0" fmla="*/ 0 w 3"/>
                  <a:gd name="T1" fmla="*/ 1 h 3"/>
                  <a:gd name="T2" fmla="*/ 0 w 3"/>
                  <a:gd name="T3" fmla="*/ 1 h 3"/>
                  <a:gd name="T4" fmla="*/ 3 w 3"/>
                  <a:gd name="T5" fmla="*/ 0 h 3"/>
                  <a:gd name="T6" fmla="*/ 0 w 3"/>
                  <a:gd name="T7" fmla="*/ 1 h 3"/>
                </a:gdLst>
                <a:ahLst/>
                <a:cxnLst>
                  <a:cxn ang="0">
                    <a:pos x="T0" y="T1"/>
                  </a:cxn>
                  <a:cxn ang="0">
                    <a:pos x="T2" y="T3"/>
                  </a:cxn>
                  <a:cxn ang="0">
                    <a:pos x="T4" y="T5"/>
                  </a:cxn>
                  <a:cxn ang="0">
                    <a:pos x="T6" y="T7"/>
                  </a:cxn>
                </a:cxnLst>
                <a:rect l="0" t="0" r="r" b="b"/>
                <a:pathLst>
                  <a:path w="3" h="3">
                    <a:moveTo>
                      <a:pt x="0" y="1"/>
                    </a:moveTo>
                    <a:lnTo>
                      <a:pt x="0" y="1"/>
                    </a:lnTo>
                    <a:cubicBezTo>
                      <a:pt x="1" y="3"/>
                      <a:pt x="2" y="1"/>
                      <a:pt x="3" y="0"/>
                    </a:cubicBezTo>
                    <a:cubicBezTo>
                      <a:pt x="2" y="0"/>
                      <a:pt x="1"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7" name="Freeform 2483"/>
              <p:cNvSpPr>
                <a:spLocks/>
              </p:cNvSpPr>
              <p:nvPr/>
            </p:nvSpPr>
            <p:spPr bwMode="auto">
              <a:xfrm>
                <a:off x="4502151" y="4391026"/>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1" y="0"/>
                      <a:pt x="0" y="0"/>
                    </a:cubicBezTo>
                    <a:cubicBezTo>
                      <a:pt x="1" y="1"/>
                      <a:pt x="1" y="1"/>
                      <a:pt x="1"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8" name="Freeform 2484"/>
              <p:cNvSpPr>
                <a:spLocks/>
              </p:cNvSpPr>
              <p:nvPr/>
            </p:nvSpPr>
            <p:spPr bwMode="auto">
              <a:xfrm>
                <a:off x="4508501" y="446563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0"/>
                    </a:cubicBezTo>
                    <a:cubicBezTo>
                      <a:pt x="0" y="1"/>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9" name="Freeform 2485"/>
              <p:cNvSpPr>
                <a:spLocks/>
              </p:cNvSpPr>
              <p:nvPr/>
            </p:nvSpPr>
            <p:spPr bwMode="auto">
              <a:xfrm>
                <a:off x="4510088" y="4460876"/>
                <a:ext cx="0" cy="1588"/>
              </a:xfrm>
              <a:custGeom>
                <a:avLst/>
                <a:gdLst>
                  <a:gd name="T0" fmla="*/ 3 h 3"/>
                  <a:gd name="T1" fmla="*/ 3 h 3"/>
                  <a:gd name="T2" fmla="*/ 0 h 3"/>
                  <a:gd name="T3" fmla="*/ 3 h 3"/>
                </a:gdLst>
                <a:ahLst/>
                <a:cxnLst>
                  <a:cxn ang="0">
                    <a:pos x="0" y="T0"/>
                  </a:cxn>
                  <a:cxn ang="0">
                    <a:pos x="0" y="T1"/>
                  </a:cxn>
                  <a:cxn ang="0">
                    <a:pos x="0" y="T2"/>
                  </a:cxn>
                  <a:cxn ang="0">
                    <a:pos x="0" y="T3"/>
                  </a:cxn>
                </a:cxnLst>
                <a:rect l="0" t="0" r="r" b="b"/>
                <a:pathLst>
                  <a:path h="3">
                    <a:moveTo>
                      <a:pt x="0" y="3"/>
                    </a:moveTo>
                    <a:lnTo>
                      <a:pt x="0" y="3"/>
                    </a:lnTo>
                    <a:cubicBezTo>
                      <a:pt x="0" y="2"/>
                      <a:pt x="0" y="1"/>
                      <a:pt x="0" y="0"/>
                    </a:cubicBezTo>
                    <a:cubicBezTo>
                      <a:pt x="0" y="1"/>
                      <a:pt x="0" y="2"/>
                      <a:pt x="0" y="3"/>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0" name="Freeform 2486"/>
              <p:cNvSpPr>
                <a:spLocks/>
              </p:cNvSpPr>
              <p:nvPr/>
            </p:nvSpPr>
            <p:spPr bwMode="auto">
              <a:xfrm>
                <a:off x="4498976" y="4371976"/>
                <a:ext cx="1588" cy="158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1" y="2"/>
                      <a:pt x="1" y="1"/>
                      <a:pt x="0" y="0"/>
                    </a:cubicBezTo>
                    <a:cubicBezTo>
                      <a:pt x="0" y="2"/>
                      <a:pt x="1" y="2"/>
                      <a:pt x="1" y="3"/>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1" name="Freeform 2487"/>
              <p:cNvSpPr>
                <a:spLocks/>
              </p:cNvSpPr>
              <p:nvPr/>
            </p:nvSpPr>
            <p:spPr bwMode="auto">
              <a:xfrm>
                <a:off x="4508501" y="4459288"/>
                <a:ext cx="1588" cy="1588"/>
              </a:xfrm>
              <a:custGeom>
                <a:avLst/>
                <a:gdLst>
                  <a:gd name="T0" fmla="*/ 1 w 1"/>
                  <a:gd name="T1" fmla="*/ 3 h 3"/>
                  <a:gd name="T2" fmla="*/ 1 w 1"/>
                  <a:gd name="T3" fmla="*/ 3 h 3"/>
                  <a:gd name="T4" fmla="*/ 1 w 1"/>
                  <a:gd name="T5" fmla="*/ 0 h 3"/>
                  <a:gd name="T6" fmla="*/ 0 w 1"/>
                  <a:gd name="T7" fmla="*/ 0 h 3"/>
                  <a:gd name="T8" fmla="*/ 1 w 1"/>
                  <a:gd name="T9" fmla="*/ 3 h 3"/>
                </a:gdLst>
                <a:ahLst/>
                <a:cxnLst>
                  <a:cxn ang="0">
                    <a:pos x="T0" y="T1"/>
                  </a:cxn>
                  <a:cxn ang="0">
                    <a:pos x="T2" y="T3"/>
                  </a:cxn>
                  <a:cxn ang="0">
                    <a:pos x="T4" y="T5"/>
                  </a:cxn>
                  <a:cxn ang="0">
                    <a:pos x="T6" y="T7"/>
                  </a:cxn>
                  <a:cxn ang="0">
                    <a:pos x="T8" y="T9"/>
                  </a:cxn>
                </a:cxnLst>
                <a:rect l="0" t="0" r="r" b="b"/>
                <a:pathLst>
                  <a:path w="1" h="3">
                    <a:moveTo>
                      <a:pt x="1" y="3"/>
                    </a:moveTo>
                    <a:lnTo>
                      <a:pt x="1" y="3"/>
                    </a:lnTo>
                    <a:lnTo>
                      <a:pt x="1" y="0"/>
                    </a:lnTo>
                    <a:cubicBezTo>
                      <a:pt x="0" y="0"/>
                      <a:pt x="0" y="0"/>
                      <a:pt x="0" y="0"/>
                    </a:cubicBezTo>
                    <a:lnTo>
                      <a:pt x="1" y="3"/>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2" name="Freeform 2488"/>
              <p:cNvSpPr>
                <a:spLocks/>
              </p:cNvSpPr>
              <p:nvPr/>
            </p:nvSpPr>
            <p:spPr bwMode="auto">
              <a:xfrm>
                <a:off x="4508501" y="4465638"/>
                <a:ext cx="0" cy="1588"/>
              </a:xfrm>
              <a:custGeom>
                <a:avLst/>
                <a:gdLst>
                  <a:gd name="T0" fmla="*/ 5 h 5"/>
                  <a:gd name="T1" fmla="*/ 5 h 5"/>
                  <a:gd name="T2" fmla="*/ 0 h 5"/>
                  <a:gd name="T3" fmla="*/ 5 h 5"/>
                </a:gdLst>
                <a:ahLst/>
                <a:cxnLst>
                  <a:cxn ang="0">
                    <a:pos x="0" y="T0"/>
                  </a:cxn>
                  <a:cxn ang="0">
                    <a:pos x="0" y="T1"/>
                  </a:cxn>
                  <a:cxn ang="0">
                    <a:pos x="0" y="T2"/>
                  </a:cxn>
                  <a:cxn ang="0">
                    <a:pos x="0" y="T3"/>
                  </a:cxn>
                </a:cxnLst>
                <a:rect l="0" t="0" r="r" b="b"/>
                <a:pathLst>
                  <a:path h="5">
                    <a:moveTo>
                      <a:pt x="0" y="5"/>
                    </a:moveTo>
                    <a:lnTo>
                      <a:pt x="0" y="5"/>
                    </a:lnTo>
                    <a:cubicBezTo>
                      <a:pt x="0" y="3"/>
                      <a:pt x="0" y="2"/>
                      <a:pt x="0" y="0"/>
                    </a:cubicBezTo>
                    <a:cubicBezTo>
                      <a:pt x="0" y="2"/>
                      <a:pt x="0" y="4"/>
                      <a:pt x="0" y="5"/>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3" name="Freeform 2489"/>
              <p:cNvSpPr>
                <a:spLocks/>
              </p:cNvSpPr>
              <p:nvPr/>
            </p:nvSpPr>
            <p:spPr bwMode="auto">
              <a:xfrm>
                <a:off x="4505326" y="4418013"/>
                <a:ext cx="0" cy="1588"/>
              </a:xfrm>
              <a:custGeom>
                <a:avLst/>
                <a:gdLst>
                  <a:gd name="T0" fmla="*/ 2 w 2"/>
                  <a:gd name="T1" fmla="*/ 2 h 2"/>
                  <a:gd name="T2" fmla="*/ 2 w 2"/>
                  <a:gd name="T3" fmla="*/ 2 h 2"/>
                  <a:gd name="T4" fmla="*/ 2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2" y="2"/>
                    </a:lnTo>
                    <a:cubicBezTo>
                      <a:pt x="0" y="0"/>
                      <a:pt x="1" y="1"/>
                      <a:pt x="2"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4" name="Freeform 2490"/>
              <p:cNvSpPr>
                <a:spLocks/>
              </p:cNvSpPr>
              <p:nvPr/>
            </p:nvSpPr>
            <p:spPr bwMode="auto">
              <a:xfrm>
                <a:off x="4506913" y="4456113"/>
                <a:ext cx="0" cy="0"/>
              </a:xfrm>
              <a:custGeom>
                <a:avLst/>
                <a:gdLst>
                  <a:gd name="T0" fmla="*/ 1 w 1"/>
                  <a:gd name="T1" fmla="*/ 2 h 2"/>
                  <a:gd name="T2" fmla="*/ 1 w 1"/>
                  <a:gd name="T3" fmla="*/ 2 h 2"/>
                  <a:gd name="T4" fmla="*/ 1 w 1"/>
                  <a:gd name="T5" fmla="*/ 1 h 2"/>
                  <a:gd name="T6" fmla="*/ 0 w 1"/>
                  <a:gd name="T7" fmla="*/ 0 h 2"/>
                  <a:gd name="T8" fmla="*/ 1 w 1"/>
                  <a:gd name="T9" fmla="*/ 2 h 2"/>
                </a:gdLst>
                <a:ahLst/>
                <a:cxnLst>
                  <a:cxn ang="0">
                    <a:pos x="T0" y="T1"/>
                  </a:cxn>
                  <a:cxn ang="0">
                    <a:pos x="T2" y="T3"/>
                  </a:cxn>
                  <a:cxn ang="0">
                    <a:pos x="T4" y="T5"/>
                  </a:cxn>
                  <a:cxn ang="0">
                    <a:pos x="T6" y="T7"/>
                  </a:cxn>
                  <a:cxn ang="0">
                    <a:pos x="T8" y="T9"/>
                  </a:cxn>
                </a:cxnLst>
                <a:rect l="0" t="0" r="r" b="b"/>
                <a:pathLst>
                  <a:path w="1" h="2">
                    <a:moveTo>
                      <a:pt x="1" y="2"/>
                    </a:moveTo>
                    <a:lnTo>
                      <a:pt x="1" y="2"/>
                    </a:lnTo>
                    <a:lnTo>
                      <a:pt x="1" y="1"/>
                    </a:lnTo>
                    <a:lnTo>
                      <a:pt x="0" y="0"/>
                    </a:lnTo>
                    <a:lnTo>
                      <a:pt x="1" y="2"/>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5" name="Freeform 2491"/>
              <p:cNvSpPr>
                <a:spLocks/>
              </p:cNvSpPr>
              <p:nvPr/>
            </p:nvSpPr>
            <p:spPr bwMode="auto">
              <a:xfrm>
                <a:off x="4508501" y="4471988"/>
                <a:ext cx="0" cy="0"/>
              </a:xfrm>
              <a:custGeom>
                <a:avLst/>
                <a:gdLst>
                  <a:gd name="T0" fmla="*/ 1 w 1"/>
                  <a:gd name="T1" fmla="*/ 1 h 1"/>
                  <a:gd name="T2" fmla="*/ 1 w 1"/>
                  <a:gd name="T3" fmla="*/ 1 h 1"/>
                  <a:gd name="T4" fmla="*/ 0 w 1"/>
                  <a:gd name="T5" fmla="*/ 0 h 1"/>
                  <a:gd name="T6" fmla="*/ 0 w 1"/>
                  <a:gd name="T7" fmla="*/ 1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cubicBezTo>
                      <a:pt x="1" y="1"/>
                      <a:pt x="0" y="0"/>
                      <a:pt x="0" y="0"/>
                    </a:cubicBezTo>
                    <a:cubicBezTo>
                      <a:pt x="0" y="0"/>
                      <a:pt x="0" y="1"/>
                      <a:pt x="0" y="1"/>
                    </a:cubicBezTo>
                    <a:cubicBezTo>
                      <a:pt x="0" y="1"/>
                      <a:pt x="1" y="1"/>
                      <a:pt x="1"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6" name="Freeform 2492"/>
              <p:cNvSpPr>
                <a:spLocks/>
              </p:cNvSpPr>
              <p:nvPr/>
            </p:nvSpPr>
            <p:spPr bwMode="auto">
              <a:xfrm>
                <a:off x="4505326" y="4433888"/>
                <a:ext cx="1588" cy="1588"/>
              </a:xfrm>
              <a:custGeom>
                <a:avLst/>
                <a:gdLst>
                  <a:gd name="T0" fmla="*/ 0 w 3"/>
                  <a:gd name="T1" fmla="*/ 1 h 2"/>
                  <a:gd name="T2" fmla="*/ 0 w 3"/>
                  <a:gd name="T3" fmla="*/ 1 h 2"/>
                  <a:gd name="T4" fmla="*/ 3 w 3"/>
                  <a:gd name="T5" fmla="*/ 2 h 2"/>
                  <a:gd name="T6" fmla="*/ 0 w 3"/>
                  <a:gd name="T7" fmla="*/ 1 h 2"/>
                </a:gdLst>
                <a:ahLst/>
                <a:cxnLst>
                  <a:cxn ang="0">
                    <a:pos x="T0" y="T1"/>
                  </a:cxn>
                  <a:cxn ang="0">
                    <a:pos x="T2" y="T3"/>
                  </a:cxn>
                  <a:cxn ang="0">
                    <a:pos x="T4" y="T5"/>
                  </a:cxn>
                  <a:cxn ang="0">
                    <a:pos x="T6" y="T7"/>
                  </a:cxn>
                </a:cxnLst>
                <a:rect l="0" t="0" r="r" b="b"/>
                <a:pathLst>
                  <a:path w="3" h="2">
                    <a:moveTo>
                      <a:pt x="0" y="1"/>
                    </a:moveTo>
                    <a:lnTo>
                      <a:pt x="0" y="1"/>
                    </a:lnTo>
                    <a:cubicBezTo>
                      <a:pt x="2" y="2"/>
                      <a:pt x="2" y="2"/>
                      <a:pt x="3" y="2"/>
                    </a:cubicBezTo>
                    <a:cubicBezTo>
                      <a:pt x="3" y="1"/>
                      <a:pt x="2"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7" name="Freeform 2493"/>
              <p:cNvSpPr>
                <a:spLocks/>
              </p:cNvSpPr>
              <p:nvPr/>
            </p:nvSpPr>
            <p:spPr bwMode="auto">
              <a:xfrm>
                <a:off x="4383088" y="4545013"/>
                <a:ext cx="0" cy="1588"/>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1" y="0"/>
                      <a:pt x="1" y="0"/>
                    </a:cubicBezTo>
                    <a:cubicBezTo>
                      <a:pt x="0" y="0"/>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8" name="Freeform 2494"/>
              <p:cNvSpPr>
                <a:spLocks/>
              </p:cNvSpPr>
              <p:nvPr/>
            </p:nvSpPr>
            <p:spPr bwMode="auto">
              <a:xfrm>
                <a:off x="4306888" y="4548188"/>
                <a:ext cx="1588" cy="0"/>
              </a:xfrm>
              <a:custGeom>
                <a:avLst/>
                <a:gdLst>
                  <a:gd name="T0" fmla="*/ 0 w 3"/>
                  <a:gd name="T1" fmla="*/ 1 h 1"/>
                  <a:gd name="T2" fmla="*/ 0 w 3"/>
                  <a:gd name="T3" fmla="*/ 1 h 1"/>
                  <a:gd name="T4" fmla="*/ 3 w 3"/>
                  <a:gd name="T5" fmla="*/ 0 h 1"/>
                  <a:gd name="T6" fmla="*/ 0 w 3"/>
                  <a:gd name="T7" fmla="*/ 1 h 1"/>
                </a:gdLst>
                <a:ahLst/>
                <a:cxnLst>
                  <a:cxn ang="0">
                    <a:pos x="T0" y="T1"/>
                  </a:cxn>
                  <a:cxn ang="0">
                    <a:pos x="T2" y="T3"/>
                  </a:cxn>
                  <a:cxn ang="0">
                    <a:pos x="T4" y="T5"/>
                  </a:cxn>
                  <a:cxn ang="0">
                    <a:pos x="T6" y="T7"/>
                  </a:cxn>
                </a:cxnLst>
                <a:rect l="0" t="0" r="r" b="b"/>
                <a:pathLst>
                  <a:path w="3" h="1">
                    <a:moveTo>
                      <a:pt x="0" y="1"/>
                    </a:moveTo>
                    <a:lnTo>
                      <a:pt x="0" y="1"/>
                    </a:lnTo>
                    <a:lnTo>
                      <a:pt x="3" y="0"/>
                    </a:lnTo>
                    <a:cubicBezTo>
                      <a:pt x="1" y="0"/>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9" name="Freeform 2495"/>
              <p:cNvSpPr>
                <a:spLocks/>
              </p:cNvSpPr>
              <p:nvPr/>
            </p:nvSpPr>
            <p:spPr bwMode="auto">
              <a:xfrm>
                <a:off x="4427538" y="4543426"/>
                <a:ext cx="3175" cy="0"/>
              </a:xfrm>
              <a:custGeom>
                <a:avLst/>
                <a:gdLst>
                  <a:gd name="T0" fmla="*/ 0 w 10"/>
                  <a:gd name="T1" fmla="*/ 1 h 1"/>
                  <a:gd name="T2" fmla="*/ 0 w 10"/>
                  <a:gd name="T3" fmla="*/ 1 h 1"/>
                  <a:gd name="T4" fmla="*/ 0 w 10"/>
                  <a:gd name="T5" fmla="*/ 1 h 1"/>
                  <a:gd name="T6" fmla="*/ 10 w 10"/>
                  <a:gd name="T7" fmla="*/ 0 h 1"/>
                  <a:gd name="T8" fmla="*/ 0 w 10"/>
                  <a:gd name="T9" fmla="*/ 1 h 1"/>
                </a:gdLst>
                <a:ahLst/>
                <a:cxnLst>
                  <a:cxn ang="0">
                    <a:pos x="T0" y="T1"/>
                  </a:cxn>
                  <a:cxn ang="0">
                    <a:pos x="T2" y="T3"/>
                  </a:cxn>
                  <a:cxn ang="0">
                    <a:pos x="T4" y="T5"/>
                  </a:cxn>
                  <a:cxn ang="0">
                    <a:pos x="T6" y="T7"/>
                  </a:cxn>
                  <a:cxn ang="0">
                    <a:pos x="T8" y="T9"/>
                  </a:cxn>
                </a:cxnLst>
                <a:rect l="0" t="0" r="r" b="b"/>
                <a:pathLst>
                  <a:path w="10" h="1">
                    <a:moveTo>
                      <a:pt x="0" y="1"/>
                    </a:moveTo>
                    <a:lnTo>
                      <a:pt x="0" y="1"/>
                    </a:lnTo>
                    <a:cubicBezTo>
                      <a:pt x="0" y="1"/>
                      <a:pt x="0" y="1"/>
                      <a:pt x="0" y="1"/>
                    </a:cubicBezTo>
                    <a:cubicBezTo>
                      <a:pt x="2" y="1"/>
                      <a:pt x="5" y="1"/>
                      <a:pt x="10" y="0"/>
                    </a:cubicBezTo>
                    <a:lnTo>
                      <a:pt x="0" y="1"/>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0" name="Freeform 2496"/>
              <p:cNvSpPr>
                <a:spLocks/>
              </p:cNvSpPr>
              <p:nvPr/>
            </p:nvSpPr>
            <p:spPr bwMode="auto">
              <a:xfrm>
                <a:off x="4146551" y="4548188"/>
                <a:ext cx="1588" cy="0"/>
              </a:xfrm>
              <a:custGeom>
                <a:avLst/>
                <a:gdLst>
                  <a:gd name="T0" fmla="*/ 0 w 4"/>
                  <a:gd name="T1" fmla="*/ 1 h 1"/>
                  <a:gd name="T2" fmla="*/ 0 w 4"/>
                  <a:gd name="T3" fmla="*/ 1 h 1"/>
                  <a:gd name="T4" fmla="*/ 4 w 4"/>
                  <a:gd name="T5" fmla="*/ 1 h 1"/>
                  <a:gd name="T6" fmla="*/ 0 w 4"/>
                  <a:gd name="T7" fmla="*/ 1 h 1"/>
                </a:gdLst>
                <a:ahLst/>
                <a:cxnLst>
                  <a:cxn ang="0">
                    <a:pos x="T0" y="T1"/>
                  </a:cxn>
                  <a:cxn ang="0">
                    <a:pos x="T2" y="T3"/>
                  </a:cxn>
                  <a:cxn ang="0">
                    <a:pos x="T4" y="T5"/>
                  </a:cxn>
                  <a:cxn ang="0">
                    <a:pos x="T6" y="T7"/>
                  </a:cxn>
                </a:cxnLst>
                <a:rect l="0" t="0" r="r" b="b"/>
                <a:pathLst>
                  <a:path w="4" h="1">
                    <a:moveTo>
                      <a:pt x="0" y="1"/>
                    </a:moveTo>
                    <a:lnTo>
                      <a:pt x="0" y="1"/>
                    </a:lnTo>
                    <a:lnTo>
                      <a:pt x="4" y="1"/>
                    </a:lnTo>
                    <a:cubicBezTo>
                      <a:pt x="2" y="1"/>
                      <a:pt x="1"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1" name="Freeform 2497"/>
              <p:cNvSpPr>
                <a:spLocks/>
              </p:cNvSpPr>
              <p:nvPr/>
            </p:nvSpPr>
            <p:spPr bwMode="auto">
              <a:xfrm>
                <a:off x="4240213" y="4549776"/>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1"/>
                      <a:pt x="2" y="1"/>
                      <a:pt x="0" y="1"/>
                    </a:cubicBezTo>
                    <a:cubicBezTo>
                      <a:pt x="2" y="1"/>
                      <a:pt x="4" y="1"/>
                      <a:pt x="4"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2" name="Freeform 2498"/>
              <p:cNvSpPr>
                <a:spLocks/>
              </p:cNvSpPr>
              <p:nvPr/>
            </p:nvSpPr>
            <p:spPr bwMode="auto">
              <a:xfrm>
                <a:off x="4451351" y="4549776"/>
                <a:ext cx="1588" cy="0"/>
              </a:xfrm>
              <a:custGeom>
                <a:avLst/>
                <a:gdLst>
                  <a:gd name="T0" fmla="*/ 4 w 4"/>
                  <a:gd name="T1" fmla="*/ 2 h 2"/>
                  <a:gd name="T2" fmla="*/ 4 w 4"/>
                  <a:gd name="T3" fmla="*/ 2 h 2"/>
                  <a:gd name="T4" fmla="*/ 0 w 4"/>
                  <a:gd name="T5" fmla="*/ 0 h 2"/>
                  <a:gd name="T6" fmla="*/ 4 w 4"/>
                  <a:gd name="T7" fmla="*/ 2 h 2"/>
                </a:gdLst>
                <a:ahLst/>
                <a:cxnLst>
                  <a:cxn ang="0">
                    <a:pos x="T0" y="T1"/>
                  </a:cxn>
                  <a:cxn ang="0">
                    <a:pos x="T2" y="T3"/>
                  </a:cxn>
                  <a:cxn ang="0">
                    <a:pos x="T4" y="T5"/>
                  </a:cxn>
                  <a:cxn ang="0">
                    <a:pos x="T6" y="T7"/>
                  </a:cxn>
                </a:cxnLst>
                <a:rect l="0" t="0" r="r" b="b"/>
                <a:pathLst>
                  <a:path w="4" h="2">
                    <a:moveTo>
                      <a:pt x="4" y="2"/>
                    </a:moveTo>
                    <a:lnTo>
                      <a:pt x="4" y="2"/>
                    </a:lnTo>
                    <a:lnTo>
                      <a:pt x="0" y="0"/>
                    </a:lnTo>
                    <a:cubicBezTo>
                      <a:pt x="0" y="1"/>
                      <a:pt x="2" y="2"/>
                      <a:pt x="4"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3" name="Freeform 2499"/>
              <p:cNvSpPr>
                <a:spLocks/>
              </p:cNvSpPr>
              <p:nvPr/>
            </p:nvSpPr>
            <p:spPr bwMode="auto">
              <a:xfrm>
                <a:off x="4497388" y="4541838"/>
                <a:ext cx="158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cubicBezTo>
                      <a:pt x="1" y="0"/>
                      <a:pt x="1" y="0"/>
                      <a:pt x="0" y="0"/>
                    </a:cubicBezTo>
                    <a:cubicBezTo>
                      <a:pt x="0" y="0"/>
                      <a:pt x="1" y="0"/>
                      <a:pt x="1"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4" name="Freeform 2500"/>
              <p:cNvSpPr>
                <a:spLocks/>
              </p:cNvSpPr>
              <p:nvPr/>
            </p:nvSpPr>
            <p:spPr bwMode="auto">
              <a:xfrm>
                <a:off x="4478338" y="4541838"/>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1" y="1"/>
                      <a:pt x="0" y="1"/>
                    </a:cubicBezTo>
                    <a:cubicBezTo>
                      <a:pt x="2" y="1"/>
                      <a:pt x="4" y="1"/>
                      <a:pt x="4"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5" name="Freeform 2501"/>
              <p:cNvSpPr>
                <a:spLocks/>
              </p:cNvSpPr>
              <p:nvPr/>
            </p:nvSpPr>
            <p:spPr bwMode="auto">
              <a:xfrm>
                <a:off x="4478338" y="4541838"/>
                <a:ext cx="0" cy="0"/>
              </a:xfrm>
              <a:custGeom>
                <a:avLst/>
                <a:gdLst>
                  <a:gd name="T0" fmla="*/ 0 w 2"/>
                  <a:gd name="T1" fmla="*/ 1 h 1"/>
                  <a:gd name="T2" fmla="*/ 0 w 2"/>
                  <a:gd name="T3" fmla="*/ 1 h 1"/>
                  <a:gd name="T4" fmla="*/ 2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0" y="1"/>
                    </a:lnTo>
                    <a:lnTo>
                      <a:pt x="2" y="0"/>
                    </a:lnTo>
                    <a:cubicBezTo>
                      <a:pt x="1" y="0"/>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6" name="Freeform 2502"/>
              <p:cNvSpPr>
                <a:spLocks/>
              </p:cNvSpPr>
              <p:nvPr/>
            </p:nvSpPr>
            <p:spPr bwMode="auto">
              <a:xfrm>
                <a:off x="3557588" y="4530726"/>
                <a:ext cx="3175" cy="0"/>
              </a:xfrm>
              <a:custGeom>
                <a:avLst/>
                <a:gdLst>
                  <a:gd name="T0" fmla="*/ 12 w 12"/>
                  <a:gd name="T1" fmla="*/ 0 h 3"/>
                  <a:gd name="T2" fmla="*/ 12 w 12"/>
                  <a:gd name="T3" fmla="*/ 0 h 3"/>
                  <a:gd name="T4" fmla="*/ 0 w 12"/>
                  <a:gd name="T5" fmla="*/ 3 h 3"/>
                  <a:gd name="T6" fmla="*/ 12 w 12"/>
                  <a:gd name="T7" fmla="*/ 0 h 3"/>
                </a:gdLst>
                <a:ahLst/>
                <a:cxnLst>
                  <a:cxn ang="0">
                    <a:pos x="T0" y="T1"/>
                  </a:cxn>
                  <a:cxn ang="0">
                    <a:pos x="T2" y="T3"/>
                  </a:cxn>
                  <a:cxn ang="0">
                    <a:pos x="T4" y="T5"/>
                  </a:cxn>
                  <a:cxn ang="0">
                    <a:pos x="T6" y="T7"/>
                  </a:cxn>
                </a:cxnLst>
                <a:rect l="0" t="0" r="r" b="b"/>
                <a:pathLst>
                  <a:path w="12" h="3">
                    <a:moveTo>
                      <a:pt x="12" y="0"/>
                    </a:moveTo>
                    <a:lnTo>
                      <a:pt x="12" y="0"/>
                    </a:lnTo>
                    <a:cubicBezTo>
                      <a:pt x="8" y="0"/>
                      <a:pt x="4" y="1"/>
                      <a:pt x="0" y="3"/>
                    </a:cubicBezTo>
                    <a:lnTo>
                      <a:pt x="12"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7" name="Freeform 2503"/>
              <p:cNvSpPr>
                <a:spLocks/>
              </p:cNvSpPr>
              <p:nvPr/>
            </p:nvSpPr>
            <p:spPr bwMode="auto">
              <a:xfrm>
                <a:off x="4000501" y="4545013"/>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lnTo>
                      <a:pt x="1" y="0"/>
                    </a:lnTo>
                    <a:cubicBezTo>
                      <a:pt x="0" y="0"/>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8" name="Freeform 2504"/>
              <p:cNvSpPr>
                <a:spLocks/>
              </p:cNvSpPr>
              <p:nvPr/>
            </p:nvSpPr>
            <p:spPr bwMode="auto">
              <a:xfrm>
                <a:off x="3559176" y="4535488"/>
                <a:ext cx="0" cy="0"/>
              </a:xfrm>
              <a:custGeom>
                <a:avLst/>
                <a:gdLst>
                  <a:gd name="T0" fmla="*/ 3 w 3"/>
                  <a:gd name="T1" fmla="*/ 1 h 1"/>
                  <a:gd name="T2" fmla="*/ 3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3" y="1"/>
                    </a:lnTo>
                    <a:lnTo>
                      <a:pt x="0" y="0"/>
                    </a:lnTo>
                    <a:cubicBezTo>
                      <a:pt x="1" y="1"/>
                      <a:pt x="2" y="1"/>
                      <a:pt x="3"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9" name="Freeform 2505"/>
              <p:cNvSpPr>
                <a:spLocks/>
              </p:cNvSpPr>
              <p:nvPr/>
            </p:nvSpPr>
            <p:spPr bwMode="auto">
              <a:xfrm>
                <a:off x="4424363" y="4554538"/>
                <a:ext cx="4763" cy="0"/>
              </a:xfrm>
              <a:custGeom>
                <a:avLst/>
                <a:gdLst>
                  <a:gd name="T0" fmla="*/ 13 w 13"/>
                  <a:gd name="T1" fmla="*/ 0 h 3"/>
                  <a:gd name="T2" fmla="*/ 13 w 13"/>
                  <a:gd name="T3" fmla="*/ 0 h 3"/>
                  <a:gd name="T4" fmla="*/ 1 w 13"/>
                  <a:gd name="T5" fmla="*/ 3 h 3"/>
                  <a:gd name="T6" fmla="*/ 13 w 13"/>
                  <a:gd name="T7" fmla="*/ 0 h 3"/>
                </a:gdLst>
                <a:ahLst/>
                <a:cxnLst>
                  <a:cxn ang="0">
                    <a:pos x="T0" y="T1"/>
                  </a:cxn>
                  <a:cxn ang="0">
                    <a:pos x="T2" y="T3"/>
                  </a:cxn>
                  <a:cxn ang="0">
                    <a:pos x="T4" y="T5"/>
                  </a:cxn>
                  <a:cxn ang="0">
                    <a:pos x="T6" y="T7"/>
                  </a:cxn>
                </a:cxnLst>
                <a:rect l="0" t="0" r="r" b="b"/>
                <a:pathLst>
                  <a:path w="13" h="3">
                    <a:moveTo>
                      <a:pt x="13" y="0"/>
                    </a:moveTo>
                    <a:lnTo>
                      <a:pt x="13" y="0"/>
                    </a:lnTo>
                    <a:cubicBezTo>
                      <a:pt x="9" y="3"/>
                      <a:pt x="0" y="1"/>
                      <a:pt x="1" y="3"/>
                    </a:cubicBezTo>
                    <a:cubicBezTo>
                      <a:pt x="5" y="2"/>
                      <a:pt x="12" y="3"/>
                      <a:pt x="13"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0" name="Freeform 2506"/>
              <p:cNvSpPr>
                <a:spLocks/>
              </p:cNvSpPr>
              <p:nvPr/>
            </p:nvSpPr>
            <p:spPr bwMode="auto">
              <a:xfrm>
                <a:off x="3968751" y="4567238"/>
                <a:ext cx="0" cy="0"/>
              </a:xfrm>
              <a:custGeom>
                <a:avLst/>
                <a:gdLst>
                  <a:gd name="T0" fmla="*/ 2 w 2"/>
                  <a:gd name="T1" fmla="*/ 0 h 1"/>
                  <a:gd name="T2" fmla="*/ 2 w 2"/>
                  <a:gd name="T3" fmla="*/ 0 h 1"/>
                  <a:gd name="T4" fmla="*/ 0 w 2"/>
                  <a:gd name="T5" fmla="*/ 0 h 1"/>
                  <a:gd name="T6" fmla="*/ 2 w 2"/>
                  <a:gd name="T7" fmla="*/ 0 h 1"/>
                </a:gdLst>
                <a:ahLst/>
                <a:cxnLst>
                  <a:cxn ang="0">
                    <a:pos x="T0" y="T1"/>
                  </a:cxn>
                  <a:cxn ang="0">
                    <a:pos x="T2" y="T3"/>
                  </a:cxn>
                  <a:cxn ang="0">
                    <a:pos x="T4" y="T5"/>
                  </a:cxn>
                  <a:cxn ang="0">
                    <a:pos x="T6" y="T7"/>
                  </a:cxn>
                </a:cxnLst>
                <a:rect l="0" t="0" r="r" b="b"/>
                <a:pathLst>
                  <a:path w="2" h="1">
                    <a:moveTo>
                      <a:pt x="2" y="0"/>
                    </a:moveTo>
                    <a:lnTo>
                      <a:pt x="2" y="0"/>
                    </a:lnTo>
                    <a:lnTo>
                      <a:pt x="0" y="0"/>
                    </a:lnTo>
                    <a:cubicBezTo>
                      <a:pt x="1" y="1"/>
                      <a:pt x="2" y="1"/>
                      <a:pt x="2"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1" name="Freeform 2507"/>
              <p:cNvSpPr>
                <a:spLocks/>
              </p:cNvSpPr>
              <p:nvPr/>
            </p:nvSpPr>
            <p:spPr bwMode="auto">
              <a:xfrm>
                <a:off x="3559176" y="4535488"/>
                <a:ext cx="1588" cy="0"/>
              </a:xfrm>
              <a:custGeom>
                <a:avLst/>
                <a:gdLst>
                  <a:gd name="T0" fmla="*/ 0 w 3"/>
                  <a:gd name="T1" fmla="*/ 1 h 1"/>
                  <a:gd name="T2" fmla="*/ 0 w 3"/>
                  <a:gd name="T3" fmla="*/ 1 h 1"/>
                  <a:gd name="T4" fmla="*/ 3 w 3"/>
                  <a:gd name="T5" fmla="*/ 1 h 1"/>
                  <a:gd name="T6" fmla="*/ 2 w 3"/>
                  <a:gd name="T7" fmla="*/ 0 h 1"/>
                  <a:gd name="T8" fmla="*/ 0 w 3"/>
                  <a:gd name="T9" fmla="*/ 1 h 1"/>
                </a:gdLst>
                <a:ahLst/>
                <a:cxnLst>
                  <a:cxn ang="0">
                    <a:pos x="T0" y="T1"/>
                  </a:cxn>
                  <a:cxn ang="0">
                    <a:pos x="T2" y="T3"/>
                  </a:cxn>
                  <a:cxn ang="0">
                    <a:pos x="T4" y="T5"/>
                  </a:cxn>
                  <a:cxn ang="0">
                    <a:pos x="T6" y="T7"/>
                  </a:cxn>
                  <a:cxn ang="0">
                    <a:pos x="T8" y="T9"/>
                  </a:cxn>
                </a:cxnLst>
                <a:rect l="0" t="0" r="r" b="b"/>
                <a:pathLst>
                  <a:path w="3" h="1">
                    <a:moveTo>
                      <a:pt x="0" y="1"/>
                    </a:moveTo>
                    <a:lnTo>
                      <a:pt x="0" y="1"/>
                    </a:lnTo>
                    <a:lnTo>
                      <a:pt x="3" y="1"/>
                    </a:lnTo>
                    <a:cubicBezTo>
                      <a:pt x="3" y="1"/>
                      <a:pt x="2" y="1"/>
                      <a:pt x="2" y="0"/>
                    </a:cubicBezTo>
                    <a:cubicBezTo>
                      <a:pt x="1" y="1"/>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2" name="Freeform 2508"/>
              <p:cNvSpPr>
                <a:spLocks/>
              </p:cNvSpPr>
              <p:nvPr/>
            </p:nvSpPr>
            <p:spPr bwMode="auto">
              <a:xfrm>
                <a:off x="3848101" y="4538663"/>
                <a:ext cx="1588"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cubicBezTo>
                      <a:pt x="0" y="0"/>
                      <a:pt x="0" y="0"/>
                      <a:pt x="0" y="0"/>
                    </a:cubicBezTo>
                    <a:cubicBezTo>
                      <a:pt x="0" y="0"/>
                      <a:pt x="1" y="0"/>
                      <a:pt x="1" y="0"/>
                    </a:cubicBezTo>
                    <a:lnTo>
                      <a:pt x="0"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3" name="Freeform 2509"/>
              <p:cNvSpPr>
                <a:spLocks/>
              </p:cNvSpPr>
              <p:nvPr/>
            </p:nvSpPr>
            <p:spPr bwMode="auto">
              <a:xfrm>
                <a:off x="3840163" y="4537076"/>
                <a:ext cx="1588" cy="0"/>
              </a:xfrm>
              <a:custGeom>
                <a:avLst/>
                <a:gdLst>
                  <a:gd name="T0" fmla="*/ 0 w 6"/>
                  <a:gd name="T1" fmla="*/ 1 h 1"/>
                  <a:gd name="T2" fmla="*/ 0 w 6"/>
                  <a:gd name="T3" fmla="*/ 1 h 1"/>
                  <a:gd name="T4" fmla="*/ 6 w 6"/>
                  <a:gd name="T5" fmla="*/ 0 h 1"/>
                  <a:gd name="T6" fmla="*/ 0 w 6"/>
                  <a:gd name="T7" fmla="*/ 1 h 1"/>
                </a:gdLst>
                <a:ahLst/>
                <a:cxnLst>
                  <a:cxn ang="0">
                    <a:pos x="T0" y="T1"/>
                  </a:cxn>
                  <a:cxn ang="0">
                    <a:pos x="T2" y="T3"/>
                  </a:cxn>
                  <a:cxn ang="0">
                    <a:pos x="T4" y="T5"/>
                  </a:cxn>
                  <a:cxn ang="0">
                    <a:pos x="T6" y="T7"/>
                  </a:cxn>
                </a:cxnLst>
                <a:rect l="0" t="0" r="r" b="b"/>
                <a:pathLst>
                  <a:path w="6" h="1">
                    <a:moveTo>
                      <a:pt x="0" y="1"/>
                    </a:moveTo>
                    <a:lnTo>
                      <a:pt x="0" y="1"/>
                    </a:lnTo>
                    <a:cubicBezTo>
                      <a:pt x="2" y="1"/>
                      <a:pt x="4" y="1"/>
                      <a:pt x="6" y="0"/>
                    </a:cubicBezTo>
                    <a:cubicBezTo>
                      <a:pt x="3" y="0"/>
                      <a:pt x="1"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4" name="Freeform 2510"/>
              <p:cNvSpPr>
                <a:spLocks/>
              </p:cNvSpPr>
              <p:nvPr/>
            </p:nvSpPr>
            <p:spPr bwMode="auto">
              <a:xfrm>
                <a:off x="3556001" y="4530726"/>
                <a:ext cx="1588" cy="1588"/>
              </a:xfrm>
              <a:custGeom>
                <a:avLst/>
                <a:gdLst>
                  <a:gd name="T0" fmla="*/ 7 w 7"/>
                  <a:gd name="T1" fmla="*/ 0 h 1"/>
                  <a:gd name="T2" fmla="*/ 7 w 7"/>
                  <a:gd name="T3" fmla="*/ 0 h 1"/>
                  <a:gd name="T4" fmla="*/ 0 w 7"/>
                  <a:gd name="T5" fmla="*/ 1 h 1"/>
                  <a:gd name="T6" fmla="*/ 7 w 7"/>
                  <a:gd name="T7" fmla="*/ 0 h 1"/>
                </a:gdLst>
                <a:ahLst/>
                <a:cxnLst>
                  <a:cxn ang="0">
                    <a:pos x="T0" y="T1"/>
                  </a:cxn>
                  <a:cxn ang="0">
                    <a:pos x="T2" y="T3"/>
                  </a:cxn>
                  <a:cxn ang="0">
                    <a:pos x="T4" y="T5"/>
                  </a:cxn>
                  <a:cxn ang="0">
                    <a:pos x="T6" y="T7"/>
                  </a:cxn>
                </a:cxnLst>
                <a:rect l="0" t="0" r="r" b="b"/>
                <a:pathLst>
                  <a:path w="7" h="1">
                    <a:moveTo>
                      <a:pt x="7" y="0"/>
                    </a:moveTo>
                    <a:lnTo>
                      <a:pt x="7" y="0"/>
                    </a:lnTo>
                    <a:lnTo>
                      <a:pt x="0" y="1"/>
                    </a:lnTo>
                    <a:cubicBezTo>
                      <a:pt x="3" y="1"/>
                      <a:pt x="5" y="0"/>
                      <a:pt x="7"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5" name="Freeform 2511"/>
              <p:cNvSpPr>
                <a:spLocks/>
              </p:cNvSpPr>
              <p:nvPr/>
            </p:nvSpPr>
            <p:spPr bwMode="auto">
              <a:xfrm>
                <a:off x="3754438" y="4535488"/>
                <a:ext cx="0"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cubicBezTo>
                      <a:pt x="1" y="0"/>
                      <a:pt x="2" y="0"/>
                      <a:pt x="3" y="0"/>
                    </a:cubicBezTo>
                    <a:cubicBezTo>
                      <a:pt x="2"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6" name="Freeform 2512"/>
              <p:cNvSpPr>
                <a:spLocks/>
              </p:cNvSpPr>
              <p:nvPr/>
            </p:nvSpPr>
            <p:spPr bwMode="auto">
              <a:xfrm>
                <a:off x="4248151" y="4549776"/>
                <a:ext cx="0" cy="0"/>
              </a:xfrm>
              <a:custGeom>
                <a:avLst/>
                <a:gdLst>
                  <a:gd name="T0" fmla="*/ 0 w 2"/>
                  <a:gd name="T1" fmla="*/ 1 h 1"/>
                  <a:gd name="T2" fmla="*/ 0 w 2"/>
                  <a:gd name="T3" fmla="*/ 1 h 1"/>
                  <a:gd name="T4" fmla="*/ 2 w 2"/>
                  <a:gd name="T5" fmla="*/ 1 h 1"/>
                  <a:gd name="T6" fmla="*/ 0 w 2"/>
                  <a:gd name="T7" fmla="*/ 1 h 1"/>
                </a:gdLst>
                <a:ahLst/>
                <a:cxnLst>
                  <a:cxn ang="0">
                    <a:pos x="T0" y="T1"/>
                  </a:cxn>
                  <a:cxn ang="0">
                    <a:pos x="T2" y="T3"/>
                  </a:cxn>
                  <a:cxn ang="0">
                    <a:pos x="T4" y="T5"/>
                  </a:cxn>
                  <a:cxn ang="0">
                    <a:pos x="T6" y="T7"/>
                  </a:cxn>
                </a:cxnLst>
                <a:rect l="0" t="0" r="r" b="b"/>
                <a:pathLst>
                  <a:path w="2" h="1">
                    <a:moveTo>
                      <a:pt x="0" y="1"/>
                    </a:moveTo>
                    <a:lnTo>
                      <a:pt x="0" y="1"/>
                    </a:lnTo>
                    <a:cubicBezTo>
                      <a:pt x="0" y="1"/>
                      <a:pt x="1" y="1"/>
                      <a:pt x="2" y="1"/>
                    </a:cubicBezTo>
                    <a:cubicBezTo>
                      <a:pt x="2" y="1"/>
                      <a:pt x="2"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7" name="Rectangle 2513"/>
              <p:cNvSpPr>
                <a:spLocks noChangeArrowheads="1"/>
              </p:cNvSpPr>
              <p:nvPr/>
            </p:nvSpPr>
            <p:spPr bwMode="auto">
              <a:xfrm>
                <a:off x="4187826" y="4567238"/>
                <a:ext cx="1588" cy="1588"/>
              </a:xfrm>
              <a:prstGeom prst="rect">
                <a:avLst/>
              </a:prstGeom>
              <a:solidFill>
                <a:srgbClr val="6E6F73"/>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8" name="Freeform 2514"/>
              <p:cNvSpPr>
                <a:spLocks/>
              </p:cNvSpPr>
              <p:nvPr/>
            </p:nvSpPr>
            <p:spPr bwMode="auto">
              <a:xfrm>
                <a:off x="4187826" y="4567238"/>
                <a:ext cx="3175" cy="0"/>
              </a:xfrm>
              <a:custGeom>
                <a:avLst/>
                <a:gdLst>
                  <a:gd name="T0" fmla="*/ 10 w 10"/>
                  <a:gd name="T1" fmla="*/ 0 h 3"/>
                  <a:gd name="T2" fmla="*/ 10 w 10"/>
                  <a:gd name="T3" fmla="*/ 0 h 3"/>
                  <a:gd name="T4" fmla="*/ 0 w 10"/>
                  <a:gd name="T5" fmla="*/ 3 h 3"/>
                  <a:gd name="T6" fmla="*/ 10 w 10"/>
                  <a:gd name="T7" fmla="*/ 0 h 3"/>
                </a:gdLst>
                <a:ahLst/>
                <a:cxnLst>
                  <a:cxn ang="0">
                    <a:pos x="T0" y="T1"/>
                  </a:cxn>
                  <a:cxn ang="0">
                    <a:pos x="T2" y="T3"/>
                  </a:cxn>
                  <a:cxn ang="0">
                    <a:pos x="T4" y="T5"/>
                  </a:cxn>
                  <a:cxn ang="0">
                    <a:pos x="T6" y="T7"/>
                  </a:cxn>
                </a:cxnLst>
                <a:rect l="0" t="0" r="r" b="b"/>
                <a:pathLst>
                  <a:path w="10" h="3">
                    <a:moveTo>
                      <a:pt x="10" y="0"/>
                    </a:moveTo>
                    <a:lnTo>
                      <a:pt x="10" y="0"/>
                    </a:lnTo>
                    <a:cubicBezTo>
                      <a:pt x="7" y="0"/>
                      <a:pt x="3" y="1"/>
                      <a:pt x="0" y="3"/>
                    </a:cubicBezTo>
                    <a:cubicBezTo>
                      <a:pt x="3" y="3"/>
                      <a:pt x="6" y="2"/>
                      <a:pt x="1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9" name="Freeform 2515"/>
              <p:cNvSpPr>
                <a:spLocks/>
              </p:cNvSpPr>
              <p:nvPr/>
            </p:nvSpPr>
            <p:spPr bwMode="auto">
              <a:xfrm>
                <a:off x="4181476" y="4567238"/>
                <a:ext cx="0"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lnTo>
                      <a:pt x="0" y="0"/>
                    </a:lnTo>
                    <a:cubicBezTo>
                      <a:pt x="1" y="0"/>
                      <a:pt x="1" y="0"/>
                      <a:pt x="1" y="0"/>
                    </a:cubicBezTo>
                    <a:cubicBezTo>
                      <a:pt x="1"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0" name="Freeform 2516"/>
              <p:cNvSpPr>
                <a:spLocks/>
              </p:cNvSpPr>
              <p:nvPr/>
            </p:nvSpPr>
            <p:spPr bwMode="auto">
              <a:xfrm>
                <a:off x="4246563" y="4567238"/>
                <a:ext cx="0" cy="0"/>
              </a:xfrm>
              <a:custGeom>
                <a:avLst/>
                <a:gdLst>
                  <a:gd name="T0" fmla="*/ 1 w 1"/>
                  <a:gd name="T1" fmla="*/ 1 w 1"/>
                  <a:gd name="T2" fmla="*/ 1 w 1"/>
                  <a:gd name="T3" fmla="*/ 0 w 1"/>
                  <a:gd name="T4" fmla="*/ 1 w 1"/>
                </a:gdLst>
                <a:ahLst/>
                <a:cxnLst>
                  <a:cxn ang="0">
                    <a:pos x="T0" y="0"/>
                  </a:cxn>
                  <a:cxn ang="0">
                    <a:pos x="T1" y="0"/>
                  </a:cxn>
                  <a:cxn ang="0">
                    <a:pos x="T2" y="0"/>
                  </a:cxn>
                  <a:cxn ang="0">
                    <a:pos x="T3" y="0"/>
                  </a:cxn>
                  <a:cxn ang="0">
                    <a:pos x="T4" y="0"/>
                  </a:cxn>
                </a:cxnLst>
                <a:rect l="0" t="0" r="r" b="b"/>
                <a:pathLst>
                  <a:path w="1">
                    <a:moveTo>
                      <a:pt x="1" y="0"/>
                    </a:moveTo>
                    <a:lnTo>
                      <a:pt x="1" y="0"/>
                    </a:lnTo>
                    <a:cubicBezTo>
                      <a:pt x="1" y="0"/>
                      <a:pt x="1" y="0"/>
                      <a:pt x="1" y="0"/>
                    </a:cubicBezTo>
                    <a:lnTo>
                      <a:pt x="0" y="0"/>
                    </a:lnTo>
                    <a:lnTo>
                      <a:pt x="1"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1" name="Freeform 2517"/>
              <p:cNvSpPr>
                <a:spLocks/>
              </p:cNvSpPr>
              <p:nvPr/>
            </p:nvSpPr>
            <p:spPr bwMode="auto">
              <a:xfrm>
                <a:off x="4232276" y="4567238"/>
                <a:ext cx="1588" cy="1588"/>
              </a:xfrm>
              <a:custGeom>
                <a:avLst/>
                <a:gdLst>
                  <a:gd name="T0" fmla="*/ 3 w 3"/>
                  <a:gd name="T1" fmla="*/ 1 h 1"/>
                  <a:gd name="T2" fmla="*/ 3 w 3"/>
                  <a:gd name="T3" fmla="*/ 1 h 1"/>
                  <a:gd name="T4" fmla="*/ 0 w 3"/>
                  <a:gd name="T5" fmla="*/ 0 h 1"/>
                  <a:gd name="T6" fmla="*/ 3 w 3"/>
                  <a:gd name="T7" fmla="*/ 1 h 1"/>
                </a:gdLst>
                <a:ahLst/>
                <a:cxnLst>
                  <a:cxn ang="0">
                    <a:pos x="T0" y="T1"/>
                  </a:cxn>
                  <a:cxn ang="0">
                    <a:pos x="T2" y="T3"/>
                  </a:cxn>
                  <a:cxn ang="0">
                    <a:pos x="T4" y="T5"/>
                  </a:cxn>
                  <a:cxn ang="0">
                    <a:pos x="T6" y="T7"/>
                  </a:cxn>
                </a:cxnLst>
                <a:rect l="0" t="0" r="r" b="b"/>
                <a:pathLst>
                  <a:path w="3" h="1">
                    <a:moveTo>
                      <a:pt x="3" y="1"/>
                    </a:moveTo>
                    <a:lnTo>
                      <a:pt x="3" y="1"/>
                    </a:lnTo>
                    <a:cubicBezTo>
                      <a:pt x="2" y="0"/>
                      <a:pt x="1" y="0"/>
                      <a:pt x="0" y="0"/>
                    </a:cubicBezTo>
                    <a:cubicBezTo>
                      <a:pt x="1" y="0"/>
                      <a:pt x="2" y="0"/>
                      <a:pt x="3"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2" name="Freeform 2518"/>
              <p:cNvSpPr>
                <a:spLocks/>
              </p:cNvSpPr>
              <p:nvPr/>
            </p:nvSpPr>
            <p:spPr bwMode="auto">
              <a:xfrm>
                <a:off x="4149726" y="4568826"/>
                <a:ext cx="0" cy="0"/>
              </a:xfrm>
              <a:custGeom>
                <a:avLst/>
                <a:gdLst>
                  <a:gd name="T0" fmla="*/ 1 h 1"/>
                  <a:gd name="T1" fmla="*/ 1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1"/>
                    </a:lnTo>
                    <a:lnTo>
                      <a:pt x="0" y="0"/>
                    </a:lnTo>
                    <a:cubicBezTo>
                      <a:pt x="0" y="0"/>
                      <a:pt x="0" y="0"/>
                      <a:pt x="0" y="1"/>
                    </a:cubicBezTo>
                    <a:cubicBezTo>
                      <a:pt x="0" y="1"/>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3" name="Freeform 2519"/>
              <p:cNvSpPr>
                <a:spLocks/>
              </p:cNvSpPr>
              <p:nvPr/>
            </p:nvSpPr>
            <p:spPr bwMode="auto">
              <a:xfrm>
                <a:off x="3552826" y="4525963"/>
                <a:ext cx="960438" cy="49213"/>
              </a:xfrm>
              <a:custGeom>
                <a:avLst/>
                <a:gdLst>
                  <a:gd name="T0" fmla="*/ 1690 w 3058"/>
                  <a:gd name="T1" fmla="*/ 141 h 152"/>
                  <a:gd name="T2" fmla="*/ 1809 w 3058"/>
                  <a:gd name="T3" fmla="*/ 139 h 152"/>
                  <a:gd name="T4" fmla="*/ 1918 w 3058"/>
                  <a:gd name="T5" fmla="*/ 134 h 152"/>
                  <a:gd name="T6" fmla="*/ 1964 w 3058"/>
                  <a:gd name="T7" fmla="*/ 131 h 152"/>
                  <a:gd name="T8" fmla="*/ 2003 w 3058"/>
                  <a:gd name="T9" fmla="*/ 135 h 152"/>
                  <a:gd name="T10" fmla="*/ 2067 w 3058"/>
                  <a:gd name="T11" fmla="*/ 128 h 152"/>
                  <a:gd name="T12" fmla="*/ 2124 w 3058"/>
                  <a:gd name="T13" fmla="*/ 132 h 152"/>
                  <a:gd name="T14" fmla="*/ 2183 w 3058"/>
                  <a:gd name="T15" fmla="*/ 127 h 152"/>
                  <a:gd name="T16" fmla="*/ 2260 w 3058"/>
                  <a:gd name="T17" fmla="*/ 122 h 152"/>
                  <a:gd name="T18" fmla="*/ 2327 w 3058"/>
                  <a:gd name="T19" fmla="*/ 114 h 152"/>
                  <a:gd name="T20" fmla="*/ 2384 w 3058"/>
                  <a:gd name="T21" fmla="*/ 122 h 152"/>
                  <a:gd name="T22" fmla="*/ 2497 w 3058"/>
                  <a:gd name="T23" fmla="*/ 111 h 152"/>
                  <a:gd name="T24" fmla="*/ 2563 w 3058"/>
                  <a:gd name="T25" fmla="*/ 103 h 152"/>
                  <a:gd name="T26" fmla="*/ 2661 w 3058"/>
                  <a:gd name="T27" fmla="*/ 98 h 152"/>
                  <a:gd name="T28" fmla="*/ 2725 w 3058"/>
                  <a:gd name="T29" fmla="*/ 89 h 152"/>
                  <a:gd name="T30" fmla="*/ 2754 w 3058"/>
                  <a:gd name="T31" fmla="*/ 91 h 152"/>
                  <a:gd name="T32" fmla="*/ 2797 w 3058"/>
                  <a:gd name="T33" fmla="*/ 76 h 152"/>
                  <a:gd name="T34" fmla="*/ 2838 w 3058"/>
                  <a:gd name="T35" fmla="*/ 78 h 152"/>
                  <a:gd name="T36" fmla="*/ 2867 w 3058"/>
                  <a:gd name="T37" fmla="*/ 70 h 152"/>
                  <a:gd name="T38" fmla="*/ 2975 w 3058"/>
                  <a:gd name="T39" fmla="*/ 60 h 152"/>
                  <a:gd name="T40" fmla="*/ 3035 w 3058"/>
                  <a:gd name="T41" fmla="*/ 57 h 152"/>
                  <a:gd name="T42" fmla="*/ 2996 w 3058"/>
                  <a:gd name="T43" fmla="*/ 45 h 152"/>
                  <a:gd name="T44" fmla="*/ 2949 w 3058"/>
                  <a:gd name="T45" fmla="*/ 49 h 152"/>
                  <a:gd name="T46" fmla="*/ 2914 w 3058"/>
                  <a:gd name="T47" fmla="*/ 46 h 152"/>
                  <a:gd name="T48" fmla="*/ 2822 w 3058"/>
                  <a:gd name="T49" fmla="*/ 52 h 152"/>
                  <a:gd name="T50" fmla="*/ 2772 w 3058"/>
                  <a:gd name="T51" fmla="*/ 54 h 152"/>
                  <a:gd name="T52" fmla="*/ 2666 w 3058"/>
                  <a:gd name="T53" fmla="*/ 61 h 152"/>
                  <a:gd name="T54" fmla="*/ 2596 w 3058"/>
                  <a:gd name="T55" fmla="*/ 63 h 152"/>
                  <a:gd name="T56" fmla="*/ 2538 w 3058"/>
                  <a:gd name="T57" fmla="*/ 66 h 152"/>
                  <a:gd name="T58" fmla="*/ 2468 w 3058"/>
                  <a:gd name="T59" fmla="*/ 68 h 152"/>
                  <a:gd name="T60" fmla="*/ 2398 w 3058"/>
                  <a:gd name="T61" fmla="*/ 70 h 152"/>
                  <a:gd name="T62" fmla="*/ 2283 w 3058"/>
                  <a:gd name="T63" fmla="*/ 69 h 152"/>
                  <a:gd name="T64" fmla="*/ 2191 w 3058"/>
                  <a:gd name="T65" fmla="*/ 74 h 152"/>
                  <a:gd name="T66" fmla="*/ 2119 w 3058"/>
                  <a:gd name="T67" fmla="*/ 74 h 152"/>
                  <a:gd name="T68" fmla="*/ 2046 w 3058"/>
                  <a:gd name="T69" fmla="*/ 79 h 152"/>
                  <a:gd name="T70" fmla="*/ 1962 w 3058"/>
                  <a:gd name="T71" fmla="*/ 71 h 152"/>
                  <a:gd name="T72" fmla="*/ 1851 w 3058"/>
                  <a:gd name="T73" fmla="*/ 72 h 152"/>
                  <a:gd name="T74" fmla="*/ 1721 w 3058"/>
                  <a:gd name="T75" fmla="*/ 69 h 152"/>
                  <a:gd name="T76" fmla="*/ 1524 w 3058"/>
                  <a:gd name="T77" fmla="*/ 59 h 152"/>
                  <a:gd name="T78" fmla="*/ 1426 w 3058"/>
                  <a:gd name="T79" fmla="*/ 58 h 152"/>
                  <a:gd name="T80" fmla="*/ 1355 w 3058"/>
                  <a:gd name="T81" fmla="*/ 56 h 152"/>
                  <a:gd name="T82" fmla="*/ 1243 w 3058"/>
                  <a:gd name="T83" fmla="*/ 48 h 152"/>
                  <a:gd name="T84" fmla="*/ 1036 w 3058"/>
                  <a:gd name="T85" fmla="*/ 43 h 152"/>
                  <a:gd name="T86" fmla="*/ 845 w 3058"/>
                  <a:gd name="T87" fmla="*/ 35 h 152"/>
                  <a:gd name="T88" fmla="*/ 640 w 3058"/>
                  <a:gd name="T89" fmla="*/ 28 h 152"/>
                  <a:gd name="T90" fmla="*/ 4 w 3058"/>
                  <a:gd name="T91" fmla="*/ 18 h 152"/>
                  <a:gd name="T92" fmla="*/ 48 w 3058"/>
                  <a:gd name="T93" fmla="*/ 29 h 152"/>
                  <a:gd name="T94" fmla="*/ 72 w 3058"/>
                  <a:gd name="T95" fmla="*/ 37 h 152"/>
                  <a:gd name="T96" fmla="*/ 150 w 3058"/>
                  <a:gd name="T97" fmla="*/ 51 h 152"/>
                  <a:gd name="T98" fmla="*/ 400 w 3058"/>
                  <a:gd name="T99" fmla="*/ 90 h 152"/>
                  <a:gd name="T100" fmla="*/ 927 w 3058"/>
                  <a:gd name="T101" fmla="*/ 115 h 152"/>
                  <a:gd name="T102" fmla="*/ 998 w 3058"/>
                  <a:gd name="T103" fmla="*/ 116 h 152"/>
                  <a:gd name="T104" fmla="*/ 1219 w 3058"/>
                  <a:gd name="T105" fmla="*/ 126 h 152"/>
                  <a:gd name="T106" fmla="*/ 1317 w 3058"/>
                  <a:gd name="T107" fmla="*/ 124 h 152"/>
                  <a:gd name="T108" fmla="*/ 1416 w 3058"/>
                  <a:gd name="T109" fmla="*/ 134 h 152"/>
                  <a:gd name="T110" fmla="*/ 1515 w 3058"/>
                  <a:gd name="T111" fmla="*/ 14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58" h="152">
                    <a:moveTo>
                      <a:pt x="1515" y="141"/>
                    </a:moveTo>
                    <a:lnTo>
                      <a:pt x="1515" y="141"/>
                    </a:lnTo>
                    <a:cubicBezTo>
                      <a:pt x="1554" y="141"/>
                      <a:pt x="1604" y="139"/>
                      <a:pt x="1642" y="141"/>
                    </a:cubicBezTo>
                    <a:cubicBezTo>
                      <a:pt x="1650" y="138"/>
                      <a:pt x="1663" y="138"/>
                      <a:pt x="1675" y="137"/>
                    </a:cubicBezTo>
                    <a:lnTo>
                      <a:pt x="1676" y="143"/>
                    </a:lnTo>
                    <a:lnTo>
                      <a:pt x="1686" y="141"/>
                    </a:lnTo>
                    <a:cubicBezTo>
                      <a:pt x="1690" y="143"/>
                      <a:pt x="1678" y="142"/>
                      <a:pt x="1686" y="144"/>
                    </a:cubicBezTo>
                    <a:lnTo>
                      <a:pt x="1690" y="141"/>
                    </a:lnTo>
                    <a:cubicBezTo>
                      <a:pt x="1690" y="143"/>
                      <a:pt x="1716" y="143"/>
                      <a:pt x="1699" y="146"/>
                    </a:cubicBezTo>
                    <a:lnTo>
                      <a:pt x="1738" y="147"/>
                    </a:lnTo>
                    <a:cubicBezTo>
                      <a:pt x="1747" y="148"/>
                      <a:pt x="1743" y="143"/>
                      <a:pt x="1753" y="145"/>
                    </a:cubicBezTo>
                    <a:cubicBezTo>
                      <a:pt x="1755" y="146"/>
                      <a:pt x="1750" y="146"/>
                      <a:pt x="1750" y="148"/>
                    </a:cubicBezTo>
                    <a:cubicBezTo>
                      <a:pt x="1779" y="152"/>
                      <a:pt x="1784" y="138"/>
                      <a:pt x="1811" y="141"/>
                    </a:cubicBezTo>
                    <a:lnTo>
                      <a:pt x="1809" y="142"/>
                    </a:lnTo>
                    <a:cubicBezTo>
                      <a:pt x="1814" y="140"/>
                      <a:pt x="1822" y="140"/>
                      <a:pt x="1822" y="140"/>
                    </a:cubicBezTo>
                    <a:cubicBezTo>
                      <a:pt x="1819" y="134"/>
                      <a:pt x="1818" y="143"/>
                      <a:pt x="1809" y="139"/>
                    </a:cubicBezTo>
                    <a:cubicBezTo>
                      <a:pt x="1810" y="135"/>
                      <a:pt x="1820" y="137"/>
                      <a:pt x="1819" y="133"/>
                    </a:cubicBezTo>
                    <a:cubicBezTo>
                      <a:pt x="1825" y="135"/>
                      <a:pt x="1829" y="132"/>
                      <a:pt x="1835" y="132"/>
                    </a:cubicBezTo>
                    <a:cubicBezTo>
                      <a:pt x="1844" y="135"/>
                      <a:pt x="1858" y="133"/>
                      <a:pt x="1865" y="137"/>
                    </a:cubicBezTo>
                    <a:cubicBezTo>
                      <a:pt x="1869" y="135"/>
                      <a:pt x="1875" y="131"/>
                      <a:pt x="1885" y="131"/>
                    </a:cubicBezTo>
                    <a:cubicBezTo>
                      <a:pt x="1892" y="134"/>
                      <a:pt x="1883" y="134"/>
                      <a:pt x="1893" y="136"/>
                    </a:cubicBezTo>
                    <a:lnTo>
                      <a:pt x="1894" y="133"/>
                    </a:lnTo>
                    <a:cubicBezTo>
                      <a:pt x="1902" y="133"/>
                      <a:pt x="1901" y="134"/>
                      <a:pt x="1900" y="135"/>
                    </a:cubicBezTo>
                    <a:cubicBezTo>
                      <a:pt x="1909" y="136"/>
                      <a:pt x="1908" y="132"/>
                      <a:pt x="1918" y="134"/>
                    </a:cubicBezTo>
                    <a:lnTo>
                      <a:pt x="1912" y="136"/>
                    </a:lnTo>
                    <a:cubicBezTo>
                      <a:pt x="1920" y="135"/>
                      <a:pt x="1923" y="136"/>
                      <a:pt x="1934" y="136"/>
                    </a:cubicBezTo>
                    <a:cubicBezTo>
                      <a:pt x="1934" y="138"/>
                      <a:pt x="1930" y="137"/>
                      <a:pt x="1926" y="137"/>
                    </a:cubicBezTo>
                    <a:cubicBezTo>
                      <a:pt x="1932" y="141"/>
                      <a:pt x="1937" y="135"/>
                      <a:pt x="1940" y="136"/>
                    </a:cubicBezTo>
                    <a:cubicBezTo>
                      <a:pt x="1939" y="135"/>
                      <a:pt x="1931" y="134"/>
                      <a:pt x="1935" y="131"/>
                    </a:cubicBezTo>
                    <a:cubicBezTo>
                      <a:pt x="1941" y="132"/>
                      <a:pt x="1947" y="128"/>
                      <a:pt x="1951" y="131"/>
                    </a:cubicBezTo>
                    <a:lnTo>
                      <a:pt x="1945" y="134"/>
                    </a:lnTo>
                    <a:cubicBezTo>
                      <a:pt x="1956" y="132"/>
                      <a:pt x="1951" y="130"/>
                      <a:pt x="1964" y="131"/>
                    </a:cubicBezTo>
                    <a:cubicBezTo>
                      <a:pt x="1963" y="131"/>
                      <a:pt x="1963" y="132"/>
                      <a:pt x="1963" y="133"/>
                    </a:cubicBezTo>
                    <a:cubicBezTo>
                      <a:pt x="1971" y="129"/>
                      <a:pt x="1982" y="132"/>
                      <a:pt x="1994" y="132"/>
                    </a:cubicBezTo>
                    <a:lnTo>
                      <a:pt x="1992" y="133"/>
                    </a:lnTo>
                    <a:cubicBezTo>
                      <a:pt x="1997" y="132"/>
                      <a:pt x="2000" y="130"/>
                      <a:pt x="2002" y="130"/>
                    </a:cubicBezTo>
                    <a:cubicBezTo>
                      <a:pt x="1995" y="128"/>
                      <a:pt x="1997" y="128"/>
                      <a:pt x="1996" y="125"/>
                    </a:cubicBezTo>
                    <a:cubicBezTo>
                      <a:pt x="2006" y="129"/>
                      <a:pt x="2010" y="120"/>
                      <a:pt x="2025" y="122"/>
                    </a:cubicBezTo>
                    <a:cubicBezTo>
                      <a:pt x="2025" y="124"/>
                      <a:pt x="2022" y="126"/>
                      <a:pt x="2017" y="124"/>
                    </a:cubicBezTo>
                    <a:cubicBezTo>
                      <a:pt x="2012" y="129"/>
                      <a:pt x="2012" y="133"/>
                      <a:pt x="2003" y="135"/>
                    </a:cubicBezTo>
                    <a:cubicBezTo>
                      <a:pt x="2008" y="134"/>
                      <a:pt x="2015" y="133"/>
                      <a:pt x="2014" y="135"/>
                    </a:cubicBezTo>
                    <a:lnTo>
                      <a:pt x="2015" y="131"/>
                    </a:lnTo>
                    <a:cubicBezTo>
                      <a:pt x="2019" y="130"/>
                      <a:pt x="2022" y="131"/>
                      <a:pt x="2024" y="131"/>
                    </a:cubicBezTo>
                    <a:cubicBezTo>
                      <a:pt x="2026" y="128"/>
                      <a:pt x="2017" y="126"/>
                      <a:pt x="2025" y="125"/>
                    </a:cubicBezTo>
                    <a:cubicBezTo>
                      <a:pt x="2034" y="123"/>
                      <a:pt x="2030" y="129"/>
                      <a:pt x="2031" y="127"/>
                    </a:cubicBezTo>
                    <a:cubicBezTo>
                      <a:pt x="2044" y="125"/>
                      <a:pt x="2036" y="122"/>
                      <a:pt x="2048" y="124"/>
                    </a:cubicBezTo>
                    <a:cubicBezTo>
                      <a:pt x="2047" y="124"/>
                      <a:pt x="2045" y="125"/>
                      <a:pt x="2044" y="124"/>
                    </a:cubicBezTo>
                    <a:cubicBezTo>
                      <a:pt x="2052" y="126"/>
                      <a:pt x="2065" y="123"/>
                      <a:pt x="2067" y="128"/>
                    </a:cubicBezTo>
                    <a:cubicBezTo>
                      <a:pt x="2066" y="130"/>
                      <a:pt x="2066" y="131"/>
                      <a:pt x="2063" y="131"/>
                    </a:cubicBezTo>
                    <a:lnTo>
                      <a:pt x="2063" y="130"/>
                    </a:lnTo>
                    <a:cubicBezTo>
                      <a:pt x="2053" y="134"/>
                      <a:pt x="2071" y="129"/>
                      <a:pt x="2068" y="134"/>
                    </a:cubicBezTo>
                    <a:cubicBezTo>
                      <a:pt x="2067" y="131"/>
                      <a:pt x="2079" y="131"/>
                      <a:pt x="2084" y="132"/>
                    </a:cubicBezTo>
                    <a:lnTo>
                      <a:pt x="2083" y="129"/>
                    </a:lnTo>
                    <a:cubicBezTo>
                      <a:pt x="2100" y="119"/>
                      <a:pt x="2082" y="135"/>
                      <a:pt x="2100" y="133"/>
                    </a:cubicBezTo>
                    <a:cubicBezTo>
                      <a:pt x="2111" y="131"/>
                      <a:pt x="2095" y="133"/>
                      <a:pt x="2102" y="130"/>
                    </a:cubicBezTo>
                    <a:cubicBezTo>
                      <a:pt x="2110" y="131"/>
                      <a:pt x="2113" y="133"/>
                      <a:pt x="2124" y="132"/>
                    </a:cubicBezTo>
                    <a:cubicBezTo>
                      <a:pt x="2127" y="133"/>
                      <a:pt x="2133" y="134"/>
                      <a:pt x="2134" y="138"/>
                    </a:cubicBezTo>
                    <a:cubicBezTo>
                      <a:pt x="2141" y="136"/>
                      <a:pt x="2155" y="139"/>
                      <a:pt x="2158" y="135"/>
                    </a:cubicBezTo>
                    <a:cubicBezTo>
                      <a:pt x="2147" y="133"/>
                      <a:pt x="2147" y="139"/>
                      <a:pt x="2133" y="135"/>
                    </a:cubicBezTo>
                    <a:lnTo>
                      <a:pt x="2137" y="132"/>
                    </a:lnTo>
                    <a:cubicBezTo>
                      <a:pt x="2146" y="132"/>
                      <a:pt x="2158" y="130"/>
                      <a:pt x="2165" y="131"/>
                    </a:cubicBezTo>
                    <a:cubicBezTo>
                      <a:pt x="2164" y="130"/>
                      <a:pt x="2163" y="129"/>
                      <a:pt x="2164" y="128"/>
                    </a:cubicBezTo>
                    <a:cubicBezTo>
                      <a:pt x="2177" y="127"/>
                      <a:pt x="2181" y="123"/>
                      <a:pt x="2194" y="124"/>
                    </a:cubicBezTo>
                    <a:cubicBezTo>
                      <a:pt x="2196" y="127"/>
                      <a:pt x="2188" y="127"/>
                      <a:pt x="2183" y="127"/>
                    </a:cubicBezTo>
                    <a:cubicBezTo>
                      <a:pt x="2191" y="129"/>
                      <a:pt x="2191" y="127"/>
                      <a:pt x="2204" y="128"/>
                    </a:cubicBezTo>
                    <a:cubicBezTo>
                      <a:pt x="2205" y="131"/>
                      <a:pt x="2196" y="128"/>
                      <a:pt x="2194" y="131"/>
                    </a:cubicBezTo>
                    <a:lnTo>
                      <a:pt x="2209" y="129"/>
                    </a:lnTo>
                    <a:cubicBezTo>
                      <a:pt x="2208" y="130"/>
                      <a:pt x="2209" y="130"/>
                      <a:pt x="2209" y="130"/>
                    </a:cubicBezTo>
                    <a:cubicBezTo>
                      <a:pt x="2211" y="125"/>
                      <a:pt x="2220" y="130"/>
                      <a:pt x="2228" y="128"/>
                    </a:cubicBezTo>
                    <a:cubicBezTo>
                      <a:pt x="2249" y="128"/>
                      <a:pt x="2252" y="121"/>
                      <a:pt x="2264" y="117"/>
                    </a:cubicBezTo>
                    <a:cubicBezTo>
                      <a:pt x="2267" y="118"/>
                      <a:pt x="2268" y="120"/>
                      <a:pt x="2266" y="121"/>
                    </a:cubicBezTo>
                    <a:cubicBezTo>
                      <a:pt x="2261" y="119"/>
                      <a:pt x="2262" y="120"/>
                      <a:pt x="2260" y="122"/>
                    </a:cubicBezTo>
                    <a:cubicBezTo>
                      <a:pt x="2268" y="121"/>
                      <a:pt x="2276" y="126"/>
                      <a:pt x="2272" y="128"/>
                    </a:cubicBezTo>
                    <a:cubicBezTo>
                      <a:pt x="2283" y="126"/>
                      <a:pt x="2268" y="125"/>
                      <a:pt x="2275" y="124"/>
                    </a:cubicBezTo>
                    <a:lnTo>
                      <a:pt x="2290" y="123"/>
                    </a:lnTo>
                    <a:cubicBezTo>
                      <a:pt x="2288" y="121"/>
                      <a:pt x="2283" y="121"/>
                      <a:pt x="2291" y="119"/>
                    </a:cubicBezTo>
                    <a:cubicBezTo>
                      <a:pt x="2297" y="118"/>
                      <a:pt x="2301" y="118"/>
                      <a:pt x="2309" y="118"/>
                    </a:cubicBezTo>
                    <a:cubicBezTo>
                      <a:pt x="2308" y="119"/>
                      <a:pt x="2312" y="121"/>
                      <a:pt x="2306" y="122"/>
                    </a:cubicBezTo>
                    <a:cubicBezTo>
                      <a:pt x="2310" y="122"/>
                      <a:pt x="2317" y="122"/>
                      <a:pt x="2319" y="120"/>
                    </a:cubicBezTo>
                    <a:cubicBezTo>
                      <a:pt x="2309" y="118"/>
                      <a:pt x="2335" y="117"/>
                      <a:pt x="2327" y="114"/>
                    </a:cubicBezTo>
                    <a:lnTo>
                      <a:pt x="2337" y="116"/>
                    </a:lnTo>
                    <a:cubicBezTo>
                      <a:pt x="2335" y="116"/>
                      <a:pt x="2335" y="117"/>
                      <a:pt x="2331" y="117"/>
                    </a:cubicBezTo>
                    <a:cubicBezTo>
                      <a:pt x="2334" y="120"/>
                      <a:pt x="2339" y="116"/>
                      <a:pt x="2343" y="115"/>
                    </a:cubicBezTo>
                    <a:cubicBezTo>
                      <a:pt x="2346" y="116"/>
                      <a:pt x="2355" y="115"/>
                      <a:pt x="2355" y="117"/>
                    </a:cubicBezTo>
                    <a:cubicBezTo>
                      <a:pt x="2358" y="116"/>
                      <a:pt x="2366" y="116"/>
                      <a:pt x="2367" y="118"/>
                    </a:cubicBezTo>
                    <a:cubicBezTo>
                      <a:pt x="2372" y="117"/>
                      <a:pt x="2368" y="115"/>
                      <a:pt x="2369" y="114"/>
                    </a:cubicBezTo>
                    <a:lnTo>
                      <a:pt x="2384" y="114"/>
                    </a:lnTo>
                    <a:cubicBezTo>
                      <a:pt x="2385" y="116"/>
                      <a:pt x="2387" y="121"/>
                      <a:pt x="2384" y="122"/>
                    </a:cubicBezTo>
                    <a:cubicBezTo>
                      <a:pt x="2390" y="120"/>
                      <a:pt x="2386" y="116"/>
                      <a:pt x="2395" y="116"/>
                    </a:cubicBezTo>
                    <a:cubicBezTo>
                      <a:pt x="2390" y="120"/>
                      <a:pt x="2407" y="118"/>
                      <a:pt x="2400" y="123"/>
                    </a:cubicBezTo>
                    <a:cubicBezTo>
                      <a:pt x="2405" y="126"/>
                      <a:pt x="2419" y="125"/>
                      <a:pt x="2427" y="123"/>
                    </a:cubicBezTo>
                    <a:cubicBezTo>
                      <a:pt x="2432" y="120"/>
                      <a:pt x="2418" y="122"/>
                      <a:pt x="2419" y="119"/>
                    </a:cubicBezTo>
                    <a:cubicBezTo>
                      <a:pt x="2441" y="117"/>
                      <a:pt x="2441" y="108"/>
                      <a:pt x="2458" y="109"/>
                    </a:cubicBezTo>
                    <a:lnTo>
                      <a:pt x="2454" y="108"/>
                    </a:lnTo>
                    <a:cubicBezTo>
                      <a:pt x="2464" y="106"/>
                      <a:pt x="2462" y="106"/>
                      <a:pt x="2468" y="103"/>
                    </a:cubicBezTo>
                    <a:cubicBezTo>
                      <a:pt x="2466" y="107"/>
                      <a:pt x="2480" y="113"/>
                      <a:pt x="2497" y="111"/>
                    </a:cubicBezTo>
                    <a:cubicBezTo>
                      <a:pt x="2498" y="109"/>
                      <a:pt x="2487" y="108"/>
                      <a:pt x="2490" y="104"/>
                    </a:cubicBezTo>
                    <a:lnTo>
                      <a:pt x="2501" y="103"/>
                    </a:lnTo>
                    <a:cubicBezTo>
                      <a:pt x="2502" y="103"/>
                      <a:pt x="2500" y="104"/>
                      <a:pt x="2499" y="105"/>
                    </a:cubicBezTo>
                    <a:cubicBezTo>
                      <a:pt x="2509" y="103"/>
                      <a:pt x="2518" y="109"/>
                      <a:pt x="2520" y="104"/>
                    </a:cubicBezTo>
                    <a:lnTo>
                      <a:pt x="2531" y="109"/>
                    </a:lnTo>
                    <a:lnTo>
                      <a:pt x="2527" y="107"/>
                    </a:lnTo>
                    <a:cubicBezTo>
                      <a:pt x="2528" y="105"/>
                      <a:pt x="2539" y="103"/>
                      <a:pt x="2541" y="103"/>
                    </a:cubicBezTo>
                    <a:cubicBezTo>
                      <a:pt x="2552" y="100"/>
                      <a:pt x="2557" y="101"/>
                      <a:pt x="2563" y="103"/>
                    </a:cubicBezTo>
                    <a:cubicBezTo>
                      <a:pt x="2561" y="102"/>
                      <a:pt x="2556" y="98"/>
                      <a:pt x="2565" y="97"/>
                    </a:cubicBezTo>
                    <a:cubicBezTo>
                      <a:pt x="2565" y="103"/>
                      <a:pt x="2583" y="98"/>
                      <a:pt x="2583" y="101"/>
                    </a:cubicBezTo>
                    <a:cubicBezTo>
                      <a:pt x="2587" y="101"/>
                      <a:pt x="2593" y="102"/>
                      <a:pt x="2594" y="100"/>
                    </a:cubicBezTo>
                    <a:lnTo>
                      <a:pt x="2593" y="104"/>
                    </a:lnTo>
                    <a:cubicBezTo>
                      <a:pt x="2594" y="98"/>
                      <a:pt x="2607" y="98"/>
                      <a:pt x="2617" y="96"/>
                    </a:cubicBezTo>
                    <a:cubicBezTo>
                      <a:pt x="2615" y="103"/>
                      <a:pt x="2628" y="94"/>
                      <a:pt x="2633" y="101"/>
                    </a:cubicBezTo>
                    <a:cubicBezTo>
                      <a:pt x="2634" y="96"/>
                      <a:pt x="2650" y="97"/>
                      <a:pt x="2652" y="93"/>
                    </a:cubicBezTo>
                    <a:cubicBezTo>
                      <a:pt x="2660" y="92"/>
                      <a:pt x="2659" y="97"/>
                      <a:pt x="2661" y="98"/>
                    </a:cubicBezTo>
                    <a:lnTo>
                      <a:pt x="2665" y="96"/>
                    </a:lnTo>
                    <a:cubicBezTo>
                      <a:pt x="2669" y="98"/>
                      <a:pt x="2683" y="97"/>
                      <a:pt x="2692" y="98"/>
                    </a:cubicBezTo>
                    <a:lnTo>
                      <a:pt x="2700" y="93"/>
                    </a:lnTo>
                    <a:lnTo>
                      <a:pt x="2703" y="95"/>
                    </a:lnTo>
                    <a:cubicBezTo>
                      <a:pt x="2704" y="93"/>
                      <a:pt x="2711" y="92"/>
                      <a:pt x="2706" y="91"/>
                    </a:cubicBezTo>
                    <a:lnTo>
                      <a:pt x="2711" y="91"/>
                    </a:lnTo>
                    <a:cubicBezTo>
                      <a:pt x="2711" y="86"/>
                      <a:pt x="2717" y="89"/>
                      <a:pt x="2725" y="86"/>
                    </a:cubicBezTo>
                    <a:cubicBezTo>
                      <a:pt x="2727" y="87"/>
                      <a:pt x="2727" y="88"/>
                      <a:pt x="2725" y="89"/>
                    </a:cubicBezTo>
                    <a:cubicBezTo>
                      <a:pt x="2729" y="88"/>
                      <a:pt x="2728" y="91"/>
                      <a:pt x="2730" y="92"/>
                    </a:cubicBezTo>
                    <a:cubicBezTo>
                      <a:pt x="2727" y="91"/>
                      <a:pt x="2745" y="82"/>
                      <a:pt x="2733" y="81"/>
                    </a:cubicBezTo>
                    <a:cubicBezTo>
                      <a:pt x="2732" y="79"/>
                      <a:pt x="2739" y="77"/>
                      <a:pt x="2743" y="78"/>
                    </a:cubicBezTo>
                    <a:lnTo>
                      <a:pt x="2746" y="82"/>
                    </a:lnTo>
                    <a:lnTo>
                      <a:pt x="2751" y="77"/>
                    </a:lnTo>
                    <a:cubicBezTo>
                      <a:pt x="2757" y="76"/>
                      <a:pt x="2761" y="78"/>
                      <a:pt x="2766" y="78"/>
                    </a:cubicBezTo>
                    <a:cubicBezTo>
                      <a:pt x="2760" y="79"/>
                      <a:pt x="2754" y="88"/>
                      <a:pt x="2769" y="86"/>
                    </a:cubicBezTo>
                    <a:cubicBezTo>
                      <a:pt x="2761" y="87"/>
                      <a:pt x="2758" y="90"/>
                      <a:pt x="2754" y="91"/>
                    </a:cubicBezTo>
                    <a:cubicBezTo>
                      <a:pt x="2757" y="91"/>
                      <a:pt x="2759" y="91"/>
                      <a:pt x="2754" y="94"/>
                    </a:cubicBezTo>
                    <a:cubicBezTo>
                      <a:pt x="2765" y="91"/>
                      <a:pt x="2758" y="91"/>
                      <a:pt x="2769" y="89"/>
                    </a:cubicBezTo>
                    <a:cubicBezTo>
                      <a:pt x="2768" y="93"/>
                      <a:pt x="2772" y="94"/>
                      <a:pt x="2781" y="94"/>
                    </a:cubicBezTo>
                    <a:lnTo>
                      <a:pt x="2774" y="92"/>
                    </a:lnTo>
                    <a:cubicBezTo>
                      <a:pt x="2774" y="92"/>
                      <a:pt x="2775" y="91"/>
                      <a:pt x="2775" y="91"/>
                    </a:cubicBezTo>
                    <a:cubicBezTo>
                      <a:pt x="2772" y="91"/>
                      <a:pt x="2771" y="90"/>
                      <a:pt x="2771" y="89"/>
                    </a:cubicBezTo>
                    <a:cubicBezTo>
                      <a:pt x="2773" y="89"/>
                      <a:pt x="2783" y="83"/>
                      <a:pt x="2785" y="85"/>
                    </a:cubicBezTo>
                    <a:cubicBezTo>
                      <a:pt x="2773" y="80"/>
                      <a:pt x="2804" y="78"/>
                      <a:pt x="2797" y="76"/>
                    </a:cubicBezTo>
                    <a:cubicBezTo>
                      <a:pt x="2798" y="74"/>
                      <a:pt x="2805" y="73"/>
                      <a:pt x="2806" y="75"/>
                    </a:cubicBezTo>
                    <a:cubicBezTo>
                      <a:pt x="2797" y="79"/>
                      <a:pt x="2814" y="79"/>
                      <a:pt x="2812" y="82"/>
                    </a:cubicBezTo>
                    <a:cubicBezTo>
                      <a:pt x="2816" y="80"/>
                      <a:pt x="2805" y="80"/>
                      <a:pt x="2809" y="78"/>
                    </a:cubicBezTo>
                    <a:cubicBezTo>
                      <a:pt x="2815" y="77"/>
                      <a:pt x="2819" y="79"/>
                      <a:pt x="2822" y="80"/>
                    </a:cubicBezTo>
                    <a:lnTo>
                      <a:pt x="2820" y="81"/>
                    </a:lnTo>
                    <a:lnTo>
                      <a:pt x="2829" y="82"/>
                    </a:lnTo>
                    <a:cubicBezTo>
                      <a:pt x="2830" y="79"/>
                      <a:pt x="2820" y="79"/>
                      <a:pt x="2828" y="77"/>
                    </a:cubicBezTo>
                    <a:cubicBezTo>
                      <a:pt x="2830" y="78"/>
                      <a:pt x="2838" y="76"/>
                      <a:pt x="2838" y="78"/>
                    </a:cubicBezTo>
                    <a:cubicBezTo>
                      <a:pt x="2834" y="81"/>
                      <a:pt x="2837" y="84"/>
                      <a:pt x="2831" y="85"/>
                    </a:cubicBezTo>
                    <a:cubicBezTo>
                      <a:pt x="2836" y="84"/>
                      <a:pt x="2854" y="82"/>
                      <a:pt x="2846" y="79"/>
                    </a:cubicBezTo>
                    <a:lnTo>
                      <a:pt x="2853" y="79"/>
                    </a:lnTo>
                    <a:cubicBezTo>
                      <a:pt x="2849" y="77"/>
                      <a:pt x="2837" y="76"/>
                      <a:pt x="2850" y="74"/>
                    </a:cubicBezTo>
                    <a:lnTo>
                      <a:pt x="2850" y="75"/>
                    </a:lnTo>
                    <a:lnTo>
                      <a:pt x="2859" y="71"/>
                    </a:lnTo>
                    <a:lnTo>
                      <a:pt x="2863" y="72"/>
                    </a:lnTo>
                    <a:cubicBezTo>
                      <a:pt x="2863" y="71"/>
                      <a:pt x="2864" y="70"/>
                      <a:pt x="2867" y="70"/>
                    </a:cubicBezTo>
                    <a:cubicBezTo>
                      <a:pt x="2868" y="71"/>
                      <a:pt x="2872" y="71"/>
                      <a:pt x="2872" y="73"/>
                    </a:cubicBezTo>
                    <a:cubicBezTo>
                      <a:pt x="2881" y="71"/>
                      <a:pt x="2880" y="69"/>
                      <a:pt x="2882" y="68"/>
                    </a:cubicBezTo>
                    <a:cubicBezTo>
                      <a:pt x="2887" y="67"/>
                      <a:pt x="2889" y="68"/>
                      <a:pt x="2887" y="70"/>
                    </a:cubicBezTo>
                    <a:cubicBezTo>
                      <a:pt x="2895" y="70"/>
                      <a:pt x="2908" y="68"/>
                      <a:pt x="2913" y="69"/>
                    </a:cubicBezTo>
                    <a:cubicBezTo>
                      <a:pt x="2923" y="66"/>
                      <a:pt x="2911" y="69"/>
                      <a:pt x="2916" y="66"/>
                    </a:cubicBezTo>
                    <a:cubicBezTo>
                      <a:pt x="2926" y="71"/>
                      <a:pt x="2950" y="64"/>
                      <a:pt x="2967" y="61"/>
                    </a:cubicBezTo>
                    <a:cubicBezTo>
                      <a:pt x="2961" y="56"/>
                      <a:pt x="2971" y="60"/>
                      <a:pt x="2973" y="54"/>
                    </a:cubicBezTo>
                    <a:cubicBezTo>
                      <a:pt x="2970" y="56"/>
                      <a:pt x="2990" y="57"/>
                      <a:pt x="2975" y="60"/>
                    </a:cubicBezTo>
                    <a:lnTo>
                      <a:pt x="2984" y="58"/>
                    </a:lnTo>
                    <a:cubicBezTo>
                      <a:pt x="2990" y="61"/>
                      <a:pt x="2970" y="63"/>
                      <a:pt x="2979" y="66"/>
                    </a:cubicBezTo>
                    <a:cubicBezTo>
                      <a:pt x="2989" y="64"/>
                      <a:pt x="2995" y="57"/>
                      <a:pt x="3007" y="58"/>
                    </a:cubicBezTo>
                    <a:cubicBezTo>
                      <a:pt x="3004" y="62"/>
                      <a:pt x="3016" y="55"/>
                      <a:pt x="3013" y="60"/>
                    </a:cubicBezTo>
                    <a:cubicBezTo>
                      <a:pt x="3011" y="62"/>
                      <a:pt x="3008" y="62"/>
                      <a:pt x="3005" y="63"/>
                    </a:cubicBezTo>
                    <a:lnTo>
                      <a:pt x="3007" y="63"/>
                    </a:lnTo>
                    <a:cubicBezTo>
                      <a:pt x="3029" y="61"/>
                      <a:pt x="3012" y="57"/>
                      <a:pt x="3023" y="53"/>
                    </a:cubicBezTo>
                    <a:cubicBezTo>
                      <a:pt x="3036" y="51"/>
                      <a:pt x="3034" y="55"/>
                      <a:pt x="3035" y="57"/>
                    </a:cubicBezTo>
                    <a:cubicBezTo>
                      <a:pt x="3037" y="57"/>
                      <a:pt x="3044" y="55"/>
                      <a:pt x="3047" y="54"/>
                    </a:cubicBezTo>
                    <a:cubicBezTo>
                      <a:pt x="3040" y="58"/>
                      <a:pt x="3032" y="53"/>
                      <a:pt x="3035" y="50"/>
                    </a:cubicBezTo>
                    <a:cubicBezTo>
                      <a:pt x="3042" y="54"/>
                      <a:pt x="3055" y="48"/>
                      <a:pt x="3058" y="45"/>
                    </a:cubicBezTo>
                    <a:cubicBezTo>
                      <a:pt x="3039" y="43"/>
                      <a:pt x="3045" y="47"/>
                      <a:pt x="3027" y="44"/>
                    </a:cubicBezTo>
                    <a:cubicBezTo>
                      <a:pt x="3024" y="46"/>
                      <a:pt x="3026" y="50"/>
                      <a:pt x="3015" y="50"/>
                    </a:cubicBezTo>
                    <a:cubicBezTo>
                      <a:pt x="3021" y="47"/>
                      <a:pt x="3014" y="48"/>
                      <a:pt x="3012" y="47"/>
                    </a:cubicBezTo>
                    <a:cubicBezTo>
                      <a:pt x="3014" y="50"/>
                      <a:pt x="3005" y="49"/>
                      <a:pt x="3002" y="51"/>
                    </a:cubicBezTo>
                    <a:cubicBezTo>
                      <a:pt x="2998" y="49"/>
                      <a:pt x="3007" y="44"/>
                      <a:pt x="2996" y="45"/>
                    </a:cubicBezTo>
                    <a:lnTo>
                      <a:pt x="2995" y="51"/>
                    </a:lnTo>
                    <a:cubicBezTo>
                      <a:pt x="2991" y="51"/>
                      <a:pt x="2996" y="46"/>
                      <a:pt x="2988" y="49"/>
                    </a:cubicBezTo>
                    <a:cubicBezTo>
                      <a:pt x="2992" y="45"/>
                      <a:pt x="2985" y="45"/>
                      <a:pt x="2997" y="42"/>
                    </a:cubicBezTo>
                    <a:cubicBezTo>
                      <a:pt x="2982" y="39"/>
                      <a:pt x="2976" y="48"/>
                      <a:pt x="2965" y="51"/>
                    </a:cubicBezTo>
                    <a:cubicBezTo>
                      <a:pt x="2966" y="51"/>
                      <a:pt x="2966" y="50"/>
                      <a:pt x="2967" y="49"/>
                    </a:cubicBezTo>
                    <a:cubicBezTo>
                      <a:pt x="2965" y="51"/>
                      <a:pt x="2960" y="52"/>
                      <a:pt x="2957" y="52"/>
                    </a:cubicBezTo>
                    <a:cubicBezTo>
                      <a:pt x="2950" y="52"/>
                      <a:pt x="2963" y="49"/>
                      <a:pt x="2960" y="48"/>
                    </a:cubicBezTo>
                    <a:lnTo>
                      <a:pt x="2949" y="49"/>
                    </a:lnTo>
                    <a:cubicBezTo>
                      <a:pt x="2948" y="49"/>
                      <a:pt x="2948" y="49"/>
                      <a:pt x="2948" y="49"/>
                    </a:cubicBezTo>
                    <a:cubicBezTo>
                      <a:pt x="2945" y="50"/>
                      <a:pt x="2942" y="51"/>
                      <a:pt x="2941" y="50"/>
                    </a:cubicBezTo>
                    <a:cubicBezTo>
                      <a:pt x="2944" y="47"/>
                      <a:pt x="2945" y="45"/>
                      <a:pt x="2948" y="44"/>
                    </a:cubicBezTo>
                    <a:lnTo>
                      <a:pt x="2936" y="49"/>
                    </a:lnTo>
                    <a:cubicBezTo>
                      <a:pt x="2937" y="47"/>
                      <a:pt x="2925" y="47"/>
                      <a:pt x="2934" y="45"/>
                    </a:cubicBezTo>
                    <a:lnTo>
                      <a:pt x="2915" y="48"/>
                    </a:lnTo>
                    <a:lnTo>
                      <a:pt x="2913" y="44"/>
                    </a:lnTo>
                    <a:cubicBezTo>
                      <a:pt x="2909" y="45"/>
                      <a:pt x="2909" y="46"/>
                      <a:pt x="2914" y="46"/>
                    </a:cubicBezTo>
                    <a:cubicBezTo>
                      <a:pt x="2907" y="46"/>
                      <a:pt x="2887" y="56"/>
                      <a:pt x="2889" y="48"/>
                    </a:cubicBezTo>
                    <a:cubicBezTo>
                      <a:pt x="2875" y="53"/>
                      <a:pt x="2869" y="52"/>
                      <a:pt x="2852" y="56"/>
                    </a:cubicBezTo>
                    <a:cubicBezTo>
                      <a:pt x="2865" y="51"/>
                      <a:pt x="2836" y="53"/>
                      <a:pt x="2850" y="50"/>
                    </a:cubicBezTo>
                    <a:cubicBezTo>
                      <a:pt x="2841" y="49"/>
                      <a:pt x="2840" y="54"/>
                      <a:pt x="2833" y="55"/>
                    </a:cubicBezTo>
                    <a:cubicBezTo>
                      <a:pt x="2827" y="54"/>
                      <a:pt x="2829" y="50"/>
                      <a:pt x="2836" y="48"/>
                    </a:cubicBezTo>
                    <a:lnTo>
                      <a:pt x="2828" y="50"/>
                    </a:lnTo>
                    <a:lnTo>
                      <a:pt x="2828" y="50"/>
                    </a:lnTo>
                    <a:lnTo>
                      <a:pt x="2822" y="52"/>
                    </a:lnTo>
                    <a:cubicBezTo>
                      <a:pt x="2814" y="51"/>
                      <a:pt x="2820" y="49"/>
                      <a:pt x="2812" y="49"/>
                    </a:cubicBezTo>
                    <a:lnTo>
                      <a:pt x="2811" y="53"/>
                    </a:lnTo>
                    <a:lnTo>
                      <a:pt x="2805" y="51"/>
                    </a:lnTo>
                    <a:cubicBezTo>
                      <a:pt x="2808" y="52"/>
                      <a:pt x="2803" y="54"/>
                      <a:pt x="2798" y="54"/>
                    </a:cubicBezTo>
                    <a:lnTo>
                      <a:pt x="2798" y="54"/>
                    </a:lnTo>
                    <a:lnTo>
                      <a:pt x="2791" y="55"/>
                    </a:lnTo>
                    <a:cubicBezTo>
                      <a:pt x="2798" y="52"/>
                      <a:pt x="2785" y="55"/>
                      <a:pt x="2788" y="52"/>
                    </a:cubicBezTo>
                    <a:cubicBezTo>
                      <a:pt x="2782" y="52"/>
                      <a:pt x="2782" y="53"/>
                      <a:pt x="2772" y="54"/>
                    </a:cubicBezTo>
                    <a:lnTo>
                      <a:pt x="2774" y="56"/>
                    </a:lnTo>
                    <a:cubicBezTo>
                      <a:pt x="2761" y="60"/>
                      <a:pt x="2773" y="53"/>
                      <a:pt x="2762" y="54"/>
                    </a:cubicBezTo>
                    <a:lnTo>
                      <a:pt x="2763" y="56"/>
                    </a:lnTo>
                    <a:cubicBezTo>
                      <a:pt x="2747" y="53"/>
                      <a:pt x="2737" y="62"/>
                      <a:pt x="2725" y="60"/>
                    </a:cubicBezTo>
                    <a:cubicBezTo>
                      <a:pt x="2731" y="58"/>
                      <a:pt x="2729" y="55"/>
                      <a:pt x="2729" y="56"/>
                    </a:cubicBezTo>
                    <a:cubicBezTo>
                      <a:pt x="2719" y="58"/>
                      <a:pt x="2703" y="59"/>
                      <a:pt x="2693" y="63"/>
                    </a:cubicBezTo>
                    <a:cubicBezTo>
                      <a:pt x="2689" y="59"/>
                      <a:pt x="2688" y="58"/>
                      <a:pt x="2677" y="57"/>
                    </a:cubicBezTo>
                    <a:cubicBezTo>
                      <a:pt x="2670" y="58"/>
                      <a:pt x="2669" y="59"/>
                      <a:pt x="2666" y="61"/>
                    </a:cubicBezTo>
                    <a:cubicBezTo>
                      <a:pt x="2659" y="61"/>
                      <a:pt x="2645" y="64"/>
                      <a:pt x="2644" y="61"/>
                    </a:cubicBezTo>
                    <a:cubicBezTo>
                      <a:pt x="2643" y="63"/>
                      <a:pt x="2637" y="61"/>
                      <a:pt x="2634" y="63"/>
                    </a:cubicBezTo>
                    <a:lnTo>
                      <a:pt x="2633" y="62"/>
                    </a:lnTo>
                    <a:lnTo>
                      <a:pt x="2633" y="65"/>
                    </a:lnTo>
                    <a:cubicBezTo>
                      <a:pt x="2620" y="60"/>
                      <a:pt x="2611" y="70"/>
                      <a:pt x="2598" y="66"/>
                    </a:cubicBezTo>
                    <a:lnTo>
                      <a:pt x="2600" y="65"/>
                    </a:lnTo>
                    <a:lnTo>
                      <a:pt x="2594" y="66"/>
                    </a:lnTo>
                    <a:cubicBezTo>
                      <a:pt x="2593" y="65"/>
                      <a:pt x="2596" y="64"/>
                      <a:pt x="2596" y="63"/>
                    </a:cubicBezTo>
                    <a:lnTo>
                      <a:pt x="2570" y="64"/>
                    </a:lnTo>
                    <a:lnTo>
                      <a:pt x="2575" y="66"/>
                    </a:lnTo>
                    <a:cubicBezTo>
                      <a:pt x="2569" y="67"/>
                      <a:pt x="2566" y="70"/>
                      <a:pt x="2559" y="68"/>
                    </a:cubicBezTo>
                    <a:cubicBezTo>
                      <a:pt x="2570" y="64"/>
                      <a:pt x="2551" y="69"/>
                      <a:pt x="2549" y="66"/>
                    </a:cubicBezTo>
                    <a:lnTo>
                      <a:pt x="2554" y="64"/>
                    </a:lnTo>
                    <a:cubicBezTo>
                      <a:pt x="2547" y="65"/>
                      <a:pt x="2547" y="65"/>
                      <a:pt x="2548" y="68"/>
                    </a:cubicBezTo>
                    <a:cubicBezTo>
                      <a:pt x="2538" y="69"/>
                      <a:pt x="2540" y="63"/>
                      <a:pt x="2531" y="66"/>
                    </a:cubicBezTo>
                    <a:lnTo>
                      <a:pt x="2538" y="66"/>
                    </a:lnTo>
                    <a:cubicBezTo>
                      <a:pt x="2540" y="68"/>
                      <a:pt x="2535" y="70"/>
                      <a:pt x="2531" y="70"/>
                    </a:cubicBezTo>
                    <a:cubicBezTo>
                      <a:pt x="2530" y="70"/>
                      <a:pt x="2527" y="69"/>
                      <a:pt x="2530" y="68"/>
                    </a:cubicBezTo>
                    <a:cubicBezTo>
                      <a:pt x="2522" y="70"/>
                      <a:pt x="2511" y="69"/>
                      <a:pt x="2507" y="71"/>
                    </a:cubicBezTo>
                    <a:cubicBezTo>
                      <a:pt x="2503" y="70"/>
                      <a:pt x="2504" y="68"/>
                      <a:pt x="2506" y="67"/>
                    </a:cubicBezTo>
                    <a:cubicBezTo>
                      <a:pt x="2490" y="71"/>
                      <a:pt x="2499" y="67"/>
                      <a:pt x="2482" y="71"/>
                    </a:cubicBezTo>
                    <a:lnTo>
                      <a:pt x="2482" y="69"/>
                    </a:lnTo>
                    <a:lnTo>
                      <a:pt x="2477" y="71"/>
                    </a:lnTo>
                    <a:lnTo>
                      <a:pt x="2468" y="68"/>
                    </a:lnTo>
                    <a:lnTo>
                      <a:pt x="2471" y="70"/>
                    </a:lnTo>
                    <a:cubicBezTo>
                      <a:pt x="2466" y="71"/>
                      <a:pt x="2462" y="72"/>
                      <a:pt x="2456" y="72"/>
                    </a:cubicBezTo>
                    <a:lnTo>
                      <a:pt x="2458" y="69"/>
                    </a:lnTo>
                    <a:cubicBezTo>
                      <a:pt x="2443" y="71"/>
                      <a:pt x="2440" y="66"/>
                      <a:pt x="2426" y="70"/>
                    </a:cubicBezTo>
                    <a:cubicBezTo>
                      <a:pt x="2425" y="70"/>
                      <a:pt x="2427" y="69"/>
                      <a:pt x="2428" y="69"/>
                    </a:cubicBezTo>
                    <a:cubicBezTo>
                      <a:pt x="2415" y="73"/>
                      <a:pt x="2418" y="65"/>
                      <a:pt x="2404" y="70"/>
                    </a:cubicBezTo>
                    <a:cubicBezTo>
                      <a:pt x="2405" y="70"/>
                      <a:pt x="2403" y="69"/>
                      <a:pt x="2404" y="68"/>
                    </a:cubicBezTo>
                    <a:lnTo>
                      <a:pt x="2398" y="70"/>
                    </a:lnTo>
                    <a:lnTo>
                      <a:pt x="2398" y="67"/>
                    </a:lnTo>
                    <a:lnTo>
                      <a:pt x="2393" y="71"/>
                    </a:lnTo>
                    <a:lnTo>
                      <a:pt x="2389" y="68"/>
                    </a:lnTo>
                    <a:lnTo>
                      <a:pt x="2387" y="70"/>
                    </a:lnTo>
                    <a:cubicBezTo>
                      <a:pt x="2380" y="65"/>
                      <a:pt x="2370" y="69"/>
                      <a:pt x="2361" y="65"/>
                    </a:cubicBezTo>
                    <a:lnTo>
                      <a:pt x="2363" y="69"/>
                    </a:lnTo>
                    <a:cubicBezTo>
                      <a:pt x="2340" y="79"/>
                      <a:pt x="2310" y="67"/>
                      <a:pt x="2282" y="72"/>
                    </a:cubicBezTo>
                    <a:lnTo>
                      <a:pt x="2283" y="69"/>
                    </a:lnTo>
                    <a:lnTo>
                      <a:pt x="2271" y="73"/>
                    </a:lnTo>
                    <a:cubicBezTo>
                      <a:pt x="2265" y="71"/>
                      <a:pt x="2275" y="70"/>
                      <a:pt x="2273" y="69"/>
                    </a:cubicBezTo>
                    <a:cubicBezTo>
                      <a:pt x="2261" y="71"/>
                      <a:pt x="2268" y="73"/>
                      <a:pt x="2254" y="75"/>
                    </a:cubicBezTo>
                    <a:cubicBezTo>
                      <a:pt x="2246" y="73"/>
                      <a:pt x="2256" y="72"/>
                      <a:pt x="2259" y="71"/>
                    </a:cubicBezTo>
                    <a:cubicBezTo>
                      <a:pt x="2246" y="73"/>
                      <a:pt x="2226" y="76"/>
                      <a:pt x="2217" y="74"/>
                    </a:cubicBezTo>
                    <a:cubicBezTo>
                      <a:pt x="2217" y="75"/>
                      <a:pt x="2216" y="75"/>
                      <a:pt x="2217" y="75"/>
                    </a:cubicBezTo>
                    <a:cubicBezTo>
                      <a:pt x="2208" y="77"/>
                      <a:pt x="2196" y="76"/>
                      <a:pt x="2186" y="76"/>
                    </a:cubicBezTo>
                    <a:cubicBezTo>
                      <a:pt x="2186" y="75"/>
                      <a:pt x="2189" y="75"/>
                      <a:pt x="2191" y="74"/>
                    </a:cubicBezTo>
                    <a:cubicBezTo>
                      <a:pt x="2187" y="74"/>
                      <a:pt x="2183" y="73"/>
                      <a:pt x="2180" y="75"/>
                    </a:cubicBezTo>
                    <a:lnTo>
                      <a:pt x="2183" y="72"/>
                    </a:lnTo>
                    <a:cubicBezTo>
                      <a:pt x="2176" y="72"/>
                      <a:pt x="2161" y="74"/>
                      <a:pt x="2159" y="71"/>
                    </a:cubicBezTo>
                    <a:cubicBezTo>
                      <a:pt x="2160" y="72"/>
                      <a:pt x="2160" y="75"/>
                      <a:pt x="2153" y="75"/>
                    </a:cubicBezTo>
                    <a:cubicBezTo>
                      <a:pt x="2150" y="70"/>
                      <a:pt x="2136" y="77"/>
                      <a:pt x="2125" y="75"/>
                    </a:cubicBezTo>
                    <a:cubicBezTo>
                      <a:pt x="2126" y="74"/>
                      <a:pt x="2134" y="73"/>
                      <a:pt x="2132" y="73"/>
                    </a:cubicBezTo>
                    <a:cubicBezTo>
                      <a:pt x="2127" y="72"/>
                      <a:pt x="2122" y="75"/>
                      <a:pt x="2117" y="76"/>
                    </a:cubicBezTo>
                    <a:lnTo>
                      <a:pt x="2119" y="74"/>
                    </a:lnTo>
                    <a:lnTo>
                      <a:pt x="2094" y="77"/>
                    </a:lnTo>
                    <a:cubicBezTo>
                      <a:pt x="2091" y="73"/>
                      <a:pt x="2071" y="78"/>
                      <a:pt x="2073" y="75"/>
                    </a:cubicBezTo>
                    <a:cubicBezTo>
                      <a:pt x="2064" y="75"/>
                      <a:pt x="2080" y="77"/>
                      <a:pt x="2069" y="78"/>
                    </a:cubicBezTo>
                    <a:cubicBezTo>
                      <a:pt x="2066" y="76"/>
                      <a:pt x="2059" y="79"/>
                      <a:pt x="2060" y="76"/>
                    </a:cubicBezTo>
                    <a:lnTo>
                      <a:pt x="2061" y="75"/>
                    </a:lnTo>
                    <a:lnTo>
                      <a:pt x="2053" y="75"/>
                    </a:lnTo>
                    <a:lnTo>
                      <a:pt x="2058" y="72"/>
                    </a:lnTo>
                    <a:cubicBezTo>
                      <a:pt x="2051" y="73"/>
                      <a:pt x="2046" y="76"/>
                      <a:pt x="2046" y="79"/>
                    </a:cubicBezTo>
                    <a:cubicBezTo>
                      <a:pt x="2040" y="77"/>
                      <a:pt x="2031" y="78"/>
                      <a:pt x="2028" y="76"/>
                    </a:cubicBezTo>
                    <a:lnTo>
                      <a:pt x="2030" y="75"/>
                    </a:lnTo>
                    <a:cubicBezTo>
                      <a:pt x="2013" y="76"/>
                      <a:pt x="2001" y="67"/>
                      <a:pt x="1987" y="72"/>
                    </a:cubicBezTo>
                    <a:cubicBezTo>
                      <a:pt x="1986" y="72"/>
                      <a:pt x="1986" y="71"/>
                      <a:pt x="1988" y="71"/>
                    </a:cubicBezTo>
                    <a:lnTo>
                      <a:pt x="1977" y="71"/>
                    </a:lnTo>
                    <a:lnTo>
                      <a:pt x="1980" y="68"/>
                    </a:lnTo>
                    <a:lnTo>
                      <a:pt x="1962" y="72"/>
                    </a:lnTo>
                    <a:lnTo>
                      <a:pt x="1962" y="71"/>
                    </a:lnTo>
                    <a:cubicBezTo>
                      <a:pt x="1950" y="70"/>
                      <a:pt x="1932" y="71"/>
                      <a:pt x="1916" y="71"/>
                    </a:cubicBezTo>
                    <a:lnTo>
                      <a:pt x="1919" y="70"/>
                    </a:lnTo>
                    <a:cubicBezTo>
                      <a:pt x="1902" y="73"/>
                      <a:pt x="1902" y="69"/>
                      <a:pt x="1890" y="70"/>
                    </a:cubicBezTo>
                    <a:cubicBezTo>
                      <a:pt x="1891" y="70"/>
                      <a:pt x="1891" y="70"/>
                      <a:pt x="1891" y="70"/>
                    </a:cubicBezTo>
                    <a:lnTo>
                      <a:pt x="1880" y="70"/>
                    </a:lnTo>
                    <a:lnTo>
                      <a:pt x="1883" y="68"/>
                    </a:lnTo>
                    <a:cubicBezTo>
                      <a:pt x="1875" y="71"/>
                      <a:pt x="1860" y="64"/>
                      <a:pt x="1865" y="66"/>
                    </a:cubicBezTo>
                    <a:cubicBezTo>
                      <a:pt x="1860" y="68"/>
                      <a:pt x="1852" y="70"/>
                      <a:pt x="1851" y="72"/>
                    </a:cubicBezTo>
                    <a:cubicBezTo>
                      <a:pt x="1839" y="72"/>
                      <a:pt x="1848" y="70"/>
                      <a:pt x="1840" y="68"/>
                    </a:cubicBezTo>
                    <a:cubicBezTo>
                      <a:pt x="1832" y="68"/>
                      <a:pt x="1830" y="71"/>
                      <a:pt x="1818" y="69"/>
                    </a:cubicBezTo>
                    <a:lnTo>
                      <a:pt x="1819" y="68"/>
                    </a:lnTo>
                    <a:cubicBezTo>
                      <a:pt x="1813" y="68"/>
                      <a:pt x="1810" y="69"/>
                      <a:pt x="1802" y="69"/>
                    </a:cubicBezTo>
                    <a:lnTo>
                      <a:pt x="1804" y="68"/>
                    </a:lnTo>
                    <a:cubicBezTo>
                      <a:pt x="1792" y="71"/>
                      <a:pt x="1789" y="63"/>
                      <a:pt x="1779" y="70"/>
                    </a:cubicBezTo>
                    <a:cubicBezTo>
                      <a:pt x="1773" y="68"/>
                      <a:pt x="1763" y="69"/>
                      <a:pt x="1764" y="66"/>
                    </a:cubicBezTo>
                    <a:cubicBezTo>
                      <a:pt x="1748" y="68"/>
                      <a:pt x="1736" y="68"/>
                      <a:pt x="1721" y="69"/>
                    </a:cubicBezTo>
                    <a:cubicBezTo>
                      <a:pt x="1718" y="64"/>
                      <a:pt x="1717" y="69"/>
                      <a:pt x="1708" y="66"/>
                    </a:cubicBezTo>
                    <a:lnTo>
                      <a:pt x="1709" y="69"/>
                    </a:lnTo>
                    <a:cubicBezTo>
                      <a:pt x="1687" y="69"/>
                      <a:pt x="1662" y="62"/>
                      <a:pt x="1638" y="62"/>
                    </a:cubicBezTo>
                    <a:lnTo>
                      <a:pt x="1637" y="59"/>
                    </a:lnTo>
                    <a:lnTo>
                      <a:pt x="1632" y="62"/>
                    </a:lnTo>
                    <a:cubicBezTo>
                      <a:pt x="1606" y="60"/>
                      <a:pt x="1572" y="58"/>
                      <a:pt x="1551" y="57"/>
                    </a:cubicBezTo>
                    <a:cubicBezTo>
                      <a:pt x="1545" y="58"/>
                      <a:pt x="1534" y="61"/>
                      <a:pt x="1523" y="60"/>
                    </a:cubicBezTo>
                    <a:lnTo>
                      <a:pt x="1524" y="59"/>
                    </a:lnTo>
                    <a:cubicBezTo>
                      <a:pt x="1506" y="60"/>
                      <a:pt x="1486" y="61"/>
                      <a:pt x="1465" y="58"/>
                    </a:cubicBezTo>
                    <a:cubicBezTo>
                      <a:pt x="1466" y="57"/>
                      <a:pt x="1464" y="56"/>
                      <a:pt x="1467" y="56"/>
                    </a:cubicBezTo>
                    <a:cubicBezTo>
                      <a:pt x="1462" y="59"/>
                      <a:pt x="1455" y="55"/>
                      <a:pt x="1450" y="55"/>
                    </a:cubicBezTo>
                    <a:lnTo>
                      <a:pt x="1455" y="57"/>
                    </a:lnTo>
                    <a:cubicBezTo>
                      <a:pt x="1449" y="60"/>
                      <a:pt x="1441" y="57"/>
                      <a:pt x="1438" y="55"/>
                    </a:cubicBezTo>
                    <a:lnTo>
                      <a:pt x="1429" y="58"/>
                    </a:lnTo>
                    <a:cubicBezTo>
                      <a:pt x="1428" y="57"/>
                      <a:pt x="1427" y="57"/>
                      <a:pt x="1427" y="56"/>
                    </a:cubicBezTo>
                    <a:lnTo>
                      <a:pt x="1426" y="58"/>
                    </a:lnTo>
                    <a:lnTo>
                      <a:pt x="1421" y="54"/>
                    </a:lnTo>
                    <a:cubicBezTo>
                      <a:pt x="1418" y="55"/>
                      <a:pt x="1406" y="55"/>
                      <a:pt x="1402" y="58"/>
                    </a:cubicBezTo>
                    <a:cubicBezTo>
                      <a:pt x="1401" y="57"/>
                      <a:pt x="1393" y="56"/>
                      <a:pt x="1399" y="56"/>
                    </a:cubicBezTo>
                    <a:lnTo>
                      <a:pt x="1366" y="53"/>
                    </a:lnTo>
                    <a:lnTo>
                      <a:pt x="1371" y="55"/>
                    </a:lnTo>
                    <a:cubicBezTo>
                      <a:pt x="1372" y="58"/>
                      <a:pt x="1361" y="59"/>
                      <a:pt x="1356" y="58"/>
                    </a:cubicBezTo>
                    <a:cubicBezTo>
                      <a:pt x="1363" y="56"/>
                      <a:pt x="1357" y="54"/>
                      <a:pt x="1354" y="52"/>
                    </a:cubicBezTo>
                    <a:cubicBezTo>
                      <a:pt x="1349" y="53"/>
                      <a:pt x="1358" y="54"/>
                      <a:pt x="1355" y="56"/>
                    </a:cubicBezTo>
                    <a:cubicBezTo>
                      <a:pt x="1350" y="57"/>
                      <a:pt x="1337" y="58"/>
                      <a:pt x="1334" y="56"/>
                    </a:cubicBezTo>
                    <a:lnTo>
                      <a:pt x="1338" y="55"/>
                    </a:lnTo>
                    <a:cubicBezTo>
                      <a:pt x="1330" y="56"/>
                      <a:pt x="1326" y="51"/>
                      <a:pt x="1319" y="51"/>
                    </a:cubicBezTo>
                    <a:cubicBezTo>
                      <a:pt x="1312" y="53"/>
                      <a:pt x="1307" y="51"/>
                      <a:pt x="1308" y="56"/>
                    </a:cubicBezTo>
                    <a:cubicBezTo>
                      <a:pt x="1298" y="56"/>
                      <a:pt x="1304" y="52"/>
                      <a:pt x="1301" y="52"/>
                    </a:cubicBezTo>
                    <a:cubicBezTo>
                      <a:pt x="1296" y="54"/>
                      <a:pt x="1282" y="52"/>
                      <a:pt x="1280" y="50"/>
                    </a:cubicBezTo>
                    <a:cubicBezTo>
                      <a:pt x="1275" y="56"/>
                      <a:pt x="1254" y="46"/>
                      <a:pt x="1251" y="52"/>
                    </a:cubicBezTo>
                    <a:lnTo>
                      <a:pt x="1243" y="48"/>
                    </a:lnTo>
                    <a:cubicBezTo>
                      <a:pt x="1243" y="50"/>
                      <a:pt x="1241" y="53"/>
                      <a:pt x="1234" y="54"/>
                    </a:cubicBezTo>
                    <a:cubicBezTo>
                      <a:pt x="1228" y="52"/>
                      <a:pt x="1230" y="49"/>
                      <a:pt x="1228" y="47"/>
                    </a:cubicBezTo>
                    <a:lnTo>
                      <a:pt x="1223" y="53"/>
                    </a:lnTo>
                    <a:cubicBezTo>
                      <a:pt x="1187" y="46"/>
                      <a:pt x="1140" y="48"/>
                      <a:pt x="1100" y="42"/>
                    </a:cubicBezTo>
                    <a:cubicBezTo>
                      <a:pt x="1082" y="42"/>
                      <a:pt x="1060" y="44"/>
                      <a:pt x="1039" y="43"/>
                    </a:cubicBezTo>
                    <a:lnTo>
                      <a:pt x="1041" y="42"/>
                    </a:lnTo>
                    <a:lnTo>
                      <a:pt x="1021" y="40"/>
                    </a:lnTo>
                    <a:lnTo>
                      <a:pt x="1036" y="43"/>
                    </a:lnTo>
                    <a:cubicBezTo>
                      <a:pt x="1031" y="43"/>
                      <a:pt x="1028" y="44"/>
                      <a:pt x="1023" y="44"/>
                    </a:cubicBezTo>
                    <a:cubicBezTo>
                      <a:pt x="1001" y="41"/>
                      <a:pt x="971" y="37"/>
                      <a:pt x="943" y="39"/>
                    </a:cubicBezTo>
                    <a:cubicBezTo>
                      <a:pt x="925" y="45"/>
                      <a:pt x="931" y="33"/>
                      <a:pt x="914" y="37"/>
                    </a:cubicBezTo>
                    <a:cubicBezTo>
                      <a:pt x="915" y="36"/>
                      <a:pt x="916" y="36"/>
                      <a:pt x="917" y="35"/>
                    </a:cubicBezTo>
                    <a:cubicBezTo>
                      <a:pt x="899" y="36"/>
                      <a:pt x="888" y="37"/>
                      <a:pt x="870" y="41"/>
                    </a:cubicBezTo>
                    <a:cubicBezTo>
                      <a:pt x="872" y="34"/>
                      <a:pt x="858" y="40"/>
                      <a:pt x="859" y="37"/>
                    </a:cubicBezTo>
                    <a:lnTo>
                      <a:pt x="858" y="40"/>
                    </a:lnTo>
                    <a:cubicBezTo>
                      <a:pt x="854" y="38"/>
                      <a:pt x="844" y="37"/>
                      <a:pt x="845" y="35"/>
                    </a:cubicBezTo>
                    <a:lnTo>
                      <a:pt x="837" y="38"/>
                    </a:lnTo>
                    <a:lnTo>
                      <a:pt x="836" y="35"/>
                    </a:lnTo>
                    <a:cubicBezTo>
                      <a:pt x="826" y="35"/>
                      <a:pt x="802" y="36"/>
                      <a:pt x="797" y="30"/>
                    </a:cubicBezTo>
                    <a:cubicBezTo>
                      <a:pt x="770" y="34"/>
                      <a:pt x="727" y="31"/>
                      <a:pt x="693" y="29"/>
                    </a:cubicBezTo>
                    <a:cubicBezTo>
                      <a:pt x="689" y="31"/>
                      <a:pt x="679" y="31"/>
                      <a:pt x="671" y="31"/>
                    </a:cubicBezTo>
                    <a:lnTo>
                      <a:pt x="663" y="27"/>
                    </a:lnTo>
                    <a:cubicBezTo>
                      <a:pt x="655" y="28"/>
                      <a:pt x="646" y="32"/>
                      <a:pt x="639" y="29"/>
                    </a:cubicBezTo>
                    <a:cubicBezTo>
                      <a:pt x="639" y="29"/>
                      <a:pt x="640" y="29"/>
                      <a:pt x="640" y="28"/>
                    </a:cubicBezTo>
                    <a:cubicBezTo>
                      <a:pt x="632" y="29"/>
                      <a:pt x="625" y="27"/>
                      <a:pt x="617" y="30"/>
                    </a:cubicBezTo>
                    <a:cubicBezTo>
                      <a:pt x="608" y="29"/>
                      <a:pt x="600" y="27"/>
                      <a:pt x="603" y="24"/>
                    </a:cubicBezTo>
                    <a:cubicBezTo>
                      <a:pt x="602" y="30"/>
                      <a:pt x="584" y="23"/>
                      <a:pt x="584" y="23"/>
                    </a:cubicBezTo>
                    <a:cubicBezTo>
                      <a:pt x="584" y="23"/>
                      <a:pt x="556" y="21"/>
                      <a:pt x="513" y="18"/>
                    </a:cubicBezTo>
                    <a:cubicBezTo>
                      <a:pt x="469" y="15"/>
                      <a:pt x="410" y="12"/>
                      <a:pt x="347" y="9"/>
                    </a:cubicBezTo>
                    <a:cubicBezTo>
                      <a:pt x="222" y="3"/>
                      <a:pt x="82" y="0"/>
                      <a:pt x="27" y="12"/>
                    </a:cubicBezTo>
                    <a:cubicBezTo>
                      <a:pt x="23" y="15"/>
                      <a:pt x="13" y="16"/>
                      <a:pt x="16" y="19"/>
                    </a:cubicBezTo>
                    <a:cubicBezTo>
                      <a:pt x="9" y="20"/>
                      <a:pt x="5" y="15"/>
                      <a:pt x="4" y="18"/>
                    </a:cubicBezTo>
                    <a:cubicBezTo>
                      <a:pt x="14" y="20"/>
                      <a:pt x="0" y="25"/>
                      <a:pt x="10" y="28"/>
                    </a:cubicBezTo>
                    <a:lnTo>
                      <a:pt x="3" y="29"/>
                    </a:lnTo>
                    <a:cubicBezTo>
                      <a:pt x="2" y="30"/>
                      <a:pt x="13" y="27"/>
                      <a:pt x="11" y="30"/>
                    </a:cubicBezTo>
                    <a:lnTo>
                      <a:pt x="13" y="25"/>
                    </a:lnTo>
                    <a:cubicBezTo>
                      <a:pt x="18" y="26"/>
                      <a:pt x="21" y="28"/>
                      <a:pt x="23" y="29"/>
                    </a:cubicBezTo>
                    <a:cubicBezTo>
                      <a:pt x="28" y="28"/>
                      <a:pt x="32" y="21"/>
                      <a:pt x="44" y="25"/>
                    </a:cubicBezTo>
                    <a:lnTo>
                      <a:pt x="40" y="25"/>
                    </a:lnTo>
                    <a:cubicBezTo>
                      <a:pt x="50" y="25"/>
                      <a:pt x="46" y="28"/>
                      <a:pt x="48" y="29"/>
                    </a:cubicBezTo>
                    <a:lnTo>
                      <a:pt x="46" y="29"/>
                    </a:lnTo>
                    <a:lnTo>
                      <a:pt x="54" y="32"/>
                    </a:lnTo>
                    <a:cubicBezTo>
                      <a:pt x="48" y="30"/>
                      <a:pt x="38" y="34"/>
                      <a:pt x="43" y="34"/>
                    </a:cubicBezTo>
                    <a:cubicBezTo>
                      <a:pt x="55" y="35"/>
                      <a:pt x="40" y="32"/>
                      <a:pt x="49" y="32"/>
                    </a:cubicBezTo>
                    <a:cubicBezTo>
                      <a:pt x="54" y="32"/>
                      <a:pt x="53" y="35"/>
                      <a:pt x="52" y="36"/>
                    </a:cubicBezTo>
                    <a:lnTo>
                      <a:pt x="62" y="36"/>
                    </a:lnTo>
                    <a:cubicBezTo>
                      <a:pt x="62" y="39"/>
                      <a:pt x="56" y="36"/>
                      <a:pt x="60" y="39"/>
                    </a:cubicBezTo>
                    <a:lnTo>
                      <a:pt x="72" y="37"/>
                    </a:lnTo>
                    <a:cubicBezTo>
                      <a:pt x="74" y="43"/>
                      <a:pt x="86" y="35"/>
                      <a:pt x="91" y="40"/>
                    </a:cubicBezTo>
                    <a:cubicBezTo>
                      <a:pt x="82" y="41"/>
                      <a:pt x="92" y="42"/>
                      <a:pt x="91" y="44"/>
                    </a:cubicBezTo>
                    <a:lnTo>
                      <a:pt x="112" y="45"/>
                    </a:lnTo>
                    <a:cubicBezTo>
                      <a:pt x="115" y="46"/>
                      <a:pt x="107" y="46"/>
                      <a:pt x="110" y="46"/>
                    </a:cubicBezTo>
                    <a:cubicBezTo>
                      <a:pt x="114" y="48"/>
                      <a:pt x="117" y="45"/>
                      <a:pt x="119" y="45"/>
                    </a:cubicBezTo>
                    <a:cubicBezTo>
                      <a:pt x="121" y="47"/>
                      <a:pt x="135" y="46"/>
                      <a:pt x="135" y="50"/>
                    </a:cubicBezTo>
                    <a:cubicBezTo>
                      <a:pt x="149" y="53"/>
                      <a:pt x="141" y="45"/>
                      <a:pt x="155" y="48"/>
                    </a:cubicBezTo>
                    <a:cubicBezTo>
                      <a:pt x="157" y="51"/>
                      <a:pt x="144" y="48"/>
                      <a:pt x="150" y="51"/>
                    </a:cubicBezTo>
                    <a:lnTo>
                      <a:pt x="164" y="51"/>
                    </a:lnTo>
                    <a:cubicBezTo>
                      <a:pt x="163" y="52"/>
                      <a:pt x="161" y="55"/>
                      <a:pt x="156" y="54"/>
                    </a:cubicBezTo>
                    <a:cubicBezTo>
                      <a:pt x="195" y="59"/>
                      <a:pt x="215" y="72"/>
                      <a:pt x="251" y="71"/>
                    </a:cubicBezTo>
                    <a:cubicBezTo>
                      <a:pt x="256" y="74"/>
                      <a:pt x="247" y="72"/>
                      <a:pt x="244" y="74"/>
                    </a:cubicBezTo>
                    <a:cubicBezTo>
                      <a:pt x="270" y="72"/>
                      <a:pt x="280" y="82"/>
                      <a:pt x="302" y="83"/>
                    </a:cubicBezTo>
                    <a:lnTo>
                      <a:pt x="302" y="81"/>
                    </a:lnTo>
                    <a:cubicBezTo>
                      <a:pt x="332" y="89"/>
                      <a:pt x="369" y="87"/>
                      <a:pt x="404" y="91"/>
                    </a:cubicBezTo>
                    <a:lnTo>
                      <a:pt x="400" y="90"/>
                    </a:lnTo>
                    <a:cubicBezTo>
                      <a:pt x="405" y="88"/>
                      <a:pt x="412" y="88"/>
                      <a:pt x="418" y="87"/>
                    </a:cubicBezTo>
                    <a:cubicBezTo>
                      <a:pt x="419" y="88"/>
                      <a:pt x="414" y="92"/>
                      <a:pt x="424" y="91"/>
                    </a:cubicBezTo>
                    <a:cubicBezTo>
                      <a:pt x="422" y="90"/>
                      <a:pt x="418" y="89"/>
                      <a:pt x="419" y="88"/>
                    </a:cubicBezTo>
                    <a:cubicBezTo>
                      <a:pt x="449" y="96"/>
                      <a:pt x="511" y="97"/>
                      <a:pt x="560" y="102"/>
                    </a:cubicBezTo>
                    <a:cubicBezTo>
                      <a:pt x="626" y="103"/>
                      <a:pt x="698" y="110"/>
                      <a:pt x="763" y="111"/>
                    </a:cubicBezTo>
                    <a:cubicBezTo>
                      <a:pt x="753" y="110"/>
                      <a:pt x="757" y="105"/>
                      <a:pt x="764" y="106"/>
                    </a:cubicBezTo>
                    <a:cubicBezTo>
                      <a:pt x="784" y="117"/>
                      <a:pt x="800" y="106"/>
                      <a:pt x="820" y="113"/>
                    </a:cubicBezTo>
                    <a:cubicBezTo>
                      <a:pt x="858" y="112"/>
                      <a:pt x="892" y="121"/>
                      <a:pt x="927" y="115"/>
                    </a:cubicBezTo>
                    <a:lnTo>
                      <a:pt x="928" y="118"/>
                    </a:lnTo>
                    <a:cubicBezTo>
                      <a:pt x="933" y="119"/>
                      <a:pt x="934" y="117"/>
                      <a:pt x="940" y="117"/>
                    </a:cubicBezTo>
                    <a:lnTo>
                      <a:pt x="940" y="118"/>
                    </a:lnTo>
                    <a:cubicBezTo>
                      <a:pt x="953" y="119"/>
                      <a:pt x="969" y="117"/>
                      <a:pt x="976" y="119"/>
                    </a:cubicBezTo>
                    <a:lnTo>
                      <a:pt x="977" y="116"/>
                    </a:lnTo>
                    <a:cubicBezTo>
                      <a:pt x="984" y="116"/>
                      <a:pt x="981" y="118"/>
                      <a:pt x="989" y="117"/>
                    </a:cubicBezTo>
                    <a:lnTo>
                      <a:pt x="988" y="118"/>
                    </a:lnTo>
                    <a:lnTo>
                      <a:pt x="998" y="116"/>
                    </a:lnTo>
                    <a:cubicBezTo>
                      <a:pt x="997" y="121"/>
                      <a:pt x="1019" y="117"/>
                      <a:pt x="1025" y="119"/>
                    </a:cubicBezTo>
                    <a:cubicBezTo>
                      <a:pt x="1036" y="119"/>
                      <a:pt x="1055" y="117"/>
                      <a:pt x="1070" y="119"/>
                    </a:cubicBezTo>
                    <a:cubicBezTo>
                      <a:pt x="1072" y="122"/>
                      <a:pt x="1091" y="122"/>
                      <a:pt x="1103" y="124"/>
                    </a:cubicBezTo>
                    <a:cubicBezTo>
                      <a:pt x="1126" y="124"/>
                      <a:pt x="1159" y="124"/>
                      <a:pt x="1188" y="126"/>
                    </a:cubicBezTo>
                    <a:lnTo>
                      <a:pt x="1188" y="123"/>
                    </a:lnTo>
                    <a:lnTo>
                      <a:pt x="1196" y="123"/>
                    </a:lnTo>
                    <a:cubicBezTo>
                      <a:pt x="1196" y="124"/>
                      <a:pt x="1197" y="124"/>
                      <a:pt x="1195" y="124"/>
                    </a:cubicBezTo>
                    <a:cubicBezTo>
                      <a:pt x="1201" y="128"/>
                      <a:pt x="1213" y="124"/>
                      <a:pt x="1219" y="126"/>
                    </a:cubicBezTo>
                    <a:cubicBezTo>
                      <a:pt x="1216" y="123"/>
                      <a:pt x="1214" y="126"/>
                      <a:pt x="1210" y="125"/>
                    </a:cubicBezTo>
                    <a:cubicBezTo>
                      <a:pt x="1203" y="124"/>
                      <a:pt x="1209" y="120"/>
                      <a:pt x="1218" y="122"/>
                    </a:cubicBezTo>
                    <a:lnTo>
                      <a:pt x="1218" y="123"/>
                    </a:lnTo>
                    <a:lnTo>
                      <a:pt x="1224" y="122"/>
                    </a:lnTo>
                    <a:cubicBezTo>
                      <a:pt x="1224" y="124"/>
                      <a:pt x="1229" y="126"/>
                      <a:pt x="1230" y="128"/>
                    </a:cubicBezTo>
                    <a:cubicBezTo>
                      <a:pt x="1255" y="129"/>
                      <a:pt x="1273" y="125"/>
                      <a:pt x="1299" y="127"/>
                    </a:cubicBezTo>
                    <a:cubicBezTo>
                      <a:pt x="1296" y="130"/>
                      <a:pt x="1317" y="127"/>
                      <a:pt x="1312" y="132"/>
                    </a:cubicBezTo>
                    <a:cubicBezTo>
                      <a:pt x="1328" y="130"/>
                      <a:pt x="1310" y="127"/>
                      <a:pt x="1317" y="124"/>
                    </a:cubicBezTo>
                    <a:cubicBezTo>
                      <a:pt x="1321" y="124"/>
                      <a:pt x="1326" y="123"/>
                      <a:pt x="1327" y="125"/>
                    </a:cubicBezTo>
                    <a:cubicBezTo>
                      <a:pt x="1324" y="126"/>
                      <a:pt x="1330" y="128"/>
                      <a:pt x="1326" y="128"/>
                    </a:cubicBezTo>
                    <a:lnTo>
                      <a:pt x="1337" y="128"/>
                    </a:lnTo>
                    <a:cubicBezTo>
                      <a:pt x="1338" y="129"/>
                      <a:pt x="1336" y="130"/>
                      <a:pt x="1334" y="130"/>
                    </a:cubicBezTo>
                    <a:cubicBezTo>
                      <a:pt x="1356" y="128"/>
                      <a:pt x="1372" y="135"/>
                      <a:pt x="1391" y="132"/>
                    </a:cubicBezTo>
                    <a:cubicBezTo>
                      <a:pt x="1393" y="130"/>
                      <a:pt x="1384" y="131"/>
                      <a:pt x="1385" y="129"/>
                    </a:cubicBezTo>
                    <a:cubicBezTo>
                      <a:pt x="1405" y="126"/>
                      <a:pt x="1402" y="134"/>
                      <a:pt x="1420" y="131"/>
                    </a:cubicBezTo>
                    <a:lnTo>
                      <a:pt x="1416" y="134"/>
                    </a:lnTo>
                    <a:cubicBezTo>
                      <a:pt x="1422" y="132"/>
                      <a:pt x="1425" y="130"/>
                      <a:pt x="1434" y="133"/>
                    </a:cubicBezTo>
                    <a:cubicBezTo>
                      <a:pt x="1436" y="136"/>
                      <a:pt x="1426" y="135"/>
                      <a:pt x="1421" y="136"/>
                    </a:cubicBezTo>
                    <a:cubicBezTo>
                      <a:pt x="1428" y="136"/>
                      <a:pt x="1445" y="136"/>
                      <a:pt x="1440" y="133"/>
                    </a:cubicBezTo>
                    <a:cubicBezTo>
                      <a:pt x="1447" y="132"/>
                      <a:pt x="1450" y="135"/>
                      <a:pt x="1454" y="136"/>
                    </a:cubicBezTo>
                    <a:cubicBezTo>
                      <a:pt x="1455" y="136"/>
                      <a:pt x="1447" y="134"/>
                      <a:pt x="1452" y="133"/>
                    </a:cubicBezTo>
                    <a:cubicBezTo>
                      <a:pt x="1462" y="135"/>
                      <a:pt x="1479" y="135"/>
                      <a:pt x="1492" y="136"/>
                    </a:cubicBezTo>
                    <a:cubicBezTo>
                      <a:pt x="1492" y="137"/>
                      <a:pt x="1493" y="138"/>
                      <a:pt x="1492" y="138"/>
                    </a:cubicBezTo>
                    <a:cubicBezTo>
                      <a:pt x="1502" y="135"/>
                      <a:pt x="1501" y="142"/>
                      <a:pt x="1515" y="14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4" name="Freeform 2520"/>
              <p:cNvSpPr>
                <a:spLocks/>
              </p:cNvSpPr>
              <p:nvPr/>
            </p:nvSpPr>
            <p:spPr bwMode="auto">
              <a:xfrm>
                <a:off x="4244976" y="4567238"/>
                <a:ext cx="3175" cy="1588"/>
              </a:xfrm>
              <a:custGeom>
                <a:avLst/>
                <a:gdLst>
                  <a:gd name="T0" fmla="*/ 8 w 8"/>
                  <a:gd name="T1" fmla="*/ 1 h 3"/>
                  <a:gd name="T2" fmla="*/ 8 w 8"/>
                  <a:gd name="T3" fmla="*/ 1 h 3"/>
                  <a:gd name="T4" fmla="*/ 3 w 8"/>
                  <a:gd name="T5" fmla="*/ 0 h 3"/>
                  <a:gd name="T6" fmla="*/ 0 w 8"/>
                  <a:gd name="T7" fmla="*/ 3 h 3"/>
                  <a:gd name="T8" fmla="*/ 8 w 8"/>
                  <a:gd name="T9" fmla="*/ 1 h 3"/>
                </a:gdLst>
                <a:ahLst/>
                <a:cxnLst>
                  <a:cxn ang="0">
                    <a:pos x="T0" y="T1"/>
                  </a:cxn>
                  <a:cxn ang="0">
                    <a:pos x="T2" y="T3"/>
                  </a:cxn>
                  <a:cxn ang="0">
                    <a:pos x="T4" y="T5"/>
                  </a:cxn>
                  <a:cxn ang="0">
                    <a:pos x="T6" y="T7"/>
                  </a:cxn>
                  <a:cxn ang="0">
                    <a:pos x="T8" y="T9"/>
                  </a:cxn>
                </a:cxnLst>
                <a:rect l="0" t="0" r="r" b="b"/>
                <a:pathLst>
                  <a:path w="8" h="3">
                    <a:moveTo>
                      <a:pt x="8" y="1"/>
                    </a:moveTo>
                    <a:lnTo>
                      <a:pt x="8" y="1"/>
                    </a:lnTo>
                    <a:lnTo>
                      <a:pt x="3" y="0"/>
                    </a:lnTo>
                    <a:cubicBezTo>
                      <a:pt x="3" y="1"/>
                      <a:pt x="2" y="2"/>
                      <a:pt x="0" y="3"/>
                    </a:cubicBezTo>
                    <a:lnTo>
                      <a:pt x="8" y="1"/>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5" name="Freeform 2521"/>
              <p:cNvSpPr>
                <a:spLocks/>
              </p:cNvSpPr>
              <p:nvPr/>
            </p:nvSpPr>
            <p:spPr bwMode="auto">
              <a:xfrm>
                <a:off x="4168776" y="4568826"/>
                <a:ext cx="0"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1" y="0"/>
                      <a:pt x="1" y="0"/>
                      <a:pt x="0" y="1"/>
                    </a:cubicBezTo>
                    <a:cubicBezTo>
                      <a:pt x="1" y="0"/>
                      <a:pt x="2" y="0"/>
                      <a:pt x="2"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6" name="Freeform 2522"/>
              <p:cNvSpPr>
                <a:spLocks/>
              </p:cNvSpPr>
              <p:nvPr/>
            </p:nvSpPr>
            <p:spPr bwMode="auto">
              <a:xfrm>
                <a:off x="4149726" y="4568826"/>
                <a:ext cx="1588" cy="1588"/>
              </a:xfrm>
              <a:custGeom>
                <a:avLst/>
                <a:gdLst>
                  <a:gd name="T0" fmla="*/ 2 w 6"/>
                  <a:gd name="T1" fmla="*/ 2 h 2"/>
                  <a:gd name="T2" fmla="*/ 2 w 6"/>
                  <a:gd name="T3" fmla="*/ 2 h 2"/>
                  <a:gd name="T4" fmla="*/ 0 w 6"/>
                  <a:gd name="T5" fmla="*/ 0 h 2"/>
                  <a:gd name="T6" fmla="*/ 2 w 6"/>
                  <a:gd name="T7" fmla="*/ 2 h 2"/>
                </a:gdLst>
                <a:ahLst/>
                <a:cxnLst>
                  <a:cxn ang="0">
                    <a:pos x="T0" y="T1"/>
                  </a:cxn>
                  <a:cxn ang="0">
                    <a:pos x="T2" y="T3"/>
                  </a:cxn>
                  <a:cxn ang="0">
                    <a:pos x="T4" y="T5"/>
                  </a:cxn>
                  <a:cxn ang="0">
                    <a:pos x="T6" y="T7"/>
                  </a:cxn>
                </a:cxnLst>
                <a:rect l="0" t="0" r="r" b="b"/>
                <a:pathLst>
                  <a:path w="6" h="2">
                    <a:moveTo>
                      <a:pt x="2" y="2"/>
                    </a:moveTo>
                    <a:lnTo>
                      <a:pt x="2" y="2"/>
                    </a:lnTo>
                    <a:cubicBezTo>
                      <a:pt x="6" y="1"/>
                      <a:pt x="3" y="0"/>
                      <a:pt x="0" y="0"/>
                    </a:cubicBezTo>
                    <a:cubicBezTo>
                      <a:pt x="0" y="0"/>
                      <a:pt x="0" y="1"/>
                      <a:pt x="2"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7" name="Freeform 2523"/>
              <p:cNvSpPr>
                <a:spLocks/>
              </p:cNvSpPr>
              <p:nvPr/>
            </p:nvSpPr>
            <p:spPr bwMode="auto">
              <a:xfrm>
                <a:off x="4291013" y="4564063"/>
                <a:ext cx="1588" cy="0"/>
              </a:xfrm>
              <a:custGeom>
                <a:avLst/>
                <a:gdLst>
                  <a:gd name="T0" fmla="*/ 1 w 2"/>
                  <a:gd name="T1" fmla="*/ 0 h 1"/>
                  <a:gd name="T2" fmla="*/ 1 w 2"/>
                  <a:gd name="T3" fmla="*/ 0 h 1"/>
                  <a:gd name="T4" fmla="*/ 0 w 2"/>
                  <a:gd name="T5" fmla="*/ 1 h 1"/>
                  <a:gd name="T6" fmla="*/ 1 w 2"/>
                  <a:gd name="T7" fmla="*/ 0 h 1"/>
                </a:gdLst>
                <a:ahLst/>
                <a:cxnLst>
                  <a:cxn ang="0">
                    <a:pos x="T0" y="T1"/>
                  </a:cxn>
                  <a:cxn ang="0">
                    <a:pos x="T2" y="T3"/>
                  </a:cxn>
                  <a:cxn ang="0">
                    <a:pos x="T4" y="T5"/>
                  </a:cxn>
                  <a:cxn ang="0">
                    <a:pos x="T6" y="T7"/>
                  </a:cxn>
                </a:cxnLst>
                <a:rect l="0" t="0" r="r" b="b"/>
                <a:pathLst>
                  <a:path w="2" h="1">
                    <a:moveTo>
                      <a:pt x="1" y="0"/>
                    </a:moveTo>
                    <a:lnTo>
                      <a:pt x="1" y="0"/>
                    </a:lnTo>
                    <a:cubicBezTo>
                      <a:pt x="1" y="0"/>
                      <a:pt x="0" y="1"/>
                      <a:pt x="0" y="1"/>
                    </a:cubicBezTo>
                    <a:cubicBezTo>
                      <a:pt x="1" y="1"/>
                      <a:pt x="2" y="0"/>
                      <a:pt x="1"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8" name="Freeform 2524"/>
              <p:cNvSpPr>
                <a:spLocks/>
              </p:cNvSpPr>
              <p:nvPr/>
            </p:nvSpPr>
            <p:spPr bwMode="auto">
              <a:xfrm>
                <a:off x="4414838" y="4554538"/>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0" y="0"/>
                      <a:pt x="0" y="0"/>
                    </a:cubicBezTo>
                    <a:cubicBezTo>
                      <a:pt x="0" y="0"/>
                      <a:pt x="0" y="1"/>
                      <a:pt x="1"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9" name="Freeform 2525"/>
              <p:cNvSpPr>
                <a:spLocks/>
              </p:cNvSpPr>
              <p:nvPr/>
            </p:nvSpPr>
            <p:spPr bwMode="auto">
              <a:xfrm>
                <a:off x="4406901" y="4554538"/>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2" y="1"/>
                      <a:pt x="3" y="0"/>
                      <a:pt x="4"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0" name="Freeform 2526"/>
              <p:cNvSpPr>
                <a:spLocks/>
              </p:cNvSpPr>
              <p:nvPr/>
            </p:nvSpPr>
            <p:spPr bwMode="auto">
              <a:xfrm>
                <a:off x="4260851" y="4565651"/>
                <a:ext cx="1588" cy="0"/>
              </a:xfrm>
              <a:custGeom>
                <a:avLst/>
                <a:gdLst>
                  <a:gd name="T0" fmla="*/ 4 w 4"/>
                  <a:gd name="T1" fmla="*/ 0 h 1"/>
                  <a:gd name="T2" fmla="*/ 4 w 4"/>
                  <a:gd name="T3" fmla="*/ 0 h 1"/>
                  <a:gd name="T4" fmla="*/ 0 w 4"/>
                  <a:gd name="T5" fmla="*/ 1 h 1"/>
                  <a:gd name="T6" fmla="*/ 4 w 4"/>
                  <a:gd name="T7" fmla="*/ 0 h 1"/>
                </a:gdLst>
                <a:ahLst/>
                <a:cxnLst>
                  <a:cxn ang="0">
                    <a:pos x="T0" y="T1"/>
                  </a:cxn>
                  <a:cxn ang="0">
                    <a:pos x="T2" y="T3"/>
                  </a:cxn>
                  <a:cxn ang="0">
                    <a:pos x="T4" y="T5"/>
                  </a:cxn>
                  <a:cxn ang="0">
                    <a:pos x="T6" y="T7"/>
                  </a:cxn>
                </a:cxnLst>
                <a:rect l="0" t="0" r="r" b="b"/>
                <a:pathLst>
                  <a:path w="4" h="1">
                    <a:moveTo>
                      <a:pt x="4" y="0"/>
                    </a:moveTo>
                    <a:lnTo>
                      <a:pt x="4" y="0"/>
                    </a:lnTo>
                    <a:cubicBezTo>
                      <a:pt x="3" y="0"/>
                      <a:pt x="2" y="0"/>
                      <a:pt x="0" y="1"/>
                    </a:cubicBezTo>
                    <a:cubicBezTo>
                      <a:pt x="3" y="1"/>
                      <a:pt x="4" y="0"/>
                      <a:pt x="4"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1" name="Freeform 2527"/>
              <p:cNvSpPr>
                <a:spLocks/>
              </p:cNvSpPr>
              <p:nvPr/>
            </p:nvSpPr>
            <p:spPr bwMode="auto">
              <a:xfrm>
                <a:off x="4403726" y="4554538"/>
                <a:ext cx="1588" cy="0"/>
              </a:xfrm>
              <a:custGeom>
                <a:avLst/>
                <a:gdLst>
                  <a:gd name="T0" fmla="*/ 5 w 5"/>
                  <a:gd name="T1" fmla="*/ 5 w 5"/>
                  <a:gd name="T2" fmla="*/ 0 w 5"/>
                  <a:gd name="T3" fmla="*/ 0 w 5"/>
                  <a:gd name="T4" fmla="*/ 5 w 5"/>
                </a:gdLst>
                <a:ahLst/>
                <a:cxnLst>
                  <a:cxn ang="0">
                    <a:pos x="T0" y="0"/>
                  </a:cxn>
                  <a:cxn ang="0">
                    <a:pos x="T1" y="0"/>
                  </a:cxn>
                  <a:cxn ang="0">
                    <a:pos x="T2" y="0"/>
                  </a:cxn>
                  <a:cxn ang="0">
                    <a:pos x="T3" y="0"/>
                  </a:cxn>
                  <a:cxn ang="0">
                    <a:pos x="T4" y="0"/>
                  </a:cxn>
                </a:cxnLst>
                <a:rect l="0" t="0" r="r" b="b"/>
                <a:pathLst>
                  <a:path w="5">
                    <a:moveTo>
                      <a:pt x="5" y="0"/>
                    </a:moveTo>
                    <a:lnTo>
                      <a:pt x="5" y="0"/>
                    </a:lnTo>
                    <a:lnTo>
                      <a:pt x="0" y="0"/>
                    </a:lnTo>
                    <a:cubicBezTo>
                      <a:pt x="0" y="0"/>
                      <a:pt x="0" y="0"/>
                      <a:pt x="0" y="0"/>
                    </a:cubicBezTo>
                    <a:lnTo>
                      <a:pt x="5"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2" name="Freeform 2528"/>
              <p:cNvSpPr>
                <a:spLocks/>
              </p:cNvSpPr>
              <p:nvPr/>
            </p:nvSpPr>
            <p:spPr bwMode="auto">
              <a:xfrm>
                <a:off x="4414838" y="4554538"/>
                <a:ext cx="3175" cy="1588"/>
              </a:xfrm>
              <a:custGeom>
                <a:avLst/>
                <a:gdLst>
                  <a:gd name="T0" fmla="*/ 7 w 7"/>
                  <a:gd name="T1" fmla="*/ 0 h 1"/>
                  <a:gd name="T2" fmla="*/ 7 w 7"/>
                  <a:gd name="T3" fmla="*/ 0 h 1"/>
                  <a:gd name="T4" fmla="*/ 0 w 7"/>
                  <a:gd name="T5" fmla="*/ 1 h 1"/>
                  <a:gd name="T6" fmla="*/ 7 w 7"/>
                  <a:gd name="T7" fmla="*/ 0 h 1"/>
                </a:gdLst>
                <a:ahLst/>
                <a:cxnLst>
                  <a:cxn ang="0">
                    <a:pos x="T0" y="T1"/>
                  </a:cxn>
                  <a:cxn ang="0">
                    <a:pos x="T2" y="T3"/>
                  </a:cxn>
                  <a:cxn ang="0">
                    <a:pos x="T4" y="T5"/>
                  </a:cxn>
                  <a:cxn ang="0">
                    <a:pos x="T6" y="T7"/>
                  </a:cxn>
                </a:cxnLst>
                <a:rect l="0" t="0" r="r" b="b"/>
                <a:pathLst>
                  <a:path w="7" h="1">
                    <a:moveTo>
                      <a:pt x="7" y="0"/>
                    </a:moveTo>
                    <a:lnTo>
                      <a:pt x="7" y="0"/>
                    </a:lnTo>
                    <a:cubicBezTo>
                      <a:pt x="5" y="0"/>
                      <a:pt x="2" y="1"/>
                      <a:pt x="0" y="1"/>
                    </a:cubicBezTo>
                    <a:cubicBezTo>
                      <a:pt x="3" y="1"/>
                      <a:pt x="5" y="1"/>
                      <a:pt x="7"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3" name="Freeform 2529"/>
              <p:cNvSpPr>
                <a:spLocks/>
              </p:cNvSpPr>
              <p:nvPr/>
            </p:nvSpPr>
            <p:spPr bwMode="auto">
              <a:xfrm>
                <a:off x="4335463" y="4559301"/>
                <a:ext cx="1588" cy="0"/>
              </a:xfrm>
              <a:custGeom>
                <a:avLst/>
                <a:gdLst>
                  <a:gd name="T0" fmla="*/ 5 w 5"/>
                  <a:gd name="T1" fmla="*/ 0 h 1"/>
                  <a:gd name="T2" fmla="*/ 5 w 5"/>
                  <a:gd name="T3" fmla="*/ 0 h 1"/>
                  <a:gd name="T4" fmla="*/ 4 w 5"/>
                  <a:gd name="T5" fmla="*/ 0 h 1"/>
                  <a:gd name="T6" fmla="*/ 5 w 5"/>
                  <a:gd name="T7" fmla="*/ 0 h 1"/>
                </a:gdLst>
                <a:ahLst/>
                <a:cxnLst>
                  <a:cxn ang="0">
                    <a:pos x="T0" y="T1"/>
                  </a:cxn>
                  <a:cxn ang="0">
                    <a:pos x="T2" y="T3"/>
                  </a:cxn>
                  <a:cxn ang="0">
                    <a:pos x="T4" y="T5"/>
                  </a:cxn>
                  <a:cxn ang="0">
                    <a:pos x="T6" y="T7"/>
                  </a:cxn>
                </a:cxnLst>
                <a:rect l="0" t="0" r="r" b="b"/>
                <a:pathLst>
                  <a:path w="5" h="1">
                    <a:moveTo>
                      <a:pt x="5" y="0"/>
                    </a:moveTo>
                    <a:lnTo>
                      <a:pt x="5" y="0"/>
                    </a:lnTo>
                    <a:cubicBezTo>
                      <a:pt x="5" y="0"/>
                      <a:pt x="5" y="0"/>
                      <a:pt x="4" y="0"/>
                    </a:cubicBezTo>
                    <a:cubicBezTo>
                      <a:pt x="0" y="1"/>
                      <a:pt x="3" y="1"/>
                      <a:pt x="5"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4" name="Freeform 2530"/>
              <p:cNvSpPr>
                <a:spLocks/>
              </p:cNvSpPr>
              <p:nvPr/>
            </p:nvSpPr>
            <p:spPr bwMode="auto">
              <a:xfrm>
                <a:off x="4397376" y="4557713"/>
                <a:ext cx="0" cy="0"/>
              </a:xfrm>
              <a:custGeom>
                <a:avLst/>
                <a:gdLst>
                  <a:gd name="T0" fmla="*/ 2 w 2"/>
                  <a:gd name="T1" fmla="*/ 0 h 1"/>
                  <a:gd name="T2" fmla="*/ 2 w 2"/>
                  <a:gd name="T3" fmla="*/ 0 h 1"/>
                  <a:gd name="T4" fmla="*/ 1 w 2"/>
                  <a:gd name="T5" fmla="*/ 0 h 1"/>
                  <a:gd name="T6" fmla="*/ 0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lnTo>
                      <a:pt x="2" y="0"/>
                    </a:lnTo>
                    <a:lnTo>
                      <a:pt x="1" y="0"/>
                    </a:lnTo>
                    <a:lnTo>
                      <a:pt x="0" y="1"/>
                    </a:lnTo>
                    <a:lnTo>
                      <a:pt x="2"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5" name="Freeform 2531"/>
              <p:cNvSpPr>
                <a:spLocks/>
              </p:cNvSpPr>
              <p:nvPr/>
            </p:nvSpPr>
            <p:spPr bwMode="auto">
              <a:xfrm>
                <a:off x="4424363" y="4554538"/>
                <a:ext cx="0" cy="0"/>
              </a:xfrm>
              <a:custGeom>
                <a:avLst/>
                <a:gdLst>
                  <a:gd name="T0" fmla="*/ 3 w 3"/>
                  <a:gd name="T1" fmla="*/ 0 h 1"/>
                  <a:gd name="T2" fmla="*/ 3 w 3"/>
                  <a:gd name="T3" fmla="*/ 0 h 1"/>
                  <a:gd name="T4" fmla="*/ 0 w 3"/>
                  <a:gd name="T5" fmla="*/ 1 h 1"/>
                  <a:gd name="T6" fmla="*/ 3 w 3"/>
                  <a:gd name="T7" fmla="*/ 1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3" y="0"/>
                    </a:lnTo>
                    <a:cubicBezTo>
                      <a:pt x="2" y="0"/>
                      <a:pt x="1" y="1"/>
                      <a:pt x="0" y="1"/>
                    </a:cubicBezTo>
                    <a:cubicBezTo>
                      <a:pt x="1" y="1"/>
                      <a:pt x="2" y="1"/>
                      <a:pt x="3" y="1"/>
                    </a:cubicBezTo>
                    <a:cubicBezTo>
                      <a:pt x="3" y="1"/>
                      <a:pt x="3" y="0"/>
                      <a:pt x="3"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6" name="Freeform 2532"/>
              <p:cNvSpPr>
                <a:spLocks/>
              </p:cNvSpPr>
              <p:nvPr/>
            </p:nvSpPr>
            <p:spPr bwMode="auto">
              <a:xfrm>
                <a:off x="4362451" y="4557713"/>
                <a:ext cx="1588" cy="1588"/>
              </a:xfrm>
              <a:custGeom>
                <a:avLst/>
                <a:gdLst>
                  <a:gd name="T0" fmla="*/ 1 w 3"/>
                  <a:gd name="T1" fmla="*/ 3 h 3"/>
                  <a:gd name="T2" fmla="*/ 1 w 3"/>
                  <a:gd name="T3" fmla="*/ 3 h 3"/>
                  <a:gd name="T4" fmla="*/ 3 w 3"/>
                  <a:gd name="T5" fmla="*/ 0 h 3"/>
                  <a:gd name="T6" fmla="*/ 1 w 3"/>
                  <a:gd name="T7" fmla="*/ 3 h 3"/>
                </a:gdLst>
                <a:ahLst/>
                <a:cxnLst>
                  <a:cxn ang="0">
                    <a:pos x="T0" y="T1"/>
                  </a:cxn>
                  <a:cxn ang="0">
                    <a:pos x="T2" y="T3"/>
                  </a:cxn>
                  <a:cxn ang="0">
                    <a:pos x="T4" y="T5"/>
                  </a:cxn>
                  <a:cxn ang="0">
                    <a:pos x="T6" y="T7"/>
                  </a:cxn>
                </a:cxnLst>
                <a:rect l="0" t="0" r="r" b="b"/>
                <a:pathLst>
                  <a:path w="3" h="3">
                    <a:moveTo>
                      <a:pt x="1" y="3"/>
                    </a:moveTo>
                    <a:lnTo>
                      <a:pt x="1" y="3"/>
                    </a:lnTo>
                    <a:cubicBezTo>
                      <a:pt x="3" y="2"/>
                      <a:pt x="3" y="1"/>
                      <a:pt x="3" y="0"/>
                    </a:cubicBezTo>
                    <a:cubicBezTo>
                      <a:pt x="2" y="1"/>
                      <a:pt x="0" y="1"/>
                      <a:pt x="1" y="3"/>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7" name="Freeform 2533"/>
              <p:cNvSpPr>
                <a:spLocks/>
              </p:cNvSpPr>
              <p:nvPr/>
            </p:nvSpPr>
            <p:spPr bwMode="auto">
              <a:xfrm>
                <a:off x="3551238" y="4464051"/>
                <a:ext cx="0"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cubicBezTo>
                      <a:pt x="1" y="0"/>
                      <a:pt x="1" y="0"/>
                      <a:pt x="2" y="0"/>
                    </a:cubicBezTo>
                    <a:cubicBezTo>
                      <a:pt x="1"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8" name="Freeform 2534"/>
              <p:cNvSpPr>
                <a:spLocks/>
              </p:cNvSpPr>
              <p:nvPr/>
            </p:nvSpPr>
            <p:spPr bwMode="auto">
              <a:xfrm>
                <a:off x="3554413" y="4418013"/>
                <a:ext cx="0" cy="0"/>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lnTo>
                      <a:pt x="0" y="1"/>
                    </a:lnTo>
                    <a:cubicBezTo>
                      <a:pt x="0" y="0"/>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9" name="Freeform 2535"/>
              <p:cNvSpPr>
                <a:spLocks/>
              </p:cNvSpPr>
              <p:nvPr/>
            </p:nvSpPr>
            <p:spPr bwMode="auto">
              <a:xfrm>
                <a:off x="3551238" y="4492626"/>
                <a:ext cx="0" cy="1588"/>
              </a:xfrm>
              <a:custGeom>
                <a:avLst/>
                <a:gdLst>
                  <a:gd name="T0" fmla="*/ 1 w 1"/>
                  <a:gd name="T1" fmla="*/ 1 h 7"/>
                  <a:gd name="T2" fmla="*/ 1 w 1"/>
                  <a:gd name="T3" fmla="*/ 1 h 7"/>
                  <a:gd name="T4" fmla="*/ 0 w 1"/>
                  <a:gd name="T5" fmla="*/ 0 h 7"/>
                  <a:gd name="T6" fmla="*/ 1 w 1"/>
                  <a:gd name="T7" fmla="*/ 7 h 7"/>
                  <a:gd name="T8" fmla="*/ 1 w 1"/>
                  <a:gd name="T9" fmla="*/ 1 h 7"/>
                </a:gdLst>
                <a:ahLst/>
                <a:cxnLst>
                  <a:cxn ang="0">
                    <a:pos x="T0" y="T1"/>
                  </a:cxn>
                  <a:cxn ang="0">
                    <a:pos x="T2" y="T3"/>
                  </a:cxn>
                  <a:cxn ang="0">
                    <a:pos x="T4" y="T5"/>
                  </a:cxn>
                  <a:cxn ang="0">
                    <a:pos x="T6" y="T7"/>
                  </a:cxn>
                  <a:cxn ang="0">
                    <a:pos x="T8" y="T9"/>
                  </a:cxn>
                </a:cxnLst>
                <a:rect l="0" t="0" r="r" b="b"/>
                <a:pathLst>
                  <a:path w="1" h="7">
                    <a:moveTo>
                      <a:pt x="1" y="1"/>
                    </a:moveTo>
                    <a:lnTo>
                      <a:pt x="1" y="1"/>
                    </a:lnTo>
                    <a:cubicBezTo>
                      <a:pt x="1" y="1"/>
                      <a:pt x="1" y="1"/>
                      <a:pt x="0" y="0"/>
                    </a:cubicBezTo>
                    <a:cubicBezTo>
                      <a:pt x="1" y="2"/>
                      <a:pt x="1" y="4"/>
                      <a:pt x="1" y="7"/>
                    </a:cubicBezTo>
                    <a:lnTo>
                      <a:pt x="1" y="1"/>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0" name="Freeform 2536"/>
              <p:cNvSpPr>
                <a:spLocks/>
              </p:cNvSpPr>
              <p:nvPr/>
            </p:nvSpPr>
            <p:spPr bwMode="auto">
              <a:xfrm>
                <a:off x="3554413" y="4316413"/>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1" name="Freeform 2537"/>
              <p:cNvSpPr>
                <a:spLocks/>
              </p:cNvSpPr>
              <p:nvPr/>
            </p:nvSpPr>
            <p:spPr bwMode="auto">
              <a:xfrm>
                <a:off x="3554413" y="4375151"/>
                <a:ext cx="0" cy="1588"/>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0" y="2"/>
                      <a:pt x="0" y="1"/>
                      <a:pt x="0" y="0"/>
                    </a:cubicBezTo>
                    <a:cubicBezTo>
                      <a:pt x="0" y="1"/>
                      <a:pt x="0" y="2"/>
                      <a:pt x="1"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2" name="Freeform 2538"/>
              <p:cNvSpPr>
                <a:spLocks/>
              </p:cNvSpPr>
              <p:nvPr/>
            </p:nvSpPr>
            <p:spPr bwMode="auto">
              <a:xfrm>
                <a:off x="3543301" y="4506913"/>
                <a:ext cx="0" cy="1588"/>
              </a:xfrm>
              <a:custGeom>
                <a:avLst/>
                <a:gdLst>
                  <a:gd name="T0" fmla="*/ 0 w 2"/>
                  <a:gd name="T1" fmla="*/ 2 h 2"/>
                  <a:gd name="T2" fmla="*/ 0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0" y="2"/>
                    </a:lnTo>
                    <a:lnTo>
                      <a:pt x="2" y="0"/>
                    </a:lnTo>
                    <a:cubicBezTo>
                      <a:pt x="1" y="0"/>
                      <a:pt x="0" y="1"/>
                      <a:pt x="0"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3" name="Freeform 2539"/>
              <p:cNvSpPr>
                <a:spLocks/>
              </p:cNvSpPr>
              <p:nvPr/>
            </p:nvSpPr>
            <p:spPr bwMode="auto">
              <a:xfrm>
                <a:off x="3548063" y="4535488"/>
                <a:ext cx="0" cy="1588"/>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1"/>
                      <a:pt x="1" y="0"/>
                    </a:cubicBezTo>
                    <a:cubicBezTo>
                      <a:pt x="0" y="0"/>
                      <a:pt x="0"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4" name="Freeform 2540"/>
              <p:cNvSpPr>
                <a:spLocks/>
              </p:cNvSpPr>
              <p:nvPr/>
            </p:nvSpPr>
            <p:spPr bwMode="auto">
              <a:xfrm>
                <a:off x="3549651" y="452437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cubicBezTo>
                      <a:pt x="1" y="2"/>
                      <a:pt x="0" y="1"/>
                      <a:pt x="0" y="0"/>
                    </a:cubicBezTo>
                    <a:cubicBezTo>
                      <a:pt x="0" y="1"/>
                      <a:pt x="0" y="2"/>
                      <a:pt x="1"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5" name="Freeform 2541"/>
              <p:cNvSpPr>
                <a:spLocks/>
              </p:cNvSpPr>
              <p:nvPr/>
            </p:nvSpPr>
            <p:spPr bwMode="auto">
              <a:xfrm>
                <a:off x="3549651" y="4524376"/>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1" y="0"/>
                      <a:pt x="1"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6" name="Freeform 2542"/>
              <p:cNvSpPr>
                <a:spLocks/>
              </p:cNvSpPr>
              <p:nvPr/>
            </p:nvSpPr>
            <p:spPr bwMode="auto">
              <a:xfrm>
                <a:off x="3557588" y="3951288"/>
                <a:ext cx="1588" cy="1588"/>
              </a:xfrm>
              <a:custGeom>
                <a:avLst/>
                <a:gdLst>
                  <a:gd name="T0" fmla="*/ 2 w 2"/>
                  <a:gd name="T1" fmla="*/ 7 h 7"/>
                  <a:gd name="T2" fmla="*/ 2 w 2"/>
                  <a:gd name="T3" fmla="*/ 7 h 7"/>
                  <a:gd name="T4" fmla="*/ 0 w 2"/>
                  <a:gd name="T5" fmla="*/ 0 h 7"/>
                  <a:gd name="T6" fmla="*/ 2 w 2"/>
                  <a:gd name="T7" fmla="*/ 7 h 7"/>
                </a:gdLst>
                <a:ahLst/>
                <a:cxnLst>
                  <a:cxn ang="0">
                    <a:pos x="T0" y="T1"/>
                  </a:cxn>
                  <a:cxn ang="0">
                    <a:pos x="T2" y="T3"/>
                  </a:cxn>
                  <a:cxn ang="0">
                    <a:pos x="T4" y="T5"/>
                  </a:cxn>
                  <a:cxn ang="0">
                    <a:pos x="T6" y="T7"/>
                  </a:cxn>
                </a:cxnLst>
                <a:rect l="0" t="0" r="r" b="b"/>
                <a:pathLst>
                  <a:path w="2" h="7">
                    <a:moveTo>
                      <a:pt x="2" y="7"/>
                    </a:moveTo>
                    <a:lnTo>
                      <a:pt x="2" y="7"/>
                    </a:lnTo>
                    <a:cubicBezTo>
                      <a:pt x="2" y="4"/>
                      <a:pt x="1" y="2"/>
                      <a:pt x="0" y="0"/>
                    </a:cubicBezTo>
                    <a:lnTo>
                      <a:pt x="2" y="7"/>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7" name="Freeform 2543"/>
              <p:cNvSpPr>
                <a:spLocks/>
              </p:cNvSpPr>
              <p:nvPr/>
            </p:nvSpPr>
            <p:spPr bwMode="auto">
              <a:xfrm>
                <a:off x="3549651" y="4225926"/>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lnTo>
                      <a:pt x="1" y="1"/>
                    </a:lnTo>
                    <a:cubicBezTo>
                      <a:pt x="0" y="0"/>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8" name="Freeform 2544"/>
              <p:cNvSpPr>
                <a:spLocks/>
              </p:cNvSpPr>
              <p:nvPr/>
            </p:nvSpPr>
            <p:spPr bwMode="auto">
              <a:xfrm>
                <a:off x="3552826" y="3951288"/>
                <a:ext cx="0" cy="0"/>
              </a:xfrm>
              <a:custGeom>
                <a:avLst/>
                <a:gdLst>
                  <a:gd name="T0" fmla="*/ 0 w 1"/>
                  <a:gd name="T1" fmla="*/ 2 h 2"/>
                  <a:gd name="T2" fmla="*/ 0 w 1"/>
                  <a:gd name="T3" fmla="*/ 2 h 2"/>
                  <a:gd name="T4" fmla="*/ 1 w 1"/>
                  <a:gd name="T5" fmla="*/ 0 h 2"/>
                  <a:gd name="T6" fmla="*/ 0 w 1"/>
                  <a:gd name="T7" fmla="*/ 2 h 2"/>
                </a:gdLst>
                <a:ahLst/>
                <a:cxnLst>
                  <a:cxn ang="0">
                    <a:pos x="T0" y="T1"/>
                  </a:cxn>
                  <a:cxn ang="0">
                    <a:pos x="T2" y="T3"/>
                  </a:cxn>
                  <a:cxn ang="0">
                    <a:pos x="T4" y="T5"/>
                  </a:cxn>
                  <a:cxn ang="0">
                    <a:pos x="T6" y="T7"/>
                  </a:cxn>
                </a:cxnLst>
                <a:rect l="0" t="0" r="r" b="b"/>
                <a:pathLst>
                  <a:path w="1" h="2">
                    <a:moveTo>
                      <a:pt x="0" y="2"/>
                    </a:moveTo>
                    <a:lnTo>
                      <a:pt x="0" y="2"/>
                    </a:lnTo>
                    <a:lnTo>
                      <a:pt x="1" y="0"/>
                    </a:lnTo>
                    <a:cubicBezTo>
                      <a:pt x="1" y="1"/>
                      <a:pt x="0" y="2"/>
                      <a:pt x="0"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9" name="Freeform 2545"/>
              <p:cNvSpPr>
                <a:spLocks/>
              </p:cNvSpPr>
              <p:nvPr/>
            </p:nvSpPr>
            <p:spPr bwMode="auto">
              <a:xfrm>
                <a:off x="3538538" y="4491038"/>
                <a:ext cx="1588" cy="1588"/>
              </a:xfrm>
              <a:custGeom>
                <a:avLst/>
                <a:gdLst>
                  <a:gd name="T0" fmla="*/ 3 w 3"/>
                  <a:gd name="T1" fmla="*/ 8 h 8"/>
                  <a:gd name="T2" fmla="*/ 3 w 3"/>
                  <a:gd name="T3" fmla="*/ 8 h 8"/>
                  <a:gd name="T4" fmla="*/ 1 w 3"/>
                  <a:gd name="T5" fmla="*/ 0 h 8"/>
                  <a:gd name="T6" fmla="*/ 3 w 3"/>
                  <a:gd name="T7" fmla="*/ 8 h 8"/>
                </a:gdLst>
                <a:ahLst/>
                <a:cxnLst>
                  <a:cxn ang="0">
                    <a:pos x="T0" y="T1"/>
                  </a:cxn>
                  <a:cxn ang="0">
                    <a:pos x="T2" y="T3"/>
                  </a:cxn>
                  <a:cxn ang="0">
                    <a:pos x="T4" y="T5"/>
                  </a:cxn>
                  <a:cxn ang="0">
                    <a:pos x="T6" y="T7"/>
                  </a:cxn>
                </a:cxnLst>
                <a:rect l="0" t="0" r="r" b="b"/>
                <a:pathLst>
                  <a:path w="3" h="8">
                    <a:moveTo>
                      <a:pt x="3" y="8"/>
                    </a:moveTo>
                    <a:lnTo>
                      <a:pt x="3" y="8"/>
                    </a:lnTo>
                    <a:cubicBezTo>
                      <a:pt x="1" y="6"/>
                      <a:pt x="3" y="0"/>
                      <a:pt x="1" y="0"/>
                    </a:cubicBezTo>
                    <a:cubicBezTo>
                      <a:pt x="2" y="3"/>
                      <a:pt x="0" y="7"/>
                      <a:pt x="3" y="8"/>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1" name="Freeform 2546"/>
              <p:cNvSpPr>
                <a:spLocks/>
              </p:cNvSpPr>
              <p:nvPr/>
            </p:nvSpPr>
            <p:spPr bwMode="auto">
              <a:xfrm>
                <a:off x="3524251" y="4206876"/>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lnTo>
                      <a:pt x="0" y="0"/>
                    </a:lnTo>
                    <a:cubicBezTo>
                      <a:pt x="0" y="1"/>
                      <a:pt x="0" y="1"/>
                      <a:pt x="1"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2" name="Freeform 2547"/>
              <p:cNvSpPr>
                <a:spLocks/>
              </p:cNvSpPr>
              <p:nvPr/>
            </p:nvSpPr>
            <p:spPr bwMode="auto">
              <a:xfrm>
                <a:off x="3552826" y="3951288"/>
                <a:ext cx="0" cy="1588"/>
              </a:xfrm>
              <a:custGeom>
                <a:avLst/>
                <a:gdLst>
                  <a:gd name="T0" fmla="*/ 0 w 1"/>
                  <a:gd name="T1" fmla="*/ 0 h 2"/>
                  <a:gd name="T2" fmla="*/ 0 w 1"/>
                  <a:gd name="T3" fmla="*/ 0 h 2"/>
                  <a:gd name="T4" fmla="*/ 0 w 1"/>
                  <a:gd name="T5" fmla="*/ 2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0" y="2"/>
                    </a:lnTo>
                    <a:cubicBezTo>
                      <a:pt x="0" y="2"/>
                      <a:pt x="0" y="2"/>
                      <a:pt x="1" y="2"/>
                    </a:cubicBezTo>
                    <a:cubicBezTo>
                      <a:pt x="1" y="1"/>
                      <a:pt x="0" y="1"/>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3" name="Freeform 2548"/>
              <p:cNvSpPr>
                <a:spLocks/>
              </p:cNvSpPr>
              <p:nvPr/>
            </p:nvSpPr>
            <p:spPr bwMode="auto">
              <a:xfrm>
                <a:off x="3548063" y="4132263"/>
                <a:ext cx="0" cy="0"/>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0"/>
                    </a:lnTo>
                    <a:cubicBezTo>
                      <a:pt x="1" y="1"/>
                      <a:pt x="1" y="1"/>
                      <a:pt x="1" y="1"/>
                    </a:cubicBezTo>
                    <a:lnTo>
                      <a:pt x="0"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4" name="Freeform 2549"/>
              <p:cNvSpPr>
                <a:spLocks/>
              </p:cNvSpPr>
              <p:nvPr/>
            </p:nvSpPr>
            <p:spPr bwMode="auto">
              <a:xfrm>
                <a:off x="3549651" y="4127501"/>
                <a:ext cx="0" cy="0"/>
              </a:xfrm>
              <a:custGeom>
                <a:avLst/>
                <a:gdLst>
                  <a:gd name="T0" fmla="*/ 0 h 3"/>
                  <a:gd name="T1" fmla="*/ 0 h 3"/>
                  <a:gd name="T2" fmla="*/ 3 h 3"/>
                  <a:gd name="T3" fmla="*/ 0 h 3"/>
                </a:gdLst>
                <a:ahLst/>
                <a:cxnLst>
                  <a:cxn ang="0">
                    <a:pos x="0" y="T0"/>
                  </a:cxn>
                  <a:cxn ang="0">
                    <a:pos x="0" y="T1"/>
                  </a:cxn>
                  <a:cxn ang="0">
                    <a:pos x="0" y="T2"/>
                  </a:cxn>
                  <a:cxn ang="0">
                    <a:pos x="0" y="T3"/>
                  </a:cxn>
                </a:cxnLst>
                <a:rect l="0" t="0" r="r" b="b"/>
                <a:pathLst>
                  <a:path h="3">
                    <a:moveTo>
                      <a:pt x="0" y="0"/>
                    </a:moveTo>
                    <a:lnTo>
                      <a:pt x="0" y="0"/>
                    </a:lnTo>
                    <a:cubicBezTo>
                      <a:pt x="0" y="1"/>
                      <a:pt x="0" y="2"/>
                      <a:pt x="0" y="3"/>
                    </a:cubicBezTo>
                    <a:cubicBezTo>
                      <a:pt x="0" y="1"/>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6" name="Freeform 2550"/>
              <p:cNvSpPr>
                <a:spLocks/>
              </p:cNvSpPr>
              <p:nvPr/>
            </p:nvSpPr>
            <p:spPr bwMode="auto">
              <a:xfrm>
                <a:off x="3557588" y="3949701"/>
                <a:ext cx="0" cy="1588"/>
              </a:xfrm>
              <a:custGeom>
                <a:avLst/>
                <a:gdLst>
                  <a:gd name="T0" fmla="*/ 1 w 1"/>
                  <a:gd name="T1" fmla="*/ 5 h 5"/>
                  <a:gd name="T2" fmla="*/ 1 w 1"/>
                  <a:gd name="T3" fmla="*/ 5 h 5"/>
                  <a:gd name="T4" fmla="*/ 0 w 1"/>
                  <a:gd name="T5" fmla="*/ 0 h 5"/>
                  <a:gd name="T6" fmla="*/ 1 w 1"/>
                  <a:gd name="T7" fmla="*/ 5 h 5"/>
                </a:gdLst>
                <a:ahLst/>
                <a:cxnLst>
                  <a:cxn ang="0">
                    <a:pos x="T0" y="T1"/>
                  </a:cxn>
                  <a:cxn ang="0">
                    <a:pos x="T2" y="T3"/>
                  </a:cxn>
                  <a:cxn ang="0">
                    <a:pos x="T4" y="T5"/>
                  </a:cxn>
                  <a:cxn ang="0">
                    <a:pos x="T6" y="T7"/>
                  </a:cxn>
                </a:cxnLst>
                <a:rect l="0" t="0" r="r" b="b"/>
                <a:pathLst>
                  <a:path w="1" h="5">
                    <a:moveTo>
                      <a:pt x="1" y="5"/>
                    </a:moveTo>
                    <a:lnTo>
                      <a:pt x="1" y="5"/>
                    </a:lnTo>
                    <a:lnTo>
                      <a:pt x="0" y="0"/>
                    </a:lnTo>
                    <a:cubicBezTo>
                      <a:pt x="0" y="2"/>
                      <a:pt x="0" y="3"/>
                      <a:pt x="1" y="5"/>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7" name="Freeform 2551"/>
              <p:cNvSpPr>
                <a:spLocks/>
              </p:cNvSpPr>
              <p:nvPr/>
            </p:nvSpPr>
            <p:spPr bwMode="auto">
              <a:xfrm>
                <a:off x="3552826" y="4073526"/>
                <a:ext cx="0" cy="0"/>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cubicBezTo>
                      <a:pt x="0" y="0"/>
                      <a:pt x="0" y="1"/>
                      <a:pt x="0" y="2"/>
                    </a:cubicBezTo>
                    <a:cubicBezTo>
                      <a:pt x="0" y="1"/>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8" name="Freeform 2552"/>
              <p:cNvSpPr>
                <a:spLocks/>
              </p:cNvSpPr>
              <p:nvPr/>
            </p:nvSpPr>
            <p:spPr bwMode="auto">
              <a:xfrm>
                <a:off x="3554413" y="4379913"/>
                <a:ext cx="0" cy="0"/>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1"/>
                      <a:pt x="0" y="1"/>
                      <a:pt x="0" y="2"/>
                    </a:cubicBezTo>
                    <a:cubicBezTo>
                      <a:pt x="0" y="2"/>
                      <a:pt x="1" y="2"/>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9" name="Rectangle 2553"/>
              <p:cNvSpPr>
                <a:spLocks noChangeArrowheads="1"/>
              </p:cNvSpPr>
              <p:nvPr/>
            </p:nvSpPr>
            <p:spPr bwMode="auto">
              <a:xfrm>
                <a:off x="3536951" y="4343401"/>
                <a:ext cx="1588" cy="1588"/>
              </a:xfrm>
              <a:prstGeom prst="rect">
                <a:avLst/>
              </a:prstGeom>
              <a:solidFill>
                <a:srgbClr val="6E6F73"/>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0" name="Freeform 2554"/>
              <p:cNvSpPr>
                <a:spLocks/>
              </p:cNvSpPr>
              <p:nvPr/>
            </p:nvSpPr>
            <p:spPr bwMode="auto">
              <a:xfrm>
                <a:off x="3536951" y="4343401"/>
                <a:ext cx="0" cy="1588"/>
              </a:xfrm>
              <a:custGeom>
                <a:avLst/>
                <a:gdLst>
                  <a:gd name="T0" fmla="*/ 2 w 3"/>
                  <a:gd name="T1" fmla="*/ 6 h 6"/>
                  <a:gd name="T2" fmla="*/ 2 w 3"/>
                  <a:gd name="T3" fmla="*/ 6 h 6"/>
                  <a:gd name="T4" fmla="*/ 0 w 3"/>
                  <a:gd name="T5" fmla="*/ 0 h 6"/>
                  <a:gd name="T6" fmla="*/ 2 w 3"/>
                  <a:gd name="T7" fmla="*/ 6 h 6"/>
                </a:gdLst>
                <a:ahLst/>
                <a:cxnLst>
                  <a:cxn ang="0">
                    <a:pos x="T0" y="T1"/>
                  </a:cxn>
                  <a:cxn ang="0">
                    <a:pos x="T2" y="T3"/>
                  </a:cxn>
                  <a:cxn ang="0">
                    <a:pos x="T4" y="T5"/>
                  </a:cxn>
                  <a:cxn ang="0">
                    <a:pos x="T6" y="T7"/>
                  </a:cxn>
                </a:cxnLst>
                <a:rect l="0" t="0" r="r" b="b"/>
                <a:pathLst>
                  <a:path w="3" h="6">
                    <a:moveTo>
                      <a:pt x="2" y="6"/>
                    </a:moveTo>
                    <a:lnTo>
                      <a:pt x="2" y="6"/>
                    </a:lnTo>
                    <a:cubicBezTo>
                      <a:pt x="3" y="4"/>
                      <a:pt x="1" y="1"/>
                      <a:pt x="0" y="0"/>
                    </a:cubicBezTo>
                    <a:cubicBezTo>
                      <a:pt x="0" y="2"/>
                      <a:pt x="0" y="3"/>
                      <a:pt x="2" y="6"/>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1" name="Freeform 2555"/>
              <p:cNvSpPr>
                <a:spLocks/>
              </p:cNvSpPr>
              <p:nvPr/>
            </p:nvSpPr>
            <p:spPr bwMode="auto">
              <a:xfrm>
                <a:off x="3536951" y="4338638"/>
                <a:ext cx="0" cy="1588"/>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0"/>
                      <a:pt x="0" y="1"/>
                    </a:cubicBezTo>
                    <a:cubicBezTo>
                      <a:pt x="0" y="0"/>
                      <a:pt x="0"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2" name="Freeform 2556"/>
              <p:cNvSpPr>
                <a:spLocks/>
              </p:cNvSpPr>
              <p:nvPr/>
            </p:nvSpPr>
            <p:spPr bwMode="auto">
              <a:xfrm>
                <a:off x="3536951" y="4379913"/>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lnTo>
                      <a:pt x="0" y="0"/>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3" name="Freeform 2557"/>
              <p:cNvSpPr>
                <a:spLocks/>
              </p:cNvSpPr>
              <p:nvPr/>
            </p:nvSpPr>
            <p:spPr bwMode="auto">
              <a:xfrm>
                <a:off x="3536951" y="437038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0" y="1"/>
                      <a:pt x="0" y="0"/>
                      <a:pt x="1" y="0"/>
                    </a:cubicBezTo>
                    <a:cubicBezTo>
                      <a:pt x="0" y="0"/>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4" name="Rectangle 2558"/>
              <p:cNvSpPr>
                <a:spLocks noChangeArrowheads="1"/>
              </p:cNvSpPr>
              <p:nvPr/>
            </p:nvSpPr>
            <p:spPr bwMode="auto">
              <a:xfrm>
                <a:off x="3533776" y="4319588"/>
                <a:ext cx="1588" cy="1588"/>
              </a:xfrm>
              <a:prstGeom prst="rect">
                <a:avLst/>
              </a:prstGeom>
              <a:solidFill>
                <a:srgbClr val="6E6F73"/>
              </a:solidFill>
              <a:ln w="0" cap="flat" cmpd="sng" algn="ctr">
                <a:noFill/>
                <a:prstDash val="solid"/>
                <a:miter lim="800000"/>
                <a:headEnd type="none" w="med" len="med"/>
                <a:tailEnd type="none" w="med" len="med"/>
              </a:ln>
              <a:extLst>
                <a:ext uri="{91240B29-F687-4F45-9708-019B960494DF}">
                  <a14:hiddenLine xmlns:a14="http://schemas.microsoft.com/office/drawing/2010/main" w="0" cap="flat" cmpd="sng" algn="ctr">
                    <a:solidFill>
                      <a:srgbClr val="FFFFFF"/>
                    </a:solidFill>
                    <a:prstDash val="solid"/>
                    <a:miter lim="800000"/>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5" name="Freeform 2559"/>
              <p:cNvSpPr>
                <a:spLocks/>
              </p:cNvSpPr>
              <p:nvPr/>
            </p:nvSpPr>
            <p:spPr bwMode="auto">
              <a:xfrm>
                <a:off x="3522663" y="3948113"/>
                <a:ext cx="39688" cy="596900"/>
              </a:xfrm>
              <a:custGeom>
                <a:avLst/>
                <a:gdLst>
                  <a:gd name="T0" fmla="*/ 17 w 125"/>
                  <a:gd name="T1" fmla="*/ 1053 h 1904"/>
                  <a:gd name="T2" fmla="*/ 26 w 125"/>
                  <a:gd name="T3" fmla="*/ 1127 h 1904"/>
                  <a:gd name="T4" fmla="*/ 36 w 125"/>
                  <a:gd name="T5" fmla="*/ 1194 h 1904"/>
                  <a:gd name="T6" fmla="*/ 41 w 125"/>
                  <a:gd name="T7" fmla="*/ 1222 h 1904"/>
                  <a:gd name="T8" fmla="*/ 38 w 125"/>
                  <a:gd name="T9" fmla="*/ 1246 h 1904"/>
                  <a:gd name="T10" fmla="*/ 46 w 125"/>
                  <a:gd name="T11" fmla="*/ 1286 h 1904"/>
                  <a:gd name="T12" fmla="*/ 43 w 125"/>
                  <a:gd name="T13" fmla="*/ 1321 h 1904"/>
                  <a:gd name="T14" fmla="*/ 48 w 125"/>
                  <a:gd name="T15" fmla="*/ 1357 h 1904"/>
                  <a:gd name="T16" fmla="*/ 53 w 125"/>
                  <a:gd name="T17" fmla="*/ 1406 h 1904"/>
                  <a:gd name="T18" fmla="*/ 58 w 125"/>
                  <a:gd name="T19" fmla="*/ 1447 h 1904"/>
                  <a:gd name="T20" fmla="*/ 47 w 125"/>
                  <a:gd name="T21" fmla="*/ 1480 h 1904"/>
                  <a:gd name="T22" fmla="*/ 49 w 125"/>
                  <a:gd name="T23" fmla="*/ 1552 h 1904"/>
                  <a:gd name="T24" fmla="*/ 53 w 125"/>
                  <a:gd name="T25" fmla="*/ 1594 h 1904"/>
                  <a:gd name="T26" fmla="*/ 52 w 125"/>
                  <a:gd name="T27" fmla="*/ 1655 h 1904"/>
                  <a:gd name="T28" fmla="*/ 58 w 125"/>
                  <a:gd name="T29" fmla="*/ 1695 h 1904"/>
                  <a:gd name="T30" fmla="*/ 54 w 125"/>
                  <a:gd name="T31" fmla="*/ 1714 h 1904"/>
                  <a:gd name="T32" fmla="*/ 68 w 125"/>
                  <a:gd name="T33" fmla="*/ 1740 h 1904"/>
                  <a:gd name="T34" fmla="*/ 63 w 125"/>
                  <a:gd name="T35" fmla="*/ 1766 h 1904"/>
                  <a:gd name="T36" fmla="*/ 69 w 125"/>
                  <a:gd name="T37" fmla="*/ 1784 h 1904"/>
                  <a:gd name="T38" fmla="*/ 71 w 125"/>
                  <a:gd name="T39" fmla="*/ 1852 h 1904"/>
                  <a:gd name="T40" fmla="*/ 70 w 125"/>
                  <a:gd name="T41" fmla="*/ 1889 h 1904"/>
                  <a:gd name="T42" fmla="*/ 85 w 125"/>
                  <a:gd name="T43" fmla="*/ 1865 h 1904"/>
                  <a:gd name="T44" fmla="*/ 84 w 125"/>
                  <a:gd name="T45" fmla="*/ 1835 h 1904"/>
                  <a:gd name="T46" fmla="*/ 90 w 125"/>
                  <a:gd name="T47" fmla="*/ 1813 h 1904"/>
                  <a:gd name="T48" fmla="*/ 89 w 125"/>
                  <a:gd name="T49" fmla="*/ 1756 h 1904"/>
                  <a:gd name="T50" fmla="*/ 90 w 125"/>
                  <a:gd name="T51" fmla="*/ 1724 h 1904"/>
                  <a:gd name="T52" fmla="*/ 89 w 125"/>
                  <a:gd name="T53" fmla="*/ 1659 h 1904"/>
                  <a:gd name="T54" fmla="*/ 91 w 125"/>
                  <a:gd name="T55" fmla="*/ 1615 h 1904"/>
                  <a:gd name="T56" fmla="*/ 91 w 125"/>
                  <a:gd name="T57" fmla="*/ 1579 h 1904"/>
                  <a:gd name="T58" fmla="*/ 93 w 125"/>
                  <a:gd name="T59" fmla="*/ 1536 h 1904"/>
                  <a:gd name="T60" fmla="*/ 97 w 125"/>
                  <a:gd name="T61" fmla="*/ 1494 h 1904"/>
                  <a:gd name="T62" fmla="*/ 102 w 125"/>
                  <a:gd name="T63" fmla="*/ 1419 h 1904"/>
                  <a:gd name="T64" fmla="*/ 99 w 125"/>
                  <a:gd name="T65" fmla="*/ 1358 h 1904"/>
                  <a:gd name="T66" fmla="*/ 99 w 125"/>
                  <a:gd name="T67" fmla="*/ 1315 h 1904"/>
                  <a:gd name="T68" fmla="*/ 102 w 125"/>
                  <a:gd name="T69" fmla="*/ 1278 h 1904"/>
                  <a:gd name="T70" fmla="*/ 100 w 125"/>
                  <a:gd name="T71" fmla="*/ 1218 h 1904"/>
                  <a:gd name="T72" fmla="*/ 101 w 125"/>
                  <a:gd name="T73" fmla="*/ 1157 h 1904"/>
                  <a:gd name="T74" fmla="*/ 96 w 125"/>
                  <a:gd name="T75" fmla="*/ 1094 h 1904"/>
                  <a:gd name="T76" fmla="*/ 87 w 125"/>
                  <a:gd name="T77" fmla="*/ 944 h 1904"/>
                  <a:gd name="T78" fmla="*/ 84 w 125"/>
                  <a:gd name="T79" fmla="*/ 884 h 1904"/>
                  <a:gd name="T80" fmla="*/ 84 w 125"/>
                  <a:gd name="T81" fmla="*/ 839 h 1904"/>
                  <a:gd name="T82" fmla="*/ 78 w 125"/>
                  <a:gd name="T83" fmla="*/ 776 h 1904"/>
                  <a:gd name="T84" fmla="*/ 82 w 125"/>
                  <a:gd name="T85" fmla="*/ 635 h 1904"/>
                  <a:gd name="T86" fmla="*/ 82 w 125"/>
                  <a:gd name="T87" fmla="*/ 534 h 1904"/>
                  <a:gd name="T88" fmla="*/ 94 w 125"/>
                  <a:gd name="T89" fmla="*/ 398 h 1904"/>
                  <a:gd name="T90" fmla="*/ 109 w 125"/>
                  <a:gd name="T91" fmla="*/ 2 h 1904"/>
                  <a:gd name="T92" fmla="*/ 97 w 125"/>
                  <a:gd name="T93" fmla="*/ 30 h 1904"/>
                  <a:gd name="T94" fmla="*/ 89 w 125"/>
                  <a:gd name="T95" fmla="*/ 44 h 1904"/>
                  <a:gd name="T96" fmla="*/ 74 w 125"/>
                  <a:gd name="T97" fmla="*/ 92 h 1904"/>
                  <a:gd name="T98" fmla="*/ 35 w 125"/>
                  <a:gd name="T99" fmla="*/ 246 h 1904"/>
                  <a:gd name="T100" fmla="*/ 7 w 125"/>
                  <a:gd name="T101" fmla="*/ 574 h 1904"/>
                  <a:gd name="T102" fmla="*/ 6 w 125"/>
                  <a:gd name="T103" fmla="*/ 618 h 1904"/>
                  <a:gd name="T104" fmla="*/ 2 w 125"/>
                  <a:gd name="T105" fmla="*/ 759 h 1904"/>
                  <a:gd name="T106" fmla="*/ 10 w 125"/>
                  <a:gd name="T107" fmla="*/ 820 h 1904"/>
                  <a:gd name="T108" fmla="*/ 6 w 125"/>
                  <a:gd name="T109" fmla="*/ 883 h 1904"/>
                  <a:gd name="T110" fmla="*/ 5 w 125"/>
                  <a:gd name="T111" fmla="*/ 945 h 1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1904">
                    <a:moveTo>
                      <a:pt x="5" y="945"/>
                    </a:moveTo>
                    <a:lnTo>
                      <a:pt x="5" y="945"/>
                    </a:lnTo>
                    <a:cubicBezTo>
                      <a:pt x="7" y="969"/>
                      <a:pt x="13" y="1000"/>
                      <a:pt x="13" y="1024"/>
                    </a:cubicBezTo>
                    <a:cubicBezTo>
                      <a:pt x="18" y="1029"/>
                      <a:pt x="18" y="1036"/>
                      <a:pt x="20" y="1044"/>
                    </a:cubicBezTo>
                    <a:lnTo>
                      <a:pt x="14" y="1045"/>
                    </a:lnTo>
                    <a:lnTo>
                      <a:pt x="17" y="1051"/>
                    </a:lnTo>
                    <a:cubicBezTo>
                      <a:pt x="15" y="1054"/>
                      <a:pt x="15" y="1046"/>
                      <a:pt x="13" y="1051"/>
                    </a:cubicBezTo>
                    <a:lnTo>
                      <a:pt x="17" y="1053"/>
                    </a:lnTo>
                    <a:cubicBezTo>
                      <a:pt x="15" y="1054"/>
                      <a:pt x="17" y="1070"/>
                      <a:pt x="12" y="1059"/>
                    </a:cubicBezTo>
                    <a:lnTo>
                      <a:pt x="14" y="1084"/>
                    </a:lnTo>
                    <a:cubicBezTo>
                      <a:pt x="14" y="1089"/>
                      <a:pt x="18" y="1087"/>
                      <a:pt x="17" y="1093"/>
                    </a:cubicBezTo>
                    <a:cubicBezTo>
                      <a:pt x="16" y="1094"/>
                      <a:pt x="16" y="1091"/>
                      <a:pt x="14" y="1091"/>
                    </a:cubicBezTo>
                    <a:cubicBezTo>
                      <a:pt x="11" y="1110"/>
                      <a:pt x="26" y="1111"/>
                      <a:pt x="24" y="1128"/>
                    </a:cubicBezTo>
                    <a:lnTo>
                      <a:pt x="24" y="1127"/>
                    </a:lnTo>
                    <a:cubicBezTo>
                      <a:pt x="25" y="1130"/>
                      <a:pt x="25" y="1135"/>
                      <a:pt x="26" y="1135"/>
                    </a:cubicBezTo>
                    <a:cubicBezTo>
                      <a:pt x="32" y="1133"/>
                      <a:pt x="23" y="1132"/>
                      <a:pt x="26" y="1127"/>
                    </a:cubicBezTo>
                    <a:cubicBezTo>
                      <a:pt x="31" y="1127"/>
                      <a:pt x="29" y="1133"/>
                      <a:pt x="32" y="1133"/>
                    </a:cubicBezTo>
                    <a:cubicBezTo>
                      <a:pt x="31" y="1137"/>
                      <a:pt x="34" y="1139"/>
                      <a:pt x="34" y="1142"/>
                    </a:cubicBezTo>
                    <a:cubicBezTo>
                      <a:pt x="32" y="1148"/>
                      <a:pt x="34" y="1157"/>
                      <a:pt x="31" y="1161"/>
                    </a:cubicBezTo>
                    <a:cubicBezTo>
                      <a:pt x="32" y="1164"/>
                      <a:pt x="37" y="1167"/>
                      <a:pt x="38" y="1173"/>
                    </a:cubicBezTo>
                    <a:cubicBezTo>
                      <a:pt x="34" y="1178"/>
                      <a:pt x="34" y="1172"/>
                      <a:pt x="33" y="1178"/>
                    </a:cubicBezTo>
                    <a:lnTo>
                      <a:pt x="36" y="1179"/>
                    </a:lnTo>
                    <a:cubicBezTo>
                      <a:pt x="36" y="1184"/>
                      <a:pt x="35" y="1183"/>
                      <a:pt x="34" y="1183"/>
                    </a:cubicBezTo>
                    <a:cubicBezTo>
                      <a:pt x="34" y="1189"/>
                      <a:pt x="38" y="1187"/>
                      <a:pt x="36" y="1194"/>
                    </a:cubicBezTo>
                    <a:lnTo>
                      <a:pt x="34" y="1191"/>
                    </a:lnTo>
                    <a:cubicBezTo>
                      <a:pt x="35" y="1195"/>
                      <a:pt x="34" y="1197"/>
                      <a:pt x="35" y="1204"/>
                    </a:cubicBezTo>
                    <a:cubicBezTo>
                      <a:pt x="33" y="1204"/>
                      <a:pt x="33" y="1201"/>
                      <a:pt x="33" y="1199"/>
                    </a:cubicBezTo>
                    <a:cubicBezTo>
                      <a:pt x="30" y="1203"/>
                      <a:pt x="35" y="1206"/>
                      <a:pt x="35" y="1208"/>
                    </a:cubicBezTo>
                    <a:cubicBezTo>
                      <a:pt x="36" y="1207"/>
                      <a:pt x="37" y="1202"/>
                      <a:pt x="39" y="1204"/>
                    </a:cubicBezTo>
                    <a:cubicBezTo>
                      <a:pt x="39" y="1208"/>
                      <a:pt x="43" y="1211"/>
                      <a:pt x="40" y="1214"/>
                    </a:cubicBezTo>
                    <a:lnTo>
                      <a:pt x="38" y="1210"/>
                    </a:lnTo>
                    <a:cubicBezTo>
                      <a:pt x="40" y="1217"/>
                      <a:pt x="41" y="1214"/>
                      <a:pt x="41" y="1222"/>
                    </a:cubicBezTo>
                    <a:cubicBezTo>
                      <a:pt x="40" y="1222"/>
                      <a:pt x="40" y="1222"/>
                      <a:pt x="39" y="1222"/>
                    </a:cubicBezTo>
                    <a:cubicBezTo>
                      <a:pt x="43" y="1227"/>
                      <a:pt x="40" y="1234"/>
                      <a:pt x="40" y="1241"/>
                    </a:cubicBezTo>
                    <a:lnTo>
                      <a:pt x="39" y="1240"/>
                    </a:lnTo>
                    <a:cubicBezTo>
                      <a:pt x="41" y="1243"/>
                      <a:pt x="43" y="1244"/>
                      <a:pt x="43" y="1246"/>
                    </a:cubicBezTo>
                    <a:cubicBezTo>
                      <a:pt x="44" y="1242"/>
                      <a:pt x="45" y="1243"/>
                      <a:pt x="48" y="1242"/>
                    </a:cubicBezTo>
                    <a:cubicBezTo>
                      <a:pt x="44" y="1248"/>
                      <a:pt x="53" y="1251"/>
                      <a:pt x="51" y="1260"/>
                    </a:cubicBezTo>
                    <a:cubicBezTo>
                      <a:pt x="50" y="1260"/>
                      <a:pt x="48" y="1258"/>
                      <a:pt x="49" y="1255"/>
                    </a:cubicBezTo>
                    <a:cubicBezTo>
                      <a:pt x="44" y="1252"/>
                      <a:pt x="40" y="1252"/>
                      <a:pt x="38" y="1246"/>
                    </a:cubicBezTo>
                    <a:cubicBezTo>
                      <a:pt x="39" y="1250"/>
                      <a:pt x="40" y="1254"/>
                      <a:pt x="38" y="1253"/>
                    </a:cubicBezTo>
                    <a:lnTo>
                      <a:pt x="42" y="1254"/>
                    </a:lnTo>
                    <a:cubicBezTo>
                      <a:pt x="43" y="1256"/>
                      <a:pt x="43" y="1258"/>
                      <a:pt x="43" y="1260"/>
                    </a:cubicBezTo>
                    <a:cubicBezTo>
                      <a:pt x="45" y="1260"/>
                      <a:pt x="47" y="1255"/>
                      <a:pt x="49" y="1260"/>
                    </a:cubicBezTo>
                    <a:cubicBezTo>
                      <a:pt x="50" y="1265"/>
                      <a:pt x="45" y="1263"/>
                      <a:pt x="47" y="1264"/>
                    </a:cubicBezTo>
                    <a:cubicBezTo>
                      <a:pt x="49" y="1271"/>
                      <a:pt x="51" y="1267"/>
                      <a:pt x="50" y="1274"/>
                    </a:cubicBezTo>
                    <a:cubicBezTo>
                      <a:pt x="50" y="1273"/>
                      <a:pt x="49" y="1272"/>
                      <a:pt x="49" y="1271"/>
                    </a:cubicBezTo>
                    <a:cubicBezTo>
                      <a:pt x="48" y="1277"/>
                      <a:pt x="51" y="1284"/>
                      <a:pt x="46" y="1286"/>
                    </a:cubicBezTo>
                    <a:cubicBezTo>
                      <a:pt x="45" y="1285"/>
                      <a:pt x="43" y="1285"/>
                      <a:pt x="44" y="1283"/>
                    </a:cubicBezTo>
                    <a:lnTo>
                      <a:pt x="44" y="1283"/>
                    </a:lnTo>
                    <a:cubicBezTo>
                      <a:pt x="40" y="1278"/>
                      <a:pt x="46" y="1288"/>
                      <a:pt x="41" y="1287"/>
                    </a:cubicBezTo>
                    <a:cubicBezTo>
                      <a:pt x="44" y="1286"/>
                      <a:pt x="43" y="1294"/>
                      <a:pt x="43" y="1297"/>
                    </a:cubicBezTo>
                    <a:lnTo>
                      <a:pt x="46" y="1296"/>
                    </a:lnTo>
                    <a:cubicBezTo>
                      <a:pt x="56" y="1306"/>
                      <a:pt x="40" y="1295"/>
                      <a:pt x="42" y="1306"/>
                    </a:cubicBezTo>
                    <a:cubicBezTo>
                      <a:pt x="44" y="1313"/>
                      <a:pt x="42" y="1304"/>
                      <a:pt x="45" y="1308"/>
                    </a:cubicBezTo>
                    <a:cubicBezTo>
                      <a:pt x="44" y="1313"/>
                      <a:pt x="42" y="1314"/>
                      <a:pt x="43" y="1321"/>
                    </a:cubicBezTo>
                    <a:cubicBezTo>
                      <a:pt x="42" y="1323"/>
                      <a:pt x="41" y="1327"/>
                      <a:pt x="37" y="1328"/>
                    </a:cubicBezTo>
                    <a:cubicBezTo>
                      <a:pt x="39" y="1332"/>
                      <a:pt x="36" y="1341"/>
                      <a:pt x="40" y="1343"/>
                    </a:cubicBezTo>
                    <a:cubicBezTo>
                      <a:pt x="42" y="1336"/>
                      <a:pt x="36" y="1336"/>
                      <a:pt x="40" y="1327"/>
                    </a:cubicBezTo>
                    <a:lnTo>
                      <a:pt x="43" y="1329"/>
                    </a:lnTo>
                    <a:cubicBezTo>
                      <a:pt x="44" y="1335"/>
                      <a:pt x="46" y="1343"/>
                      <a:pt x="45" y="1347"/>
                    </a:cubicBezTo>
                    <a:cubicBezTo>
                      <a:pt x="45" y="1346"/>
                      <a:pt x="46" y="1345"/>
                      <a:pt x="47" y="1346"/>
                    </a:cubicBezTo>
                    <a:cubicBezTo>
                      <a:pt x="48" y="1354"/>
                      <a:pt x="52" y="1356"/>
                      <a:pt x="51" y="1364"/>
                    </a:cubicBezTo>
                    <a:cubicBezTo>
                      <a:pt x="48" y="1366"/>
                      <a:pt x="48" y="1361"/>
                      <a:pt x="48" y="1357"/>
                    </a:cubicBezTo>
                    <a:cubicBezTo>
                      <a:pt x="46" y="1363"/>
                      <a:pt x="48" y="1363"/>
                      <a:pt x="47" y="1371"/>
                    </a:cubicBezTo>
                    <a:cubicBezTo>
                      <a:pt x="45" y="1371"/>
                      <a:pt x="47" y="1366"/>
                      <a:pt x="45" y="1365"/>
                    </a:cubicBezTo>
                    <a:lnTo>
                      <a:pt x="46" y="1374"/>
                    </a:lnTo>
                    <a:cubicBezTo>
                      <a:pt x="46" y="1374"/>
                      <a:pt x="45" y="1374"/>
                      <a:pt x="45" y="1374"/>
                    </a:cubicBezTo>
                    <a:cubicBezTo>
                      <a:pt x="50" y="1375"/>
                      <a:pt x="45" y="1380"/>
                      <a:pt x="47" y="1386"/>
                    </a:cubicBezTo>
                    <a:cubicBezTo>
                      <a:pt x="47" y="1399"/>
                      <a:pt x="53" y="1400"/>
                      <a:pt x="57" y="1407"/>
                    </a:cubicBezTo>
                    <a:cubicBezTo>
                      <a:pt x="56" y="1409"/>
                      <a:pt x="55" y="1410"/>
                      <a:pt x="53" y="1409"/>
                    </a:cubicBezTo>
                    <a:cubicBezTo>
                      <a:pt x="55" y="1406"/>
                      <a:pt x="54" y="1407"/>
                      <a:pt x="53" y="1406"/>
                    </a:cubicBezTo>
                    <a:cubicBezTo>
                      <a:pt x="53" y="1410"/>
                      <a:pt x="48" y="1415"/>
                      <a:pt x="46" y="1413"/>
                    </a:cubicBezTo>
                    <a:cubicBezTo>
                      <a:pt x="48" y="1420"/>
                      <a:pt x="49" y="1410"/>
                      <a:pt x="50" y="1414"/>
                    </a:cubicBezTo>
                    <a:lnTo>
                      <a:pt x="50" y="1424"/>
                    </a:lnTo>
                    <a:cubicBezTo>
                      <a:pt x="53" y="1423"/>
                      <a:pt x="53" y="1419"/>
                      <a:pt x="55" y="1424"/>
                    </a:cubicBezTo>
                    <a:cubicBezTo>
                      <a:pt x="56" y="1428"/>
                      <a:pt x="55" y="1430"/>
                      <a:pt x="55" y="1436"/>
                    </a:cubicBezTo>
                    <a:cubicBezTo>
                      <a:pt x="54" y="1435"/>
                      <a:pt x="51" y="1437"/>
                      <a:pt x="52" y="1433"/>
                    </a:cubicBezTo>
                    <a:cubicBezTo>
                      <a:pt x="51" y="1436"/>
                      <a:pt x="51" y="1440"/>
                      <a:pt x="53" y="1441"/>
                    </a:cubicBezTo>
                    <a:cubicBezTo>
                      <a:pt x="55" y="1436"/>
                      <a:pt x="55" y="1451"/>
                      <a:pt x="58" y="1447"/>
                    </a:cubicBezTo>
                    <a:lnTo>
                      <a:pt x="56" y="1452"/>
                    </a:lnTo>
                    <a:cubicBezTo>
                      <a:pt x="56" y="1451"/>
                      <a:pt x="55" y="1451"/>
                      <a:pt x="55" y="1449"/>
                    </a:cubicBezTo>
                    <a:cubicBezTo>
                      <a:pt x="52" y="1451"/>
                      <a:pt x="56" y="1454"/>
                      <a:pt x="57" y="1456"/>
                    </a:cubicBezTo>
                    <a:cubicBezTo>
                      <a:pt x="56" y="1458"/>
                      <a:pt x="56" y="1463"/>
                      <a:pt x="54" y="1464"/>
                    </a:cubicBezTo>
                    <a:cubicBezTo>
                      <a:pt x="55" y="1465"/>
                      <a:pt x="54" y="1470"/>
                      <a:pt x="52" y="1470"/>
                    </a:cubicBezTo>
                    <a:cubicBezTo>
                      <a:pt x="53" y="1473"/>
                      <a:pt x="55" y="1471"/>
                      <a:pt x="56" y="1472"/>
                    </a:cubicBezTo>
                    <a:lnTo>
                      <a:pt x="55" y="1481"/>
                    </a:lnTo>
                    <a:cubicBezTo>
                      <a:pt x="53" y="1481"/>
                      <a:pt x="47" y="1481"/>
                      <a:pt x="47" y="1480"/>
                    </a:cubicBezTo>
                    <a:cubicBezTo>
                      <a:pt x="48" y="1483"/>
                      <a:pt x="52" y="1482"/>
                      <a:pt x="52" y="1487"/>
                    </a:cubicBezTo>
                    <a:cubicBezTo>
                      <a:pt x="48" y="1483"/>
                      <a:pt x="49" y="1494"/>
                      <a:pt x="44" y="1489"/>
                    </a:cubicBezTo>
                    <a:cubicBezTo>
                      <a:pt x="41" y="1492"/>
                      <a:pt x="41" y="1501"/>
                      <a:pt x="41" y="1506"/>
                    </a:cubicBezTo>
                    <a:cubicBezTo>
                      <a:pt x="44" y="1510"/>
                      <a:pt x="44" y="1501"/>
                      <a:pt x="47" y="1501"/>
                    </a:cubicBezTo>
                    <a:cubicBezTo>
                      <a:pt x="47" y="1516"/>
                      <a:pt x="56" y="1517"/>
                      <a:pt x="54" y="1527"/>
                    </a:cubicBezTo>
                    <a:lnTo>
                      <a:pt x="55" y="1525"/>
                    </a:lnTo>
                    <a:cubicBezTo>
                      <a:pt x="56" y="1531"/>
                      <a:pt x="56" y="1530"/>
                      <a:pt x="58" y="1534"/>
                    </a:cubicBezTo>
                    <a:cubicBezTo>
                      <a:pt x="55" y="1532"/>
                      <a:pt x="48" y="1541"/>
                      <a:pt x="49" y="1552"/>
                    </a:cubicBezTo>
                    <a:cubicBezTo>
                      <a:pt x="51" y="1553"/>
                      <a:pt x="52" y="1546"/>
                      <a:pt x="55" y="1548"/>
                    </a:cubicBezTo>
                    <a:lnTo>
                      <a:pt x="56" y="1555"/>
                    </a:lnTo>
                    <a:cubicBezTo>
                      <a:pt x="56" y="1555"/>
                      <a:pt x="55" y="1554"/>
                      <a:pt x="55" y="1554"/>
                    </a:cubicBezTo>
                    <a:cubicBezTo>
                      <a:pt x="56" y="1560"/>
                      <a:pt x="50" y="1565"/>
                      <a:pt x="54" y="1567"/>
                    </a:cubicBezTo>
                    <a:lnTo>
                      <a:pt x="49" y="1573"/>
                    </a:lnTo>
                    <a:lnTo>
                      <a:pt x="51" y="1571"/>
                    </a:lnTo>
                    <a:cubicBezTo>
                      <a:pt x="53" y="1572"/>
                      <a:pt x="54" y="1579"/>
                      <a:pt x="54" y="1580"/>
                    </a:cubicBezTo>
                    <a:cubicBezTo>
                      <a:pt x="57" y="1587"/>
                      <a:pt x="55" y="1590"/>
                      <a:pt x="53" y="1594"/>
                    </a:cubicBezTo>
                    <a:cubicBezTo>
                      <a:pt x="54" y="1592"/>
                      <a:pt x="58" y="1589"/>
                      <a:pt x="58" y="1595"/>
                    </a:cubicBezTo>
                    <a:cubicBezTo>
                      <a:pt x="52" y="1595"/>
                      <a:pt x="56" y="1607"/>
                      <a:pt x="53" y="1607"/>
                    </a:cubicBezTo>
                    <a:cubicBezTo>
                      <a:pt x="53" y="1609"/>
                      <a:pt x="52" y="1613"/>
                      <a:pt x="54" y="1613"/>
                    </a:cubicBezTo>
                    <a:lnTo>
                      <a:pt x="50" y="1613"/>
                    </a:lnTo>
                    <a:cubicBezTo>
                      <a:pt x="56" y="1613"/>
                      <a:pt x="56" y="1621"/>
                      <a:pt x="57" y="1628"/>
                    </a:cubicBezTo>
                    <a:cubicBezTo>
                      <a:pt x="50" y="1627"/>
                      <a:pt x="58" y="1635"/>
                      <a:pt x="51" y="1638"/>
                    </a:cubicBezTo>
                    <a:cubicBezTo>
                      <a:pt x="56" y="1639"/>
                      <a:pt x="54" y="1649"/>
                      <a:pt x="58" y="1650"/>
                    </a:cubicBezTo>
                    <a:cubicBezTo>
                      <a:pt x="59" y="1654"/>
                      <a:pt x="54" y="1654"/>
                      <a:pt x="52" y="1655"/>
                    </a:cubicBezTo>
                    <a:lnTo>
                      <a:pt x="54" y="1658"/>
                    </a:lnTo>
                    <a:cubicBezTo>
                      <a:pt x="52" y="1660"/>
                      <a:pt x="52" y="1669"/>
                      <a:pt x="51" y="1675"/>
                    </a:cubicBezTo>
                    <a:lnTo>
                      <a:pt x="56" y="1680"/>
                    </a:lnTo>
                    <a:lnTo>
                      <a:pt x="54" y="1682"/>
                    </a:lnTo>
                    <a:cubicBezTo>
                      <a:pt x="55" y="1682"/>
                      <a:pt x="56" y="1686"/>
                      <a:pt x="57" y="1684"/>
                    </a:cubicBezTo>
                    <a:lnTo>
                      <a:pt x="57" y="1686"/>
                    </a:lnTo>
                    <a:cubicBezTo>
                      <a:pt x="62" y="1686"/>
                      <a:pt x="59" y="1690"/>
                      <a:pt x="61" y="1695"/>
                    </a:cubicBezTo>
                    <a:cubicBezTo>
                      <a:pt x="60" y="1697"/>
                      <a:pt x="59" y="1697"/>
                      <a:pt x="58" y="1695"/>
                    </a:cubicBezTo>
                    <a:cubicBezTo>
                      <a:pt x="59" y="1698"/>
                      <a:pt x="56" y="1697"/>
                      <a:pt x="55" y="1699"/>
                    </a:cubicBezTo>
                    <a:cubicBezTo>
                      <a:pt x="56" y="1697"/>
                      <a:pt x="64" y="1708"/>
                      <a:pt x="65" y="1700"/>
                    </a:cubicBezTo>
                    <a:cubicBezTo>
                      <a:pt x="67" y="1700"/>
                      <a:pt x="69" y="1704"/>
                      <a:pt x="68" y="1707"/>
                    </a:cubicBezTo>
                    <a:lnTo>
                      <a:pt x="64" y="1709"/>
                    </a:lnTo>
                    <a:lnTo>
                      <a:pt x="69" y="1711"/>
                    </a:lnTo>
                    <a:cubicBezTo>
                      <a:pt x="70" y="1716"/>
                      <a:pt x="67" y="1718"/>
                      <a:pt x="67" y="1721"/>
                    </a:cubicBezTo>
                    <a:cubicBezTo>
                      <a:pt x="66" y="1718"/>
                      <a:pt x="58" y="1714"/>
                      <a:pt x="59" y="1723"/>
                    </a:cubicBezTo>
                    <a:cubicBezTo>
                      <a:pt x="58" y="1718"/>
                      <a:pt x="55" y="1716"/>
                      <a:pt x="54" y="1714"/>
                    </a:cubicBezTo>
                    <a:cubicBezTo>
                      <a:pt x="54" y="1715"/>
                      <a:pt x="54" y="1716"/>
                      <a:pt x="52" y="1714"/>
                    </a:cubicBezTo>
                    <a:cubicBezTo>
                      <a:pt x="54" y="1720"/>
                      <a:pt x="55" y="1716"/>
                      <a:pt x="56" y="1723"/>
                    </a:cubicBezTo>
                    <a:cubicBezTo>
                      <a:pt x="52" y="1722"/>
                      <a:pt x="51" y="1725"/>
                      <a:pt x="50" y="1731"/>
                    </a:cubicBezTo>
                    <a:lnTo>
                      <a:pt x="52" y="1726"/>
                    </a:lnTo>
                    <a:cubicBezTo>
                      <a:pt x="53" y="1726"/>
                      <a:pt x="53" y="1726"/>
                      <a:pt x="53" y="1727"/>
                    </a:cubicBezTo>
                    <a:cubicBezTo>
                      <a:pt x="54" y="1725"/>
                      <a:pt x="54" y="1724"/>
                      <a:pt x="56" y="1724"/>
                    </a:cubicBezTo>
                    <a:cubicBezTo>
                      <a:pt x="56" y="1725"/>
                      <a:pt x="61" y="1732"/>
                      <a:pt x="59" y="1733"/>
                    </a:cubicBezTo>
                    <a:cubicBezTo>
                      <a:pt x="64" y="1726"/>
                      <a:pt x="64" y="1745"/>
                      <a:pt x="68" y="1740"/>
                    </a:cubicBezTo>
                    <a:cubicBezTo>
                      <a:pt x="69" y="1741"/>
                      <a:pt x="69" y="1746"/>
                      <a:pt x="67" y="1746"/>
                    </a:cubicBezTo>
                    <a:cubicBezTo>
                      <a:pt x="64" y="1741"/>
                      <a:pt x="63" y="1751"/>
                      <a:pt x="61" y="1750"/>
                    </a:cubicBezTo>
                    <a:cubicBezTo>
                      <a:pt x="62" y="1752"/>
                      <a:pt x="63" y="1745"/>
                      <a:pt x="65" y="1748"/>
                    </a:cubicBezTo>
                    <a:cubicBezTo>
                      <a:pt x="65" y="1752"/>
                      <a:pt x="63" y="1754"/>
                      <a:pt x="62" y="1756"/>
                    </a:cubicBezTo>
                    <a:lnTo>
                      <a:pt x="61" y="1755"/>
                    </a:lnTo>
                    <a:lnTo>
                      <a:pt x="60" y="1760"/>
                    </a:lnTo>
                    <a:cubicBezTo>
                      <a:pt x="62" y="1761"/>
                      <a:pt x="63" y="1755"/>
                      <a:pt x="64" y="1760"/>
                    </a:cubicBezTo>
                    <a:cubicBezTo>
                      <a:pt x="63" y="1761"/>
                      <a:pt x="65" y="1766"/>
                      <a:pt x="63" y="1766"/>
                    </a:cubicBezTo>
                    <a:cubicBezTo>
                      <a:pt x="60" y="1764"/>
                      <a:pt x="57" y="1766"/>
                      <a:pt x="56" y="1762"/>
                    </a:cubicBezTo>
                    <a:cubicBezTo>
                      <a:pt x="57" y="1765"/>
                      <a:pt x="58" y="1776"/>
                      <a:pt x="61" y="1771"/>
                    </a:cubicBezTo>
                    <a:lnTo>
                      <a:pt x="61" y="1775"/>
                    </a:lnTo>
                    <a:cubicBezTo>
                      <a:pt x="63" y="1773"/>
                      <a:pt x="65" y="1765"/>
                      <a:pt x="66" y="1773"/>
                    </a:cubicBezTo>
                    <a:lnTo>
                      <a:pt x="65" y="1773"/>
                    </a:lnTo>
                    <a:lnTo>
                      <a:pt x="69" y="1779"/>
                    </a:lnTo>
                    <a:lnTo>
                      <a:pt x="67" y="1782"/>
                    </a:lnTo>
                    <a:cubicBezTo>
                      <a:pt x="68" y="1781"/>
                      <a:pt x="69" y="1782"/>
                      <a:pt x="69" y="1784"/>
                    </a:cubicBezTo>
                    <a:cubicBezTo>
                      <a:pt x="68" y="1785"/>
                      <a:pt x="68" y="1787"/>
                      <a:pt x="66" y="1787"/>
                    </a:cubicBezTo>
                    <a:cubicBezTo>
                      <a:pt x="67" y="1793"/>
                      <a:pt x="69" y="1793"/>
                      <a:pt x="70" y="1793"/>
                    </a:cubicBezTo>
                    <a:cubicBezTo>
                      <a:pt x="70" y="1797"/>
                      <a:pt x="70" y="1798"/>
                      <a:pt x="67" y="1797"/>
                    </a:cubicBezTo>
                    <a:cubicBezTo>
                      <a:pt x="67" y="1801"/>
                      <a:pt x="68" y="1810"/>
                      <a:pt x="67" y="1813"/>
                    </a:cubicBezTo>
                    <a:cubicBezTo>
                      <a:pt x="69" y="1819"/>
                      <a:pt x="67" y="1812"/>
                      <a:pt x="70" y="1815"/>
                    </a:cubicBezTo>
                    <a:cubicBezTo>
                      <a:pt x="64" y="1821"/>
                      <a:pt x="69" y="1836"/>
                      <a:pt x="71" y="1846"/>
                    </a:cubicBezTo>
                    <a:cubicBezTo>
                      <a:pt x="77" y="1843"/>
                      <a:pt x="72" y="1849"/>
                      <a:pt x="77" y="1851"/>
                    </a:cubicBezTo>
                    <a:cubicBezTo>
                      <a:pt x="75" y="1848"/>
                      <a:pt x="74" y="1861"/>
                      <a:pt x="71" y="1852"/>
                    </a:cubicBezTo>
                    <a:lnTo>
                      <a:pt x="72" y="1857"/>
                    </a:lnTo>
                    <a:cubicBezTo>
                      <a:pt x="70" y="1861"/>
                      <a:pt x="69" y="1848"/>
                      <a:pt x="65" y="1855"/>
                    </a:cubicBezTo>
                    <a:cubicBezTo>
                      <a:pt x="66" y="1861"/>
                      <a:pt x="73" y="1864"/>
                      <a:pt x="71" y="1872"/>
                    </a:cubicBezTo>
                    <a:cubicBezTo>
                      <a:pt x="67" y="1870"/>
                      <a:pt x="73" y="1877"/>
                      <a:pt x="68" y="1876"/>
                    </a:cubicBezTo>
                    <a:cubicBezTo>
                      <a:pt x="67" y="1874"/>
                      <a:pt x="67" y="1872"/>
                      <a:pt x="67" y="1870"/>
                    </a:cubicBezTo>
                    <a:lnTo>
                      <a:pt x="66" y="1872"/>
                    </a:lnTo>
                    <a:cubicBezTo>
                      <a:pt x="66" y="1885"/>
                      <a:pt x="71" y="1875"/>
                      <a:pt x="75" y="1882"/>
                    </a:cubicBezTo>
                    <a:cubicBezTo>
                      <a:pt x="76" y="1890"/>
                      <a:pt x="72" y="1889"/>
                      <a:pt x="70" y="1889"/>
                    </a:cubicBezTo>
                    <a:cubicBezTo>
                      <a:pt x="69" y="1891"/>
                      <a:pt x="70" y="1895"/>
                      <a:pt x="72" y="1897"/>
                    </a:cubicBezTo>
                    <a:cubicBezTo>
                      <a:pt x="69" y="1892"/>
                      <a:pt x="73" y="1887"/>
                      <a:pt x="76" y="1889"/>
                    </a:cubicBezTo>
                    <a:cubicBezTo>
                      <a:pt x="72" y="1893"/>
                      <a:pt x="77" y="1902"/>
                      <a:pt x="79" y="1904"/>
                    </a:cubicBezTo>
                    <a:cubicBezTo>
                      <a:pt x="83" y="1891"/>
                      <a:pt x="79" y="1896"/>
                      <a:pt x="83" y="1884"/>
                    </a:cubicBezTo>
                    <a:cubicBezTo>
                      <a:pt x="81" y="1883"/>
                      <a:pt x="77" y="1883"/>
                      <a:pt x="78" y="1876"/>
                    </a:cubicBezTo>
                    <a:cubicBezTo>
                      <a:pt x="81" y="1880"/>
                      <a:pt x="81" y="1876"/>
                      <a:pt x="81" y="1875"/>
                    </a:cubicBezTo>
                    <a:cubicBezTo>
                      <a:pt x="79" y="1876"/>
                      <a:pt x="80" y="1870"/>
                      <a:pt x="79" y="1868"/>
                    </a:cubicBezTo>
                    <a:cubicBezTo>
                      <a:pt x="80" y="1866"/>
                      <a:pt x="85" y="1872"/>
                      <a:pt x="85" y="1865"/>
                    </a:cubicBezTo>
                    <a:lnTo>
                      <a:pt x="79" y="1864"/>
                    </a:lnTo>
                    <a:cubicBezTo>
                      <a:pt x="80" y="1861"/>
                      <a:pt x="83" y="1865"/>
                      <a:pt x="82" y="1859"/>
                    </a:cubicBezTo>
                    <a:cubicBezTo>
                      <a:pt x="85" y="1862"/>
                      <a:pt x="86" y="1858"/>
                      <a:pt x="88" y="1866"/>
                    </a:cubicBezTo>
                    <a:cubicBezTo>
                      <a:pt x="92" y="1856"/>
                      <a:pt x="84" y="1852"/>
                      <a:pt x="81" y="1845"/>
                    </a:cubicBezTo>
                    <a:cubicBezTo>
                      <a:pt x="82" y="1846"/>
                      <a:pt x="82" y="1846"/>
                      <a:pt x="83" y="1847"/>
                    </a:cubicBezTo>
                    <a:cubicBezTo>
                      <a:pt x="81" y="1845"/>
                      <a:pt x="81" y="1842"/>
                      <a:pt x="80" y="1840"/>
                    </a:cubicBezTo>
                    <a:cubicBezTo>
                      <a:pt x="81" y="1836"/>
                      <a:pt x="83" y="1844"/>
                      <a:pt x="85" y="1842"/>
                    </a:cubicBezTo>
                    <a:lnTo>
                      <a:pt x="84" y="1835"/>
                    </a:lnTo>
                    <a:cubicBezTo>
                      <a:pt x="84" y="1835"/>
                      <a:pt x="84" y="1835"/>
                      <a:pt x="84" y="1835"/>
                    </a:cubicBezTo>
                    <a:cubicBezTo>
                      <a:pt x="83" y="1833"/>
                      <a:pt x="83" y="1831"/>
                      <a:pt x="84" y="1830"/>
                    </a:cubicBezTo>
                    <a:cubicBezTo>
                      <a:pt x="86" y="1832"/>
                      <a:pt x="88" y="1833"/>
                      <a:pt x="90" y="1834"/>
                    </a:cubicBezTo>
                    <a:lnTo>
                      <a:pt x="85" y="1827"/>
                    </a:lnTo>
                    <a:cubicBezTo>
                      <a:pt x="87" y="1828"/>
                      <a:pt x="88" y="1820"/>
                      <a:pt x="90" y="1826"/>
                    </a:cubicBezTo>
                    <a:lnTo>
                      <a:pt x="88" y="1814"/>
                    </a:lnTo>
                    <a:lnTo>
                      <a:pt x="92" y="1813"/>
                    </a:lnTo>
                    <a:cubicBezTo>
                      <a:pt x="91" y="1810"/>
                      <a:pt x="90" y="1810"/>
                      <a:pt x="90" y="1813"/>
                    </a:cubicBezTo>
                    <a:cubicBezTo>
                      <a:pt x="90" y="1809"/>
                      <a:pt x="82" y="1796"/>
                      <a:pt x="89" y="1798"/>
                    </a:cubicBezTo>
                    <a:cubicBezTo>
                      <a:pt x="86" y="1789"/>
                      <a:pt x="87" y="1785"/>
                      <a:pt x="84" y="1774"/>
                    </a:cubicBezTo>
                    <a:cubicBezTo>
                      <a:pt x="88" y="1783"/>
                      <a:pt x="88" y="1764"/>
                      <a:pt x="90" y="1773"/>
                    </a:cubicBezTo>
                    <a:cubicBezTo>
                      <a:pt x="91" y="1768"/>
                      <a:pt x="87" y="1767"/>
                      <a:pt x="86" y="1763"/>
                    </a:cubicBezTo>
                    <a:cubicBezTo>
                      <a:pt x="87" y="1759"/>
                      <a:pt x="91" y="1760"/>
                      <a:pt x="93" y="1765"/>
                    </a:cubicBezTo>
                    <a:lnTo>
                      <a:pt x="91" y="1760"/>
                    </a:lnTo>
                    <a:lnTo>
                      <a:pt x="92" y="1760"/>
                    </a:lnTo>
                    <a:lnTo>
                      <a:pt x="89" y="1756"/>
                    </a:lnTo>
                    <a:cubicBezTo>
                      <a:pt x="91" y="1751"/>
                      <a:pt x="93" y="1754"/>
                      <a:pt x="93" y="1750"/>
                    </a:cubicBezTo>
                    <a:lnTo>
                      <a:pt x="90" y="1749"/>
                    </a:lnTo>
                    <a:lnTo>
                      <a:pt x="91" y="1745"/>
                    </a:lnTo>
                    <a:cubicBezTo>
                      <a:pt x="90" y="1747"/>
                      <a:pt x="89" y="1744"/>
                      <a:pt x="89" y="1741"/>
                    </a:cubicBezTo>
                    <a:lnTo>
                      <a:pt x="89" y="1741"/>
                    </a:lnTo>
                    <a:lnTo>
                      <a:pt x="88" y="1737"/>
                    </a:lnTo>
                    <a:cubicBezTo>
                      <a:pt x="91" y="1741"/>
                      <a:pt x="89" y="1733"/>
                      <a:pt x="91" y="1734"/>
                    </a:cubicBezTo>
                    <a:cubicBezTo>
                      <a:pt x="91" y="1731"/>
                      <a:pt x="91" y="1731"/>
                      <a:pt x="90" y="1724"/>
                    </a:cubicBezTo>
                    <a:lnTo>
                      <a:pt x="88" y="1726"/>
                    </a:lnTo>
                    <a:cubicBezTo>
                      <a:pt x="85" y="1717"/>
                      <a:pt x="92" y="1725"/>
                      <a:pt x="91" y="1718"/>
                    </a:cubicBezTo>
                    <a:lnTo>
                      <a:pt x="89" y="1719"/>
                    </a:lnTo>
                    <a:cubicBezTo>
                      <a:pt x="93" y="1709"/>
                      <a:pt x="85" y="1703"/>
                      <a:pt x="87" y="1695"/>
                    </a:cubicBezTo>
                    <a:cubicBezTo>
                      <a:pt x="88" y="1699"/>
                      <a:pt x="91" y="1698"/>
                      <a:pt x="91" y="1698"/>
                    </a:cubicBezTo>
                    <a:cubicBezTo>
                      <a:pt x="89" y="1692"/>
                      <a:pt x="89" y="1682"/>
                      <a:pt x="86" y="1675"/>
                    </a:cubicBezTo>
                    <a:cubicBezTo>
                      <a:pt x="90" y="1673"/>
                      <a:pt x="91" y="1672"/>
                      <a:pt x="92" y="1666"/>
                    </a:cubicBezTo>
                    <a:cubicBezTo>
                      <a:pt x="92" y="1661"/>
                      <a:pt x="91" y="1660"/>
                      <a:pt x="89" y="1659"/>
                    </a:cubicBezTo>
                    <a:cubicBezTo>
                      <a:pt x="90" y="1654"/>
                      <a:pt x="87" y="1645"/>
                      <a:pt x="90" y="1645"/>
                    </a:cubicBezTo>
                    <a:cubicBezTo>
                      <a:pt x="88" y="1644"/>
                      <a:pt x="91" y="1641"/>
                      <a:pt x="89" y="1638"/>
                    </a:cubicBezTo>
                    <a:lnTo>
                      <a:pt x="90" y="1638"/>
                    </a:lnTo>
                    <a:lnTo>
                      <a:pt x="87" y="1638"/>
                    </a:lnTo>
                    <a:cubicBezTo>
                      <a:pt x="93" y="1630"/>
                      <a:pt x="83" y="1624"/>
                      <a:pt x="88" y="1616"/>
                    </a:cubicBezTo>
                    <a:lnTo>
                      <a:pt x="89" y="1617"/>
                    </a:lnTo>
                    <a:lnTo>
                      <a:pt x="88" y="1614"/>
                    </a:lnTo>
                    <a:cubicBezTo>
                      <a:pt x="89" y="1613"/>
                      <a:pt x="90" y="1615"/>
                      <a:pt x="91" y="1615"/>
                    </a:cubicBezTo>
                    <a:lnTo>
                      <a:pt x="91" y="1599"/>
                    </a:lnTo>
                    <a:lnTo>
                      <a:pt x="89" y="1602"/>
                    </a:lnTo>
                    <a:cubicBezTo>
                      <a:pt x="89" y="1598"/>
                      <a:pt x="86" y="1596"/>
                      <a:pt x="88" y="1592"/>
                    </a:cubicBezTo>
                    <a:cubicBezTo>
                      <a:pt x="92" y="1599"/>
                      <a:pt x="88" y="1587"/>
                      <a:pt x="91" y="1586"/>
                    </a:cubicBezTo>
                    <a:lnTo>
                      <a:pt x="92" y="1589"/>
                    </a:lnTo>
                    <a:cubicBezTo>
                      <a:pt x="92" y="1584"/>
                      <a:pt x="92" y="1584"/>
                      <a:pt x="89" y="1585"/>
                    </a:cubicBezTo>
                    <a:cubicBezTo>
                      <a:pt x="88" y="1579"/>
                      <a:pt x="94" y="1581"/>
                      <a:pt x="91" y="1575"/>
                    </a:cubicBezTo>
                    <a:lnTo>
                      <a:pt x="91" y="1579"/>
                    </a:lnTo>
                    <a:cubicBezTo>
                      <a:pt x="89" y="1580"/>
                      <a:pt x="87" y="1577"/>
                      <a:pt x="87" y="1575"/>
                    </a:cubicBezTo>
                    <a:cubicBezTo>
                      <a:pt x="87" y="1574"/>
                      <a:pt x="89" y="1572"/>
                      <a:pt x="89" y="1574"/>
                    </a:cubicBezTo>
                    <a:cubicBezTo>
                      <a:pt x="88" y="1569"/>
                      <a:pt x="89" y="1562"/>
                      <a:pt x="88" y="1560"/>
                    </a:cubicBezTo>
                    <a:cubicBezTo>
                      <a:pt x="89" y="1557"/>
                      <a:pt x="91" y="1558"/>
                      <a:pt x="92" y="1559"/>
                    </a:cubicBezTo>
                    <a:cubicBezTo>
                      <a:pt x="89" y="1549"/>
                      <a:pt x="92" y="1555"/>
                      <a:pt x="90" y="1544"/>
                    </a:cubicBezTo>
                    <a:lnTo>
                      <a:pt x="91" y="1545"/>
                    </a:lnTo>
                    <a:lnTo>
                      <a:pt x="89" y="1541"/>
                    </a:lnTo>
                    <a:lnTo>
                      <a:pt x="93" y="1536"/>
                    </a:lnTo>
                    <a:lnTo>
                      <a:pt x="91" y="1538"/>
                    </a:lnTo>
                    <a:cubicBezTo>
                      <a:pt x="91" y="1535"/>
                      <a:pt x="90" y="1532"/>
                      <a:pt x="91" y="1529"/>
                    </a:cubicBezTo>
                    <a:lnTo>
                      <a:pt x="93" y="1530"/>
                    </a:lnTo>
                    <a:cubicBezTo>
                      <a:pt x="92" y="1521"/>
                      <a:pt x="97" y="1519"/>
                      <a:pt x="94" y="1510"/>
                    </a:cubicBezTo>
                    <a:cubicBezTo>
                      <a:pt x="95" y="1510"/>
                      <a:pt x="95" y="1511"/>
                      <a:pt x="96" y="1512"/>
                    </a:cubicBezTo>
                    <a:cubicBezTo>
                      <a:pt x="93" y="1504"/>
                      <a:pt x="100" y="1506"/>
                      <a:pt x="96" y="1498"/>
                    </a:cubicBezTo>
                    <a:cubicBezTo>
                      <a:pt x="97" y="1498"/>
                      <a:pt x="98" y="1497"/>
                      <a:pt x="99" y="1498"/>
                    </a:cubicBezTo>
                    <a:lnTo>
                      <a:pt x="97" y="1494"/>
                    </a:lnTo>
                    <a:lnTo>
                      <a:pt x="100" y="1494"/>
                    </a:lnTo>
                    <a:cubicBezTo>
                      <a:pt x="99" y="1493"/>
                      <a:pt x="98" y="1492"/>
                      <a:pt x="96" y="1491"/>
                    </a:cubicBezTo>
                    <a:lnTo>
                      <a:pt x="99" y="1489"/>
                    </a:lnTo>
                    <a:lnTo>
                      <a:pt x="98" y="1487"/>
                    </a:lnTo>
                    <a:cubicBezTo>
                      <a:pt x="104" y="1483"/>
                      <a:pt x="100" y="1476"/>
                      <a:pt x="105" y="1470"/>
                    </a:cubicBezTo>
                    <a:lnTo>
                      <a:pt x="101" y="1471"/>
                    </a:lnTo>
                    <a:cubicBezTo>
                      <a:pt x="97" y="1463"/>
                      <a:pt x="98" y="1455"/>
                      <a:pt x="100" y="1446"/>
                    </a:cubicBezTo>
                    <a:cubicBezTo>
                      <a:pt x="102" y="1437"/>
                      <a:pt x="104" y="1428"/>
                      <a:pt x="102" y="1419"/>
                    </a:cubicBezTo>
                    <a:lnTo>
                      <a:pt x="105" y="1420"/>
                    </a:lnTo>
                    <a:lnTo>
                      <a:pt x="101" y="1412"/>
                    </a:lnTo>
                    <a:cubicBezTo>
                      <a:pt x="104" y="1408"/>
                      <a:pt x="104" y="1415"/>
                      <a:pt x="105" y="1413"/>
                    </a:cubicBezTo>
                    <a:cubicBezTo>
                      <a:pt x="104" y="1406"/>
                      <a:pt x="101" y="1410"/>
                      <a:pt x="100" y="1401"/>
                    </a:cubicBezTo>
                    <a:cubicBezTo>
                      <a:pt x="102" y="1396"/>
                      <a:pt x="102" y="1403"/>
                      <a:pt x="103" y="1405"/>
                    </a:cubicBezTo>
                    <a:cubicBezTo>
                      <a:pt x="102" y="1396"/>
                      <a:pt x="100" y="1384"/>
                      <a:pt x="101" y="1378"/>
                    </a:cubicBezTo>
                    <a:cubicBezTo>
                      <a:pt x="101" y="1378"/>
                      <a:pt x="100" y="1377"/>
                      <a:pt x="100" y="1378"/>
                    </a:cubicBezTo>
                    <a:cubicBezTo>
                      <a:pt x="98" y="1372"/>
                      <a:pt x="99" y="1365"/>
                      <a:pt x="99" y="1358"/>
                    </a:cubicBezTo>
                    <a:cubicBezTo>
                      <a:pt x="100" y="1359"/>
                      <a:pt x="101" y="1360"/>
                      <a:pt x="101" y="1362"/>
                    </a:cubicBezTo>
                    <a:cubicBezTo>
                      <a:pt x="101" y="1359"/>
                      <a:pt x="102" y="1356"/>
                      <a:pt x="100" y="1354"/>
                    </a:cubicBezTo>
                    <a:lnTo>
                      <a:pt x="103" y="1357"/>
                    </a:lnTo>
                    <a:cubicBezTo>
                      <a:pt x="104" y="1352"/>
                      <a:pt x="101" y="1343"/>
                      <a:pt x="104" y="1342"/>
                    </a:cubicBezTo>
                    <a:cubicBezTo>
                      <a:pt x="103" y="1342"/>
                      <a:pt x="100" y="1342"/>
                      <a:pt x="100" y="1338"/>
                    </a:cubicBezTo>
                    <a:cubicBezTo>
                      <a:pt x="105" y="1336"/>
                      <a:pt x="98" y="1327"/>
                      <a:pt x="100" y="1320"/>
                    </a:cubicBezTo>
                    <a:cubicBezTo>
                      <a:pt x="101" y="1321"/>
                      <a:pt x="102" y="1326"/>
                      <a:pt x="102" y="1324"/>
                    </a:cubicBezTo>
                    <a:cubicBezTo>
                      <a:pt x="103" y="1321"/>
                      <a:pt x="100" y="1318"/>
                      <a:pt x="99" y="1315"/>
                    </a:cubicBezTo>
                    <a:lnTo>
                      <a:pt x="101" y="1316"/>
                    </a:lnTo>
                    <a:lnTo>
                      <a:pt x="97" y="1301"/>
                    </a:lnTo>
                    <a:cubicBezTo>
                      <a:pt x="102" y="1298"/>
                      <a:pt x="96" y="1287"/>
                      <a:pt x="100" y="1287"/>
                    </a:cubicBezTo>
                    <a:cubicBezTo>
                      <a:pt x="99" y="1282"/>
                      <a:pt x="98" y="1292"/>
                      <a:pt x="97" y="1285"/>
                    </a:cubicBezTo>
                    <a:cubicBezTo>
                      <a:pt x="99" y="1283"/>
                      <a:pt x="95" y="1279"/>
                      <a:pt x="99" y="1279"/>
                    </a:cubicBezTo>
                    <a:lnTo>
                      <a:pt x="99" y="1280"/>
                    </a:lnTo>
                    <a:lnTo>
                      <a:pt x="98" y="1275"/>
                    </a:lnTo>
                    <a:lnTo>
                      <a:pt x="102" y="1278"/>
                    </a:lnTo>
                    <a:cubicBezTo>
                      <a:pt x="101" y="1274"/>
                      <a:pt x="98" y="1271"/>
                      <a:pt x="95" y="1271"/>
                    </a:cubicBezTo>
                    <a:cubicBezTo>
                      <a:pt x="97" y="1267"/>
                      <a:pt x="95" y="1261"/>
                      <a:pt x="98" y="1259"/>
                    </a:cubicBezTo>
                    <a:lnTo>
                      <a:pt x="99" y="1261"/>
                    </a:lnTo>
                    <a:cubicBezTo>
                      <a:pt x="97" y="1250"/>
                      <a:pt x="106" y="1242"/>
                      <a:pt x="100" y="1234"/>
                    </a:cubicBezTo>
                    <a:cubicBezTo>
                      <a:pt x="101" y="1233"/>
                      <a:pt x="101" y="1233"/>
                      <a:pt x="101" y="1234"/>
                    </a:cubicBezTo>
                    <a:lnTo>
                      <a:pt x="101" y="1227"/>
                    </a:lnTo>
                    <a:lnTo>
                      <a:pt x="104" y="1229"/>
                    </a:lnTo>
                    <a:lnTo>
                      <a:pt x="100" y="1218"/>
                    </a:lnTo>
                    <a:lnTo>
                      <a:pt x="101" y="1218"/>
                    </a:lnTo>
                    <a:cubicBezTo>
                      <a:pt x="101" y="1210"/>
                      <a:pt x="100" y="1199"/>
                      <a:pt x="99" y="1189"/>
                    </a:cubicBezTo>
                    <a:lnTo>
                      <a:pt x="100" y="1191"/>
                    </a:lnTo>
                    <a:cubicBezTo>
                      <a:pt x="97" y="1180"/>
                      <a:pt x="100" y="1180"/>
                      <a:pt x="98" y="1173"/>
                    </a:cubicBezTo>
                    <a:cubicBezTo>
                      <a:pt x="99" y="1173"/>
                      <a:pt x="99" y="1173"/>
                      <a:pt x="99" y="1174"/>
                    </a:cubicBezTo>
                    <a:lnTo>
                      <a:pt x="99" y="1167"/>
                    </a:lnTo>
                    <a:lnTo>
                      <a:pt x="100" y="1168"/>
                    </a:lnTo>
                    <a:cubicBezTo>
                      <a:pt x="97" y="1163"/>
                      <a:pt x="104" y="1153"/>
                      <a:pt x="101" y="1157"/>
                    </a:cubicBezTo>
                    <a:cubicBezTo>
                      <a:pt x="99" y="1154"/>
                      <a:pt x="97" y="1149"/>
                      <a:pt x="95" y="1148"/>
                    </a:cubicBezTo>
                    <a:cubicBezTo>
                      <a:pt x="95" y="1141"/>
                      <a:pt x="97" y="1146"/>
                      <a:pt x="98" y="1142"/>
                    </a:cubicBezTo>
                    <a:cubicBezTo>
                      <a:pt x="98" y="1136"/>
                      <a:pt x="95" y="1135"/>
                      <a:pt x="96" y="1128"/>
                    </a:cubicBezTo>
                    <a:lnTo>
                      <a:pt x="98" y="1128"/>
                    </a:lnTo>
                    <a:cubicBezTo>
                      <a:pt x="97" y="1124"/>
                      <a:pt x="96" y="1122"/>
                      <a:pt x="96" y="1118"/>
                    </a:cubicBezTo>
                    <a:lnTo>
                      <a:pt x="96" y="1119"/>
                    </a:lnTo>
                    <a:cubicBezTo>
                      <a:pt x="93" y="1111"/>
                      <a:pt x="100" y="1109"/>
                      <a:pt x="93" y="1103"/>
                    </a:cubicBezTo>
                    <a:cubicBezTo>
                      <a:pt x="94" y="1100"/>
                      <a:pt x="93" y="1094"/>
                      <a:pt x="96" y="1094"/>
                    </a:cubicBezTo>
                    <a:cubicBezTo>
                      <a:pt x="94" y="1084"/>
                      <a:pt x="92" y="1077"/>
                      <a:pt x="90" y="1067"/>
                    </a:cubicBezTo>
                    <a:cubicBezTo>
                      <a:pt x="95" y="1065"/>
                      <a:pt x="90" y="1065"/>
                      <a:pt x="92" y="1059"/>
                    </a:cubicBezTo>
                    <a:lnTo>
                      <a:pt x="90" y="1060"/>
                    </a:lnTo>
                    <a:cubicBezTo>
                      <a:pt x="89" y="1046"/>
                      <a:pt x="94" y="1030"/>
                      <a:pt x="92" y="1015"/>
                    </a:cubicBezTo>
                    <a:lnTo>
                      <a:pt x="95" y="1014"/>
                    </a:lnTo>
                    <a:lnTo>
                      <a:pt x="92" y="1011"/>
                    </a:lnTo>
                    <a:cubicBezTo>
                      <a:pt x="92" y="995"/>
                      <a:pt x="92" y="974"/>
                      <a:pt x="92" y="961"/>
                    </a:cubicBezTo>
                    <a:cubicBezTo>
                      <a:pt x="90" y="957"/>
                      <a:pt x="86" y="951"/>
                      <a:pt x="87" y="944"/>
                    </a:cubicBezTo>
                    <a:lnTo>
                      <a:pt x="87" y="945"/>
                    </a:lnTo>
                    <a:cubicBezTo>
                      <a:pt x="85" y="933"/>
                      <a:pt x="83" y="921"/>
                      <a:pt x="84" y="908"/>
                    </a:cubicBezTo>
                    <a:cubicBezTo>
                      <a:pt x="85" y="909"/>
                      <a:pt x="86" y="907"/>
                      <a:pt x="87" y="909"/>
                    </a:cubicBezTo>
                    <a:cubicBezTo>
                      <a:pt x="84" y="906"/>
                      <a:pt x="86" y="901"/>
                      <a:pt x="86" y="899"/>
                    </a:cubicBezTo>
                    <a:lnTo>
                      <a:pt x="84" y="902"/>
                    </a:lnTo>
                    <a:cubicBezTo>
                      <a:pt x="82" y="898"/>
                      <a:pt x="84" y="893"/>
                      <a:pt x="86" y="891"/>
                    </a:cubicBezTo>
                    <a:lnTo>
                      <a:pt x="83" y="885"/>
                    </a:lnTo>
                    <a:cubicBezTo>
                      <a:pt x="83" y="885"/>
                      <a:pt x="83" y="884"/>
                      <a:pt x="84" y="884"/>
                    </a:cubicBezTo>
                    <a:lnTo>
                      <a:pt x="82" y="883"/>
                    </a:lnTo>
                    <a:lnTo>
                      <a:pt x="86" y="880"/>
                    </a:lnTo>
                    <a:cubicBezTo>
                      <a:pt x="85" y="879"/>
                      <a:pt x="84" y="871"/>
                      <a:pt x="80" y="869"/>
                    </a:cubicBezTo>
                    <a:cubicBezTo>
                      <a:pt x="81" y="868"/>
                      <a:pt x="82" y="863"/>
                      <a:pt x="83" y="867"/>
                    </a:cubicBezTo>
                    <a:lnTo>
                      <a:pt x="83" y="846"/>
                    </a:lnTo>
                    <a:lnTo>
                      <a:pt x="82" y="850"/>
                    </a:lnTo>
                    <a:cubicBezTo>
                      <a:pt x="79" y="850"/>
                      <a:pt x="77" y="844"/>
                      <a:pt x="78" y="841"/>
                    </a:cubicBezTo>
                    <a:cubicBezTo>
                      <a:pt x="81" y="845"/>
                      <a:pt x="82" y="841"/>
                      <a:pt x="84" y="839"/>
                    </a:cubicBezTo>
                    <a:cubicBezTo>
                      <a:pt x="82" y="836"/>
                      <a:pt x="82" y="841"/>
                      <a:pt x="80" y="840"/>
                    </a:cubicBezTo>
                    <a:cubicBezTo>
                      <a:pt x="78" y="836"/>
                      <a:pt x="77" y="829"/>
                      <a:pt x="78" y="827"/>
                    </a:cubicBezTo>
                    <a:lnTo>
                      <a:pt x="79" y="829"/>
                    </a:lnTo>
                    <a:cubicBezTo>
                      <a:pt x="78" y="824"/>
                      <a:pt x="83" y="822"/>
                      <a:pt x="82" y="817"/>
                    </a:cubicBezTo>
                    <a:cubicBezTo>
                      <a:pt x="80" y="813"/>
                      <a:pt x="82" y="810"/>
                      <a:pt x="77" y="811"/>
                    </a:cubicBezTo>
                    <a:cubicBezTo>
                      <a:pt x="76" y="805"/>
                      <a:pt x="80" y="808"/>
                      <a:pt x="81" y="806"/>
                    </a:cubicBezTo>
                    <a:cubicBezTo>
                      <a:pt x="78" y="803"/>
                      <a:pt x="79" y="795"/>
                      <a:pt x="82" y="793"/>
                    </a:cubicBezTo>
                    <a:cubicBezTo>
                      <a:pt x="75" y="790"/>
                      <a:pt x="84" y="777"/>
                      <a:pt x="78" y="776"/>
                    </a:cubicBezTo>
                    <a:lnTo>
                      <a:pt x="81" y="770"/>
                    </a:lnTo>
                    <a:cubicBezTo>
                      <a:pt x="79" y="770"/>
                      <a:pt x="76" y="769"/>
                      <a:pt x="75" y="765"/>
                    </a:cubicBezTo>
                    <a:cubicBezTo>
                      <a:pt x="77" y="761"/>
                      <a:pt x="79" y="762"/>
                      <a:pt x="81" y="761"/>
                    </a:cubicBezTo>
                    <a:lnTo>
                      <a:pt x="75" y="759"/>
                    </a:lnTo>
                    <a:cubicBezTo>
                      <a:pt x="81" y="736"/>
                      <a:pt x="76" y="707"/>
                      <a:pt x="82" y="683"/>
                    </a:cubicBezTo>
                    <a:cubicBezTo>
                      <a:pt x="80" y="672"/>
                      <a:pt x="78" y="658"/>
                      <a:pt x="79" y="646"/>
                    </a:cubicBezTo>
                    <a:lnTo>
                      <a:pt x="80" y="647"/>
                    </a:lnTo>
                    <a:lnTo>
                      <a:pt x="82" y="635"/>
                    </a:lnTo>
                    <a:lnTo>
                      <a:pt x="79" y="644"/>
                    </a:lnTo>
                    <a:cubicBezTo>
                      <a:pt x="79" y="641"/>
                      <a:pt x="78" y="639"/>
                      <a:pt x="78" y="636"/>
                    </a:cubicBezTo>
                    <a:cubicBezTo>
                      <a:pt x="81" y="622"/>
                      <a:pt x="85" y="604"/>
                      <a:pt x="82" y="586"/>
                    </a:cubicBezTo>
                    <a:cubicBezTo>
                      <a:pt x="76" y="575"/>
                      <a:pt x="89" y="579"/>
                      <a:pt x="84" y="568"/>
                    </a:cubicBezTo>
                    <a:cubicBezTo>
                      <a:pt x="85" y="569"/>
                      <a:pt x="86" y="570"/>
                      <a:pt x="87" y="571"/>
                    </a:cubicBezTo>
                    <a:cubicBezTo>
                      <a:pt x="85" y="559"/>
                      <a:pt x="84" y="553"/>
                      <a:pt x="81" y="541"/>
                    </a:cubicBezTo>
                    <a:cubicBezTo>
                      <a:pt x="87" y="543"/>
                      <a:pt x="81" y="534"/>
                      <a:pt x="85" y="535"/>
                    </a:cubicBezTo>
                    <a:lnTo>
                      <a:pt x="82" y="534"/>
                    </a:lnTo>
                    <a:cubicBezTo>
                      <a:pt x="84" y="531"/>
                      <a:pt x="85" y="525"/>
                      <a:pt x="87" y="526"/>
                    </a:cubicBezTo>
                    <a:lnTo>
                      <a:pt x="84" y="521"/>
                    </a:lnTo>
                    <a:lnTo>
                      <a:pt x="86" y="521"/>
                    </a:lnTo>
                    <a:cubicBezTo>
                      <a:pt x="87" y="514"/>
                      <a:pt x="86" y="499"/>
                      <a:pt x="92" y="496"/>
                    </a:cubicBezTo>
                    <a:cubicBezTo>
                      <a:pt x="88" y="479"/>
                      <a:pt x="92" y="453"/>
                      <a:pt x="94" y="432"/>
                    </a:cubicBezTo>
                    <a:cubicBezTo>
                      <a:pt x="92" y="429"/>
                      <a:pt x="92" y="423"/>
                      <a:pt x="92" y="418"/>
                    </a:cubicBezTo>
                    <a:lnTo>
                      <a:pt x="96" y="413"/>
                    </a:lnTo>
                    <a:cubicBezTo>
                      <a:pt x="95" y="408"/>
                      <a:pt x="92" y="403"/>
                      <a:pt x="94" y="398"/>
                    </a:cubicBezTo>
                    <a:cubicBezTo>
                      <a:pt x="94" y="398"/>
                      <a:pt x="95" y="399"/>
                      <a:pt x="95" y="399"/>
                    </a:cubicBezTo>
                    <a:cubicBezTo>
                      <a:pt x="95" y="394"/>
                      <a:pt x="97" y="389"/>
                      <a:pt x="94" y="384"/>
                    </a:cubicBezTo>
                    <a:cubicBezTo>
                      <a:pt x="95" y="379"/>
                      <a:pt x="97" y="374"/>
                      <a:pt x="100" y="376"/>
                    </a:cubicBezTo>
                    <a:cubicBezTo>
                      <a:pt x="94" y="375"/>
                      <a:pt x="101" y="364"/>
                      <a:pt x="101" y="364"/>
                    </a:cubicBezTo>
                    <a:cubicBezTo>
                      <a:pt x="101" y="364"/>
                      <a:pt x="110" y="295"/>
                      <a:pt x="116" y="217"/>
                    </a:cubicBezTo>
                    <a:cubicBezTo>
                      <a:pt x="122" y="139"/>
                      <a:pt x="125" y="52"/>
                      <a:pt x="114" y="17"/>
                    </a:cubicBezTo>
                    <a:cubicBezTo>
                      <a:pt x="111" y="15"/>
                      <a:pt x="110" y="8"/>
                      <a:pt x="107" y="10"/>
                    </a:cubicBezTo>
                    <a:cubicBezTo>
                      <a:pt x="106" y="5"/>
                      <a:pt x="111" y="3"/>
                      <a:pt x="109" y="2"/>
                    </a:cubicBezTo>
                    <a:cubicBezTo>
                      <a:pt x="106" y="9"/>
                      <a:pt x="102" y="0"/>
                      <a:pt x="98" y="6"/>
                    </a:cubicBezTo>
                    <a:lnTo>
                      <a:pt x="98" y="2"/>
                    </a:lnTo>
                    <a:cubicBezTo>
                      <a:pt x="96" y="1"/>
                      <a:pt x="99" y="7"/>
                      <a:pt x="96" y="6"/>
                    </a:cubicBezTo>
                    <a:lnTo>
                      <a:pt x="101" y="8"/>
                    </a:lnTo>
                    <a:cubicBezTo>
                      <a:pt x="100" y="11"/>
                      <a:pt x="99" y="13"/>
                      <a:pt x="97" y="14"/>
                    </a:cubicBezTo>
                    <a:cubicBezTo>
                      <a:pt x="98" y="17"/>
                      <a:pt x="105" y="20"/>
                      <a:pt x="101" y="27"/>
                    </a:cubicBezTo>
                    <a:lnTo>
                      <a:pt x="101" y="25"/>
                    </a:lnTo>
                    <a:cubicBezTo>
                      <a:pt x="101" y="31"/>
                      <a:pt x="98" y="28"/>
                      <a:pt x="97" y="30"/>
                    </a:cubicBezTo>
                    <a:lnTo>
                      <a:pt x="97" y="28"/>
                    </a:lnTo>
                    <a:lnTo>
                      <a:pt x="94" y="33"/>
                    </a:lnTo>
                    <a:cubicBezTo>
                      <a:pt x="96" y="29"/>
                      <a:pt x="93" y="23"/>
                      <a:pt x="93" y="26"/>
                    </a:cubicBezTo>
                    <a:cubicBezTo>
                      <a:pt x="91" y="33"/>
                      <a:pt x="94" y="24"/>
                      <a:pt x="94" y="30"/>
                    </a:cubicBezTo>
                    <a:cubicBezTo>
                      <a:pt x="94" y="33"/>
                      <a:pt x="91" y="32"/>
                      <a:pt x="90" y="32"/>
                    </a:cubicBezTo>
                    <a:lnTo>
                      <a:pt x="90" y="38"/>
                    </a:lnTo>
                    <a:cubicBezTo>
                      <a:pt x="87" y="37"/>
                      <a:pt x="90" y="34"/>
                      <a:pt x="87" y="36"/>
                    </a:cubicBezTo>
                    <a:lnTo>
                      <a:pt x="89" y="44"/>
                    </a:lnTo>
                    <a:cubicBezTo>
                      <a:pt x="83" y="45"/>
                      <a:pt x="91" y="53"/>
                      <a:pt x="85" y="56"/>
                    </a:cubicBezTo>
                    <a:cubicBezTo>
                      <a:pt x="85" y="50"/>
                      <a:pt x="83" y="56"/>
                      <a:pt x="82" y="55"/>
                    </a:cubicBezTo>
                    <a:lnTo>
                      <a:pt x="81" y="69"/>
                    </a:lnTo>
                    <a:cubicBezTo>
                      <a:pt x="80" y="70"/>
                      <a:pt x="79" y="65"/>
                      <a:pt x="79" y="67"/>
                    </a:cubicBezTo>
                    <a:cubicBezTo>
                      <a:pt x="78" y="70"/>
                      <a:pt x="80" y="71"/>
                      <a:pt x="80" y="73"/>
                    </a:cubicBezTo>
                    <a:cubicBezTo>
                      <a:pt x="79" y="74"/>
                      <a:pt x="79" y="83"/>
                      <a:pt x="76" y="82"/>
                    </a:cubicBezTo>
                    <a:cubicBezTo>
                      <a:pt x="72" y="91"/>
                      <a:pt x="80" y="87"/>
                      <a:pt x="77" y="95"/>
                    </a:cubicBezTo>
                    <a:cubicBezTo>
                      <a:pt x="75" y="96"/>
                      <a:pt x="77" y="88"/>
                      <a:pt x="74" y="92"/>
                    </a:cubicBezTo>
                    <a:lnTo>
                      <a:pt x="75" y="101"/>
                    </a:lnTo>
                    <a:cubicBezTo>
                      <a:pt x="73" y="100"/>
                      <a:pt x="71" y="99"/>
                      <a:pt x="72" y="95"/>
                    </a:cubicBezTo>
                    <a:cubicBezTo>
                      <a:pt x="66" y="119"/>
                      <a:pt x="53" y="131"/>
                      <a:pt x="54" y="154"/>
                    </a:cubicBezTo>
                    <a:cubicBezTo>
                      <a:pt x="51" y="157"/>
                      <a:pt x="53" y="151"/>
                      <a:pt x="51" y="149"/>
                    </a:cubicBezTo>
                    <a:cubicBezTo>
                      <a:pt x="53" y="165"/>
                      <a:pt x="43" y="171"/>
                      <a:pt x="42" y="185"/>
                    </a:cubicBezTo>
                    <a:lnTo>
                      <a:pt x="44" y="185"/>
                    </a:lnTo>
                    <a:cubicBezTo>
                      <a:pt x="36" y="203"/>
                      <a:pt x="38" y="227"/>
                      <a:pt x="33" y="248"/>
                    </a:cubicBezTo>
                    <a:lnTo>
                      <a:pt x="35" y="246"/>
                    </a:lnTo>
                    <a:cubicBezTo>
                      <a:pt x="37" y="249"/>
                      <a:pt x="37" y="254"/>
                      <a:pt x="38" y="257"/>
                    </a:cubicBezTo>
                    <a:cubicBezTo>
                      <a:pt x="36" y="258"/>
                      <a:pt x="33" y="254"/>
                      <a:pt x="33" y="261"/>
                    </a:cubicBezTo>
                    <a:cubicBezTo>
                      <a:pt x="34" y="259"/>
                      <a:pt x="35" y="257"/>
                      <a:pt x="36" y="258"/>
                    </a:cubicBezTo>
                    <a:cubicBezTo>
                      <a:pt x="29" y="276"/>
                      <a:pt x="27" y="315"/>
                      <a:pt x="22" y="345"/>
                    </a:cubicBezTo>
                    <a:cubicBezTo>
                      <a:pt x="21" y="386"/>
                      <a:pt x="13" y="431"/>
                      <a:pt x="12" y="471"/>
                    </a:cubicBezTo>
                    <a:cubicBezTo>
                      <a:pt x="12" y="465"/>
                      <a:pt x="17" y="468"/>
                      <a:pt x="16" y="472"/>
                    </a:cubicBezTo>
                    <a:cubicBezTo>
                      <a:pt x="5" y="485"/>
                      <a:pt x="16" y="495"/>
                      <a:pt x="9" y="507"/>
                    </a:cubicBezTo>
                    <a:cubicBezTo>
                      <a:pt x="10" y="531"/>
                      <a:pt x="1" y="552"/>
                      <a:pt x="7" y="574"/>
                    </a:cubicBezTo>
                    <a:lnTo>
                      <a:pt x="4" y="574"/>
                    </a:lnTo>
                    <a:cubicBezTo>
                      <a:pt x="2" y="578"/>
                      <a:pt x="4" y="579"/>
                      <a:pt x="4" y="582"/>
                    </a:cubicBezTo>
                    <a:lnTo>
                      <a:pt x="4" y="582"/>
                    </a:lnTo>
                    <a:cubicBezTo>
                      <a:pt x="2" y="590"/>
                      <a:pt x="5" y="600"/>
                      <a:pt x="3" y="605"/>
                    </a:cubicBezTo>
                    <a:lnTo>
                      <a:pt x="6" y="605"/>
                    </a:lnTo>
                    <a:cubicBezTo>
                      <a:pt x="6" y="610"/>
                      <a:pt x="4" y="608"/>
                      <a:pt x="5" y="613"/>
                    </a:cubicBezTo>
                    <a:lnTo>
                      <a:pt x="4" y="612"/>
                    </a:lnTo>
                    <a:lnTo>
                      <a:pt x="6" y="618"/>
                    </a:lnTo>
                    <a:cubicBezTo>
                      <a:pt x="1" y="618"/>
                      <a:pt x="5" y="632"/>
                      <a:pt x="3" y="636"/>
                    </a:cubicBezTo>
                    <a:cubicBezTo>
                      <a:pt x="3" y="642"/>
                      <a:pt x="5" y="654"/>
                      <a:pt x="4" y="664"/>
                    </a:cubicBezTo>
                    <a:cubicBezTo>
                      <a:pt x="1" y="666"/>
                      <a:pt x="1" y="678"/>
                      <a:pt x="0" y="685"/>
                    </a:cubicBezTo>
                    <a:cubicBezTo>
                      <a:pt x="0" y="700"/>
                      <a:pt x="1" y="721"/>
                      <a:pt x="0" y="740"/>
                    </a:cubicBezTo>
                    <a:lnTo>
                      <a:pt x="4" y="739"/>
                    </a:lnTo>
                    <a:lnTo>
                      <a:pt x="4" y="744"/>
                    </a:lnTo>
                    <a:cubicBezTo>
                      <a:pt x="3" y="744"/>
                      <a:pt x="3" y="745"/>
                      <a:pt x="3" y="744"/>
                    </a:cubicBezTo>
                    <a:cubicBezTo>
                      <a:pt x="0" y="748"/>
                      <a:pt x="4" y="755"/>
                      <a:pt x="2" y="759"/>
                    </a:cubicBezTo>
                    <a:cubicBezTo>
                      <a:pt x="5" y="757"/>
                      <a:pt x="2" y="756"/>
                      <a:pt x="2" y="753"/>
                    </a:cubicBezTo>
                    <a:cubicBezTo>
                      <a:pt x="4" y="749"/>
                      <a:pt x="7" y="753"/>
                      <a:pt x="6" y="758"/>
                    </a:cubicBezTo>
                    <a:lnTo>
                      <a:pt x="5" y="758"/>
                    </a:lnTo>
                    <a:lnTo>
                      <a:pt x="7" y="762"/>
                    </a:lnTo>
                    <a:cubicBezTo>
                      <a:pt x="4" y="762"/>
                      <a:pt x="3" y="766"/>
                      <a:pt x="0" y="766"/>
                    </a:cubicBezTo>
                    <a:cubicBezTo>
                      <a:pt x="1" y="782"/>
                      <a:pt x="6" y="793"/>
                      <a:pt x="6" y="809"/>
                    </a:cubicBezTo>
                    <a:cubicBezTo>
                      <a:pt x="2" y="807"/>
                      <a:pt x="7" y="821"/>
                      <a:pt x="1" y="818"/>
                    </a:cubicBezTo>
                    <a:cubicBezTo>
                      <a:pt x="4" y="827"/>
                      <a:pt x="6" y="816"/>
                      <a:pt x="10" y="820"/>
                    </a:cubicBezTo>
                    <a:cubicBezTo>
                      <a:pt x="10" y="823"/>
                      <a:pt x="11" y="826"/>
                      <a:pt x="9" y="826"/>
                    </a:cubicBezTo>
                    <a:cubicBezTo>
                      <a:pt x="8" y="825"/>
                      <a:pt x="6" y="829"/>
                      <a:pt x="6" y="827"/>
                    </a:cubicBezTo>
                    <a:lnTo>
                      <a:pt x="6" y="833"/>
                    </a:lnTo>
                    <a:cubicBezTo>
                      <a:pt x="6" y="834"/>
                      <a:pt x="5" y="832"/>
                      <a:pt x="5" y="832"/>
                    </a:cubicBezTo>
                    <a:cubicBezTo>
                      <a:pt x="8" y="845"/>
                      <a:pt x="2" y="855"/>
                      <a:pt x="6" y="867"/>
                    </a:cubicBezTo>
                    <a:cubicBezTo>
                      <a:pt x="8" y="868"/>
                      <a:pt x="6" y="862"/>
                      <a:pt x="8" y="863"/>
                    </a:cubicBezTo>
                    <a:cubicBezTo>
                      <a:pt x="13" y="875"/>
                      <a:pt x="5" y="874"/>
                      <a:pt x="8" y="885"/>
                    </a:cubicBezTo>
                    <a:lnTo>
                      <a:pt x="6" y="883"/>
                    </a:lnTo>
                    <a:cubicBezTo>
                      <a:pt x="8" y="886"/>
                      <a:pt x="10" y="888"/>
                      <a:pt x="8" y="894"/>
                    </a:cubicBezTo>
                    <a:cubicBezTo>
                      <a:pt x="5" y="895"/>
                      <a:pt x="5" y="889"/>
                      <a:pt x="4" y="886"/>
                    </a:cubicBezTo>
                    <a:cubicBezTo>
                      <a:pt x="4" y="890"/>
                      <a:pt x="5" y="901"/>
                      <a:pt x="8" y="897"/>
                    </a:cubicBezTo>
                    <a:cubicBezTo>
                      <a:pt x="9" y="902"/>
                      <a:pt x="6" y="904"/>
                      <a:pt x="6" y="907"/>
                    </a:cubicBezTo>
                    <a:cubicBezTo>
                      <a:pt x="7" y="907"/>
                      <a:pt x="8" y="902"/>
                      <a:pt x="9" y="905"/>
                    </a:cubicBezTo>
                    <a:cubicBezTo>
                      <a:pt x="8" y="912"/>
                      <a:pt x="8" y="922"/>
                      <a:pt x="9" y="930"/>
                    </a:cubicBezTo>
                    <a:cubicBezTo>
                      <a:pt x="8" y="930"/>
                      <a:pt x="7" y="931"/>
                      <a:pt x="6" y="930"/>
                    </a:cubicBezTo>
                    <a:cubicBezTo>
                      <a:pt x="11" y="936"/>
                      <a:pt x="4" y="936"/>
                      <a:pt x="5" y="945"/>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6" name="Freeform 2560"/>
              <p:cNvSpPr>
                <a:spLocks/>
              </p:cNvSpPr>
              <p:nvPr/>
            </p:nvSpPr>
            <p:spPr bwMode="auto">
              <a:xfrm>
                <a:off x="3536951" y="4378326"/>
                <a:ext cx="0" cy="1588"/>
              </a:xfrm>
              <a:custGeom>
                <a:avLst/>
                <a:gdLst>
                  <a:gd name="T0" fmla="*/ 2 w 2"/>
                  <a:gd name="T1" fmla="*/ 5 h 5"/>
                  <a:gd name="T2" fmla="*/ 2 w 2"/>
                  <a:gd name="T3" fmla="*/ 5 h 5"/>
                  <a:gd name="T4" fmla="*/ 2 w 2"/>
                  <a:gd name="T5" fmla="*/ 2 h 5"/>
                  <a:gd name="T6" fmla="*/ 0 w 2"/>
                  <a:gd name="T7" fmla="*/ 0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2" y="5"/>
                    </a:lnTo>
                    <a:lnTo>
                      <a:pt x="2" y="2"/>
                    </a:lnTo>
                    <a:cubicBezTo>
                      <a:pt x="1" y="2"/>
                      <a:pt x="1" y="2"/>
                      <a:pt x="0" y="0"/>
                    </a:cubicBezTo>
                    <a:lnTo>
                      <a:pt x="2" y="5"/>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7" name="Freeform 2561"/>
              <p:cNvSpPr>
                <a:spLocks/>
              </p:cNvSpPr>
              <p:nvPr/>
            </p:nvSpPr>
            <p:spPr bwMode="auto">
              <a:xfrm>
                <a:off x="3535363" y="4330701"/>
                <a:ext cx="0" cy="1588"/>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1" y="0"/>
                      <a:pt x="0" y="0"/>
                    </a:cubicBezTo>
                    <a:cubicBezTo>
                      <a:pt x="0" y="1"/>
                      <a:pt x="1" y="1"/>
                      <a:pt x="1"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8" name="Freeform 2562"/>
              <p:cNvSpPr>
                <a:spLocks/>
              </p:cNvSpPr>
              <p:nvPr/>
            </p:nvSpPr>
            <p:spPr bwMode="auto">
              <a:xfrm>
                <a:off x="3532188" y="4319588"/>
                <a:ext cx="1588" cy="1588"/>
              </a:xfrm>
              <a:custGeom>
                <a:avLst/>
                <a:gdLst>
                  <a:gd name="T0" fmla="*/ 0 w 3"/>
                  <a:gd name="T1" fmla="*/ 1 h 4"/>
                  <a:gd name="T2" fmla="*/ 0 w 3"/>
                  <a:gd name="T3" fmla="*/ 1 h 4"/>
                  <a:gd name="T4" fmla="*/ 3 w 3"/>
                  <a:gd name="T5" fmla="*/ 0 h 4"/>
                  <a:gd name="T6" fmla="*/ 0 w 3"/>
                  <a:gd name="T7" fmla="*/ 1 h 4"/>
                </a:gdLst>
                <a:ahLst/>
                <a:cxnLst>
                  <a:cxn ang="0">
                    <a:pos x="T0" y="T1"/>
                  </a:cxn>
                  <a:cxn ang="0">
                    <a:pos x="T2" y="T3"/>
                  </a:cxn>
                  <a:cxn ang="0">
                    <a:pos x="T4" y="T5"/>
                  </a:cxn>
                  <a:cxn ang="0">
                    <a:pos x="T6" y="T7"/>
                  </a:cxn>
                </a:cxnLst>
                <a:rect l="0" t="0" r="r" b="b"/>
                <a:pathLst>
                  <a:path w="3" h="4">
                    <a:moveTo>
                      <a:pt x="0" y="1"/>
                    </a:moveTo>
                    <a:lnTo>
                      <a:pt x="0" y="1"/>
                    </a:lnTo>
                    <a:cubicBezTo>
                      <a:pt x="1" y="4"/>
                      <a:pt x="2" y="2"/>
                      <a:pt x="3" y="0"/>
                    </a:cubicBezTo>
                    <a:cubicBezTo>
                      <a:pt x="2" y="0"/>
                      <a:pt x="1" y="0"/>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9" name="Freeform 2563"/>
              <p:cNvSpPr>
                <a:spLocks/>
              </p:cNvSpPr>
              <p:nvPr/>
            </p:nvSpPr>
            <p:spPr bwMode="auto">
              <a:xfrm>
                <a:off x="3538538" y="4406901"/>
                <a:ext cx="1588"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0"/>
                      <a:pt x="0" y="0"/>
                      <a:pt x="0" y="0"/>
                    </a:cubicBezTo>
                    <a:cubicBezTo>
                      <a:pt x="0" y="1"/>
                      <a:pt x="1" y="1"/>
                      <a:pt x="1"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0" name="Freeform 2564"/>
              <p:cNvSpPr>
                <a:spLocks/>
              </p:cNvSpPr>
              <p:nvPr/>
            </p:nvSpPr>
            <p:spPr bwMode="auto">
              <a:xfrm>
                <a:off x="3540126" y="4484688"/>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cubicBezTo>
                      <a:pt x="1" y="1"/>
                      <a:pt x="1" y="1"/>
                      <a:pt x="1" y="0"/>
                    </a:cubicBezTo>
                    <a:cubicBezTo>
                      <a:pt x="1" y="0"/>
                      <a:pt x="0" y="1"/>
                      <a:pt x="0"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1" name="Freeform 2565"/>
              <p:cNvSpPr>
                <a:spLocks/>
              </p:cNvSpPr>
              <p:nvPr/>
            </p:nvSpPr>
            <p:spPr bwMode="auto">
              <a:xfrm>
                <a:off x="3540126" y="4479926"/>
                <a:ext cx="0" cy="0"/>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cubicBezTo>
                      <a:pt x="0" y="2"/>
                      <a:pt x="0" y="1"/>
                      <a:pt x="0" y="0"/>
                    </a:cubicBezTo>
                    <a:cubicBezTo>
                      <a:pt x="0" y="1"/>
                      <a:pt x="0" y="2"/>
                      <a:pt x="0" y="2"/>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2" name="Freeform 2566"/>
              <p:cNvSpPr>
                <a:spLocks/>
              </p:cNvSpPr>
              <p:nvPr/>
            </p:nvSpPr>
            <p:spPr bwMode="auto">
              <a:xfrm>
                <a:off x="3538538" y="4387851"/>
                <a:ext cx="0" cy="158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1" y="2"/>
                      <a:pt x="0" y="1"/>
                      <a:pt x="0" y="0"/>
                    </a:cubicBezTo>
                    <a:cubicBezTo>
                      <a:pt x="0" y="1"/>
                      <a:pt x="0" y="2"/>
                      <a:pt x="1" y="3"/>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3" name="Freeform 2567"/>
              <p:cNvSpPr>
                <a:spLocks/>
              </p:cNvSpPr>
              <p:nvPr/>
            </p:nvSpPr>
            <p:spPr bwMode="auto">
              <a:xfrm>
                <a:off x="3540126" y="4476751"/>
                <a:ext cx="0" cy="1588"/>
              </a:xfrm>
              <a:custGeom>
                <a:avLst/>
                <a:gdLst>
                  <a:gd name="T0" fmla="*/ 4 h 4"/>
                  <a:gd name="T1" fmla="*/ 4 h 4"/>
                  <a:gd name="T2" fmla="*/ 0 h 4"/>
                  <a:gd name="T3" fmla="*/ 0 h 4"/>
                  <a:gd name="T4" fmla="*/ 4 h 4"/>
                </a:gdLst>
                <a:ahLst/>
                <a:cxnLst>
                  <a:cxn ang="0">
                    <a:pos x="0" y="T0"/>
                  </a:cxn>
                  <a:cxn ang="0">
                    <a:pos x="0" y="T1"/>
                  </a:cxn>
                  <a:cxn ang="0">
                    <a:pos x="0" y="T2"/>
                  </a:cxn>
                  <a:cxn ang="0">
                    <a:pos x="0" y="T3"/>
                  </a:cxn>
                  <a:cxn ang="0">
                    <a:pos x="0" y="T4"/>
                  </a:cxn>
                </a:cxnLst>
                <a:rect l="0" t="0" r="r" b="b"/>
                <a:pathLst>
                  <a:path h="4">
                    <a:moveTo>
                      <a:pt x="0" y="4"/>
                    </a:moveTo>
                    <a:lnTo>
                      <a:pt x="0" y="4"/>
                    </a:lnTo>
                    <a:lnTo>
                      <a:pt x="0" y="0"/>
                    </a:lnTo>
                    <a:cubicBezTo>
                      <a:pt x="0" y="0"/>
                      <a:pt x="0" y="0"/>
                      <a:pt x="0" y="0"/>
                    </a:cubicBezTo>
                    <a:lnTo>
                      <a:pt x="0" y="4"/>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4" name="Freeform 2568"/>
              <p:cNvSpPr>
                <a:spLocks/>
              </p:cNvSpPr>
              <p:nvPr/>
            </p:nvSpPr>
            <p:spPr bwMode="auto">
              <a:xfrm>
                <a:off x="3540126" y="4484688"/>
                <a:ext cx="0" cy="1588"/>
              </a:xfrm>
              <a:custGeom>
                <a:avLst/>
                <a:gdLst>
                  <a:gd name="T0" fmla="*/ 5 h 5"/>
                  <a:gd name="T1" fmla="*/ 5 h 5"/>
                  <a:gd name="T2" fmla="*/ 0 h 5"/>
                  <a:gd name="T3" fmla="*/ 5 h 5"/>
                </a:gdLst>
                <a:ahLst/>
                <a:cxnLst>
                  <a:cxn ang="0">
                    <a:pos x="0" y="T0"/>
                  </a:cxn>
                  <a:cxn ang="0">
                    <a:pos x="0" y="T1"/>
                  </a:cxn>
                  <a:cxn ang="0">
                    <a:pos x="0" y="T2"/>
                  </a:cxn>
                  <a:cxn ang="0">
                    <a:pos x="0" y="T3"/>
                  </a:cxn>
                </a:cxnLst>
                <a:rect l="0" t="0" r="r" b="b"/>
                <a:pathLst>
                  <a:path h="5">
                    <a:moveTo>
                      <a:pt x="0" y="5"/>
                    </a:moveTo>
                    <a:lnTo>
                      <a:pt x="0" y="5"/>
                    </a:lnTo>
                    <a:cubicBezTo>
                      <a:pt x="0" y="3"/>
                      <a:pt x="0" y="1"/>
                      <a:pt x="0" y="0"/>
                    </a:cubicBezTo>
                    <a:cubicBezTo>
                      <a:pt x="0" y="2"/>
                      <a:pt x="0" y="3"/>
                      <a:pt x="0" y="5"/>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5" name="Freeform 2569"/>
              <p:cNvSpPr>
                <a:spLocks/>
              </p:cNvSpPr>
              <p:nvPr/>
            </p:nvSpPr>
            <p:spPr bwMode="auto">
              <a:xfrm>
                <a:off x="3538538" y="4435476"/>
                <a:ext cx="1588" cy="0"/>
              </a:xfrm>
              <a:custGeom>
                <a:avLst/>
                <a:gdLst>
                  <a:gd name="T0" fmla="*/ 2 w 2"/>
                  <a:gd name="T1" fmla="*/ 3 h 3"/>
                  <a:gd name="T2" fmla="*/ 2 w 2"/>
                  <a:gd name="T3" fmla="*/ 3 h 3"/>
                  <a:gd name="T4" fmla="*/ 2 w 2"/>
                  <a:gd name="T5" fmla="*/ 2 h 3"/>
                  <a:gd name="T6" fmla="*/ 2 w 2"/>
                  <a:gd name="T7" fmla="*/ 3 h 3"/>
                </a:gdLst>
                <a:ahLst/>
                <a:cxnLst>
                  <a:cxn ang="0">
                    <a:pos x="T0" y="T1"/>
                  </a:cxn>
                  <a:cxn ang="0">
                    <a:pos x="T2" y="T3"/>
                  </a:cxn>
                  <a:cxn ang="0">
                    <a:pos x="T4" y="T5"/>
                  </a:cxn>
                  <a:cxn ang="0">
                    <a:pos x="T6" y="T7"/>
                  </a:cxn>
                </a:cxnLst>
                <a:rect l="0" t="0" r="r" b="b"/>
                <a:pathLst>
                  <a:path w="2" h="3">
                    <a:moveTo>
                      <a:pt x="2" y="3"/>
                    </a:moveTo>
                    <a:lnTo>
                      <a:pt x="2" y="3"/>
                    </a:lnTo>
                    <a:lnTo>
                      <a:pt x="2" y="2"/>
                    </a:lnTo>
                    <a:cubicBezTo>
                      <a:pt x="0" y="0"/>
                      <a:pt x="1" y="1"/>
                      <a:pt x="2" y="3"/>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6" name="Freeform 2570"/>
              <p:cNvSpPr>
                <a:spLocks/>
              </p:cNvSpPr>
              <p:nvPr/>
            </p:nvSpPr>
            <p:spPr bwMode="auto">
              <a:xfrm>
                <a:off x="3538538" y="4473576"/>
                <a:ext cx="0" cy="0"/>
              </a:xfrm>
              <a:custGeom>
                <a:avLst/>
                <a:gdLst>
                  <a:gd name="T0" fmla="*/ 1 w 1"/>
                  <a:gd name="T1" fmla="*/ 1 h 1"/>
                  <a:gd name="T2" fmla="*/ 1 w 1"/>
                  <a:gd name="T3" fmla="*/ 1 h 1"/>
                  <a:gd name="T4" fmla="*/ 1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lnTo>
                      <a:pt x="1" y="1"/>
                    </a:lnTo>
                    <a:lnTo>
                      <a:pt x="1" y="1"/>
                    </a:lnTo>
                    <a:lnTo>
                      <a:pt x="0" y="0"/>
                    </a:lnTo>
                    <a:lnTo>
                      <a:pt x="1" y="1"/>
                    </a:ln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7" name="Freeform 2571"/>
              <p:cNvSpPr>
                <a:spLocks/>
              </p:cNvSpPr>
              <p:nvPr/>
            </p:nvSpPr>
            <p:spPr bwMode="auto">
              <a:xfrm>
                <a:off x="3538538" y="4489451"/>
                <a:ext cx="1588" cy="1588"/>
              </a:xfrm>
              <a:custGeom>
                <a:avLst/>
                <a:gdLst>
                  <a:gd name="T0" fmla="*/ 1 w 1"/>
                  <a:gd name="T1" fmla="*/ 1 h 2"/>
                  <a:gd name="T2" fmla="*/ 1 w 1"/>
                  <a:gd name="T3" fmla="*/ 1 h 2"/>
                  <a:gd name="T4" fmla="*/ 0 w 1"/>
                  <a:gd name="T5" fmla="*/ 0 h 2"/>
                  <a:gd name="T6" fmla="*/ 0 w 1"/>
                  <a:gd name="T7" fmla="*/ 2 h 2"/>
                  <a:gd name="T8" fmla="*/ 1 w 1"/>
                  <a:gd name="T9" fmla="*/ 1 h 2"/>
                </a:gdLst>
                <a:ahLst/>
                <a:cxnLst>
                  <a:cxn ang="0">
                    <a:pos x="T0" y="T1"/>
                  </a:cxn>
                  <a:cxn ang="0">
                    <a:pos x="T2" y="T3"/>
                  </a:cxn>
                  <a:cxn ang="0">
                    <a:pos x="T4" y="T5"/>
                  </a:cxn>
                  <a:cxn ang="0">
                    <a:pos x="T6" y="T7"/>
                  </a:cxn>
                  <a:cxn ang="0">
                    <a:pos x="T8" y="T9"/>
                  </a:cxn>
                </a:cxnLst>
                <a:rect l="0" t="0" r="r" b="b"/>
                <a:pathLst>
                  <a:path w="1" h="2">
                    <a:moveTo>
                      <a:pt x="1" y="1"/>
                    </a:moveTo>
                    <a:lnTo>
                      <a:pt x="1" y="1"/>
                    </a:lnTo>
                    <a:cubicBezTo>
                      <a:pt x="1" y="1"/>
                      <a:pt x="1" y="0"/>
                      <a:pt x="0" y="0"/>
                    </a:cubicBezTo>
                    <a:cubicBezTo>
                      <a:pt x="0" y="0"/>
                      <a:pt x="0" y="1"/>
                      <a:pt x="0" y="2"/>
                    </a:cubicBezTo>
                    <a:cubicBezTo>
                      <a:pt x="1" y="1"/>
                      <a:pt x="1" y="1"/>
                      <a:pt x="1" y="1"/>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8" name="Freeform 2572"/>
              <p:cNvSpPr>
                <a:spLocks/>
              </p:cNvSpPr>
              <p:nvPr/>
            </p:nvSpPr>
            <p:spPr bwMode="auto">
              <a:xfrm>
                <a:off x="3538538" y="4451351"/>
                <a:ext cx="0" cy="1588"/>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cubicBezTo>
                      <a:pt x="1" y="1"/>
                      <a:pt x="2" y="2"/>
                      <a:pt x="2" y="2"/>
                    </a:cubicBezTo>
                    <a:cubicBezTo>
                      <a:pt x="2" y="0"/>
                      <a:pt x="2" y="0"/>
                      <a:pt x="0" y="0"/>
                    </a:cubicBezTo>
                    <a:close/>
                  </a:path>
                </a:pathLst>
              </a:custGeom>
              <a:solidFill>
                <a:srgbClr val="6E6F73"/>
              </a:solidFill>
              <a:ln w="0" cap="flat" cmpd="sng" algn="ctr">
                <a:noFill/>
                <a:prstDash val="solid"/>
                <a:round/>
                <a:headEnd type="none" w="med" len="med"/>
                <a:tailEnd type="none" w="med" len="med"/>
              </a:ln>
              <a:extLst>
                <a:ext uri="{91240B29-F687-4F45-9708-019B960494DF}">
                  <a14:hiddenLine xmlns:a14="http://schemas.microsoft.com/office/drawing/2010/main" w="0" cap="flat" cmpd="sng" algn="ctr">
                    <a:solidFill>
                      <a:srgbClr val="FFFFFF"/>
                    </a:solidFill>
                    <a:prstDash val="solid"/>
                    <a:round/>
                    <a:headEnd type="none" w="med" len="med"/>
                    <a:tailEnd type="none" w="med" len="med"/>
                  </a14:hiddenLine>
                </a:ext>
              </a:extLst>
            </p:spPr>
            <p:txBody>
              <a:bodyPr vert="horz" wrap="square" lIns="125296" tIns="62649" rIns="125296" bIns="62649" numCol="1" anchor="t" anchorCtr="0" compatLnSpc="1">
                <a:prstTxWarp prst="textNoShape">
                  <a:avLst/>
                </a:prstTxWarp>
              </a:bodyPr>
              <a:lstStyle/>
              <a:p>
                <a:endParaRPr lang="en-GB" dirty="0"/>
              </a:p>
            </p:txBody>
          </p:sp>
        </p:grpSp>
        <p:sp>
          <p:nvSpPr>
            <p:cNvPr id="15" name="Rectangle 14"/>
            <p:cNvSpPr/>
            <p:nvPr/>
          </p:nvSpPr>
          <p:spPr>
            <a:xfrm rot="16200000">
              <a:off x="467754" y="3273320"/>
              <a:ext cx="2624918" cy="415732"/>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2194" b="1" dirty="0">
                  <a:solidFill>
                    <a:srgbClr val="575757"/>
                  </a:solidFill>
                  <a:latin typeface="MV Boli" panose="02000500030200090000" pitchFamily="2" charset="0"/>
                  <a:cs typeface="MV Boli" panose="02000500030200090000" pitchFamily="2" charset="0"/>
                </a:rPr>
                <a:t>MODULARITY</a:t>
              </a:r>
            </a:p>
          </p:txBody>
        </p:sp>
        <p:sp>
          <p:nvSpPr>
            <p:cNvPr id="16" name="Rectangle 15"/>
            <p:cNvSpPr/>
            <p:nvPr/>
          </p:nvSpPr>
          <p:spPr>
            <a:xfrm>
              <a:off x="1465025" y="1676400"/>
              <a:ext cx="658806" cy="3759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1646" dirty="0">
                  <a:solidFill>
                    <a:schemeClr val="bg1">
                      <a:lumMod val="65000"/>
                    </a:schemeClr>
                  </a:solidFill>
                  <a:latin typeface="MV Boli" panose="02000500030200090000" pitchFamily="2" charset="0"/>
                  <a:cs typeface="MV Boli" panose="02000500030200090000" pitchFamily="2" charset="0"/>
                </a:rPr>
                <a:t>high</a:t>
              </a:r>
            </a:p>
          </p:txBody>
        </p:sp>
        <p:sp>
          <p:nvSpPr>
            <p:cNvPr id="17" name="Rectangle 16"/>
            <p:cNvSpPr/>
            <p:nvPr/>
          </p:nvSpPr>
          <p:spPr>
            <a:xfrm>
              <a:off x="1465025" y="4965700"/>
              <a:ext cx="658806" cy="3759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1646" dirty="0">
                  <a:solidFill>
                    <a:schemeClr val="bg1">
                      <a:lumMod val="65000"/>
                    </a:schemeClr>
                  </a:solidFill>
                  <a:latin typeface="MV Boli" panose="02000500030200090000" pitchFamily="2" charset="0"/>
                  <a:cs typeface="MV Boli" panose="02000500030200090000" pitchFamily="2" charset="0"/>
                </a:rPr>
                <a:t>low</a:t>
              </a:r>
            </a:p>
          </p:txBody>
        </p:sp>
        <p:grpSp>
          <p:nvGrpSpPr>
            <p:cNvPr id="18" name="Group 17"/>
            <p:cNvGrpSpPr/>
            <p:nvPr/>
          </p:nvGrpSpPr>
          <p:grpSpPr>
            <a:xfrm>
              <a:off x="4020894" y="2146300"/>
              <a:ext cx="1547813" cy="881063"/>
              <a:chOff x="1547813" y="3873500"/>
              <a:chExt cx="1547813" cy="881063"/>
            </a:xfrm>
          </p:grpSpPr>
          <p:sp>
            <p:nvSpPr>
              <p:cNvPr id="100" name="Freeform 2576"/>
              <p:cNvSpPr>
                <a:spLocks/>
              </p:cNvSpPr>
              <p:nvPr/>
            </p:nvSpPr>
            <p:spPr bwMode="auto">
              <a:xfrm>
                <a:off x="2297113" y="3925888"/>
                <a:ext cx="12700" cy="4763"/>
              </a:xfrm>
              <a:custGeom>
                <a:avLst/>
                <a:gdLst>
                  <a:gd name="T0" fmla="*/ 18 w 29"/>
                  <a:gd name="T1" fmla="*/ 11 h 11"/>
                  <a:gd name="T2" fmla="*/ 18 w 29"/>
                  <a:gd name="T3" fmla="*/ 11 h 11"/>
                  <a:gd name="T4" fmla="*/ 0 w 29"/>
                  <a:gd name="T5" fmla="*/ 11 h 11"/>
                  <a:gd name="T6" fmla="*/ 18 w 29"/>
                  <a:gd name="T7" fmla="*/ 11 h 11"/>
                </a:gdLst>
                <a:ahLst/>
                <a:cxnLst>
                  <a:cxn ang="0">
                    <a:pos x="T0" y="T1"/>
                  </a:cxn>
                  <a:cxn ang="0">
                    <a:pos x="T2" y="T3"/>
                  </a:cxn>
                  <a:cxn ang="0">
                    <a:pos x="T4" y="T5"/>
                  </a:cxn>
                  <a:cxn ang="0">
                    <a:pos x="T6" y="T7"/>
                  </a:cxn>
                </a:cxnLst>
                <a:rect l="0" t="0" r="r" b="b"/>
                <a:pathLst>
                  <a:path w="29" h="11">
                    <a:moveTo>
                      <a:pt x="18" y="11"/>
                    </a:moveTo>
                    <a:lnTo>
                      <a:pt x="18" y="11"/>
                    </a:lnTo>
                    <a:cubicBezTo>
                      <a:pt x="29" y="0"/>
                      <a:pt x="14" y="8"/>
                      <a:pt x="0" y="11"/>
                    </a:cubicBezTo>
                    <a:lnTo>
                      <a:pt x="18" y="11"/>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1" name="Freeform 2577"/>
              <p:cNvSpPr>
                <a:spLocks/>
              </p:cNvSpPr>
              <p:nvPr/>
            </p:nvSpPr>
            <p:spPr bwMode="auto">
              <a:xfrm>
                <a:off x="2290763" y="3930650"/>
                <a:ext cx="6350" cy="1588"/>
              </a:xfrm>
              <a:custGeom>
                <a:avLst/>
                <a:gdLst>
                  <a:gd name="T0" fmla="*/ 13 w 13"/>
                  <a:gd name="T1" fmla="*/ 0 h 2"/>
                  <a:gd name="T2" fmla="*/ 13 w 13"/>
                  <a:gd name="T3" fmla="*/ 0 h 2"/>
                  <a:gd name="T4" fmla="*/ 0 w 13"/>
                  <a:gd name="T5" fmla="*/ 1 h 2"/>
                  <a:gd name="T6" fmla="*/ 13 w 13"/>
                  <a:gd name="T7" fmla="*/ 0 h 2"/>
                </a:gdLst>
                <a:ahLst/>
                <a:cxnLst>
                  <a:cxn ang="0">
                    <a:pos x="T0" y="T1"/>
                  </a:cxn>
                  <a:cxn ang="0">
                    <a:pos x="T2" y="T3"/>
                  </a:cxn>
                  <a:cxn ang="0">
                    <a:pos x="T4" y="T5"/>
                  </a:cxn>
                  <a:cxn ang="0">
                    <a:pos x="T6" y="T7"/>
                  </a:cxn>
                </a:cxnLst>
                <a:rect l="0" t="0" r="r" b="b"/>
                <a:pathLst>
                  <a:path w="13" h="2">
                    <a:moveTo>
                      <a:pt x="13" y="0"/>
                    </a:moveTo>
                    <a:lnTo>
                      <a:pt x="13" y="0"/>
                    </a:lnTo>
                    <a:lnTo>
                      <a:pt x="0" y="1"/>
                    </a:lnTo>
                    <a:cubicBezTo>
                      <a:pt x="4" y="2"/>
                      <a:pt x="8" y="1"/>
                      <a:pt x="13"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2" name="Freeform 2578"/>
              <p:cNvSpPr>
                <a:spLocks/>
              </p:cNvSpPr>
              <p:nvPr/>
            </p:nvSpPr>
            <p:spPr bwMode="auto">
              <a:xfrm>
                <a:off x="2241551" y="3927475"/>
                <a:ext cx="34925" cy="9525"/>
              </a:xfrm>
              <a:custGeom>
                <a:avLst/>
                <a:gdLst>
                  <a:gd name="T0" fmla="*/ 0 w 75"/>
                  <a:gd name="T1" fmla="*/ 23 h 23"/>
                  <a:gd name="T2" fmla="*/ 0 w 75"/>
                  <a:gd name="T3" fmla="*/ 23 h 23"/>
                  <a:gd name="T4" fmla="*/ 75 w 75"/>
                  <a:gd name="T5" fmla="*/ 2 h 23"/>
                  <a:gd name="T6" fmla="*/ 0 w 75"/>
                  <a:gd name="T7" fmla="*/ 23 h 23"/>
                </a:gdLst>
                <a:ahLst/>
                <a:cxnLst>
                  <a:cxn ang="0">
                    <a:pos x="T0" y="T1"/>
                  </a:cxn>
                  <a:cxn ang="0">
                    <a:pos x="T2" y="T3"/>
                  </a:cxn>
                  <a:cxn ang="0">
                    <a:pos x="T4" y="T5"/>
                  </a:cxn>
                  <a:cxn ang="0">
                    <a:pos x="T6" y="T7"/>
                  </a:cxn>
                </a:cxnLst>
                <a:rect l="0" t="0" r="r" b="b"/>
                <a:pathLst>
                  <a:path w="75" h="23">
                    <a:moveTo>
                      <a:pt x="0" y="23"/>
                    </a:moveTo>
                    <a:lnTo>
                      <a:pt x="0" y="23"/>
                    </a:lnTo>
                    <a:cubicBezTo>
                      <a:pt x="26" y="11"/>
                      <a:pt x="60" y="15"/>
                      <a:pt x="75" y="2"/>
                    </a:cubicBezTo>
                    <a:cubicBezTo>
                      <a:pt x="47" y="0"/>
                      <a:pt x="5" y="10"/>
                      <a:pt x="0" y="23"/>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3" name="Freeform 2579"/>
              <p:cNvSpPr>
                <a:spLocks/>
              </p:cNvSpPr>
              <p:nvPr/>
            </p:nvSpPr>
            <p:spPr bwMode="auto">
              <a:xfrm>
                <a:off x="2252663" y="3933825"/>
                <a:ext cx="9525" cy="6350"/>
              </a:xfrm>
              <a:custGeom>
                <a:avLst/>
                <a:gdLst>
                  <a:gd name="T0" fmla="*/ 19 w 22"/>
                  <a:gd name="T1" fmla="*/ 7 h 13"/>
                  <a:gd name="T2" fmla="*/ 19 w 22"/>
                  <a:gd name="T3" fmla="*/ 7 h 13"/>
                  <a:gd name="T4" fmla="*/ 22 w 22"/>
                  <a:gd name="T5" fmla="*/ 0 h 13"/>
                  <a:gd name="T6" fmla="*/ 0 w 22"/>
                  <a:gd name="T7" fmla="*/ 13 h 13"/>
                  <a:gd name="T8" fmla="*/ 19 w 22"/>
                  <a:gd name="T9" fmla="*/ 7 h 13"/>
                </a:gdLst>
                <a:ahLst/>
                <a:cxnLst>
                  <a:cxn ang="0">
                    <a:pos x="T0" y="T1"/>
                  </a:cxn>
                  <a:cxn ang="0">
                    <a:pos x="T2" y="T3"/>
                  </a:cxn>
                  <a:cxn ang="0">
                    <a:pos x="T4" y="T5"/>
                  </a:cxn>
                  <a:cxn ang="0">
                    <a:pos x="T6" y="T7"/>
                  </a:cxn>
                  <a:cxn ang="0">
                    <a:pos x="T8" y="T9"/>
                  </a:cxn>
                </a:cxnLst>
                <a:rect l="0" t="0" r="r" b="b"/>
                <a:pathLst>
                  <a:path w="22" h="13">
                    <a:moveTo>
                      <a:pt x="19" y="7"/>
                    </a:moveTo>
                    <a:lnTo>
                      <a:pt x="19" y="7"/>
                    </a:lnTo>
                    <a:lnTo>
                      <a:pt x="22" y="0"/>
                    </a:lnTo>
                    <a:lnTo>
                      <a:pt x="0" y="13"/>
                    </a:lnTo>
                    <a:lnTo>
                      <a:pt x="19" y="7"/>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4" name="Freeform 2580"/>
              <p:cNvSpPr>
                <a:spLocks/>
              </p:cNvSpPr>
              <p:nvPr/>
            </p:nvSpPr>
            <p:spPr bwMode="auto">
              <a:xfrm>
                <a:off x="2251076" y="3938588"/>
                <a:ext cx="19050" cy="4763"/>
              </a:xfrm>
              <a:custGeom>
                <a:avLst/>
                <a:gdLst>
                  <a:gd name="T0" fmla="*/ 40 w 40"/>
                  <a:gd name="T1" fmla="*/ 1 h 12"/>
                  <a:gd name="T2" fmla="*/ 40 w 40"/>
                  <a:gd name="T3" fmla="*/ 1 h 12"/>
                  <a:gd name="T4" fmla="*/ 36 w 40"/>
                  <a:gd name="T5" fmla="*/ 0 h 12"/>
                  <a:gd name="T6" fmla="*/ 0 w 40"/>
                  <a:gd name="T7" fmla="*/ 12 h 12"/>
                  <a:gd name="T8" fmla="*/ 40 w 40"/>
                  <a:gd name="T9" fmla="*/ 1 h 12"/>
                </a:gdLst>
                <a:ahLst/>
                <a:cxnLst>
                  <a:cxn ang="0">
                    <a:pos x="T0" y="T1"/>
                  </a:cxn>
                  <a:cxn ang="0">
                    <a:pos x="T2" y="T3"/>
                  </a:cxn>
                  <a:cxn ang="0">
                    <a:pos x="T4" y="T5"/>
                  </a:cxn>
                  <a:cxn ang="0">
                    <a:pos x="T6" y="T7"/>
                  </a:cxn>
                  <a:cxn ang="0">
                    <a:pos x="T8" y="T9"/>
                  </a:cxn>
                </a:cxnLst>
                <a:rect l="0" t="0" r="r" b="b"/>
                <a:pathLst>
                  <a:path w="40" h="12">
                    <a:moveTo>
                      <a:pt x="40" y="1"/>
                    </a:moveTo>
                    <a:lnTo>
                      <a:pt x="40" y="1"/>
                    </a:lnTo>
                    <a:lnTo>
                      <a:pt x="36" y="0"/>
                    </a:lnTo>
                    <a:lnTo>
                      <a:pt x="0" y="12"/>
                    </a:lnTo>
                    <a:lnTo>
                      <a:pt x="40" y="1"/>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5" name="Freeform 2581"/>
              <p:cNvSpPr>
                <a:spLocks/>
              </p:cNvSpPr>
              <p:nvPr/>
            </p:nvSpPr>
            <p:spPr bwMode="auto">
              <a:xfrm>
                <a:off x="2190751" y="3933825"/>
                <a:ext cx="46038" cy="14288"/>
              </a:xfrm>
              <a:custGeom>
                <a:avLst/>
                <a:gdLst>
                  <a:gd name="T0" fmla="*/ 18 w 100"/>
                  <a:gd name="T1" fmla="*/ 21 h 31"/>
                  <a:gd name="T2" fmla="*/ 18 w 100"/>
                  <a:gd name="T3" fmla="*/ 21 h 31"/>
                  <a:gd name="T4" fmla="*/ 45 w 100"/>
                  <a:gd name="T5" fmla="*/ 14 h 31"/>
                  <a:gd name="T6" fmla="*/ 48 w 100"/>
                  <a:gd name="T7" fmla="*/ 31 h 31"/>
                  <a:gd name="T8" fmla="*/ 100 w 100"/>
                  <a:gd name="T9" fmla="*/ 7 h 31"/>
                  <a:gd name="T10" fmla="*/ 37 w 100"/>
                  <a:gd name="T11" fmla="*/ 6 h 31"/>
                  <a:gd name="T12" fmla="*/ 18 w 100"/>
                  <a:gd name="T13" fmla="*/ 21 h 31"/>
                </a:gdLst>
                <a:ahLst/>
                <a:cxnLst>
                  <a:cxn ang="0">
                    <a:pos x="T0" y="T1"/>
                  </a:cxn>
                  <a:cxn ang="0">
                    <a:pos x="T2" y="T3"/>
                  </a:cxn>
                  <a:cxn ang="0">
                    <a:pos x="T4" y="T5"/>
                  </a:cxn>
                  <a:cxn ang="0">
                    <a:pos x="T6" y="T7"/>
                  </a:cxn>
                  <a:cxn ang="0">
                    <a:pos x="T8" y="T9"/>
                  </a:cxn>
                  <a:cxn ang="0">
                    <a:pos x="T10" y="T11"/>
                  </a:cxn>
                  <a:cxn ang="0">
                    <a:pos x="T12" y="T13"/>
                  </a:cxn>
                </a:cxnLst>
                <a:rect l="0" t="0" r="r" b="b"/>
                <a:pathLst>
                  <a:path w="100" h="31">
                    <a:moveTo>
                      <a:pt x="18" y="21"/>
                    </a:moveTo>
                    <a:lnTo>
                      <a:pt x="18" y="21"/>
                    </a:lnTo>
                    <a:lnTo>
                      <a:pt x="45" y="14"/>
                    </a:lnTo>
                    <a:cubicBezTo>
                      <a:pt x="72" y="18"/>
                      <a:pt x="30" y="28"/>
                      <a:pt x="48" y="31"/>
                    </a:cubicBezTo>
                    <a:cubicBezTo>
                      <a:pt x="82" y="24"/>
                      <a:pt x="57" y="12"/>
                      <a:pt x="100" y="7"/>
                    </a:cubicBezTo>
                    <a:cubicBezTo>
                      <a:pt x="95" y="0"/>
                      <a:pt x="32" y="19"/>
                      <a:pt x="37" y="6"/>
                    </a:cubicBezTo>
                    <a:cubicBezTo>
                      <a:pt x="0" y="9"/>
                      <a:pt x="36" y="13"/>
                      <a:pt x="18" y="2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6" name="Freeform 2582"/>
              <p:cNvSpPr>
                <a:spLocks/>
              </p:cNvSpPr>
              <p:nvPr/>
            </p:nvSpPr>
            <p:spPr bwMode="auto">
              <a:xfrm>
                <a:off x="1592263" y="4329113"/>
                <a:ext cx="1588" cy="1588"/>
              </a:xfrm>
              <a:custGeom>
                <a:avLst/>
                <a:gdLst>
                  <a:gd name="T0" fmla="*/ 2 w 3"/>
                  <a:gd name="T1" fmla="*/ 0 h 3"/>
                  <a:gd name="T2" fmla="*/ 2 w 3"/>
                  <a:gd name="T3" fmla="*/ 0 h 3"/>
                  <a:gd name="T4" fmla="*/ 0 w 3"/>
                  <a:gd name="T5" fmla="*/ 3 h 3"/>
                  <a:gd name="T6" fmla="*/ 2 w 3"/>
                  <a:gd name="T7" fmla="*/ 0 h 3"/>
                </a:gdLst>
                <a:ahLst/>
                <a:cxnLst>
                  <a:cxn ang="0">
                    <a:pos x="T0" y="T1"/>
                  </a:cxn>
                  <a:cxn ang="0">
                    <a:pos x="T2" y="T3"/>
                  </a:cxn>
                  <a:cxn ang="0">
                    <a:pos x="T4" y="T5"/>
                  </a:cxn>
                  <a:cxn ang="0">
                    <a:pos x="T6" y="T7"/>
                  </a:cxn>
                </a:cxnLst>
                <a:rect l="0" t="0" r="r" b="b"/>
                <a:pathLst>
                  <a:path w="3" h="3">
                    <a:moveTo>
                      <a:pt x="2" y="0"/>
                    </a:moveTo>
                    <a:lnTo>
                      <a:pt x="2" y="0"/>
                    </a:lnTo>
                    <a:cubicBezTo>
                      <a:pt x="1" y="2"/>
                      <a:pt x="1" y="3"/>
                      <a:pt x="0" y="3"/>
                    </a:cubicBezTo>
                    <a:cubicBezTo>
                      <a:pt x="2" y="2"/>
                      <a:pt x="3" y="1"/>
                      <a:pt x="2"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7" name="Freeform 2583"/>
              <p:cNvSpPr>
                <a:spLocks/>
              </p:cNvSpPr>
              <p:nvPr/>
            </p:nvSpPr>
            <p:spPr bwMode="auto">
              <a:xfrm>
                <a:off x="1655763" y="4497388"/>
                <a:ext cx="4763" cy="6350"/>
              </a:xfrm>
              <a:custGeom>
                <a:avLst/>
                <a:gdLst>
                  <a:gd name="T0" fmla="*/ 0 w 11"/>
                  <a:gd name="T1" fmla="*/ 0 h 14"/>
                  <a:gd name="T2" fmla="*/ 0 w 11"/>
                  <a:gd name="T3" fmla="*/ 0 h 14"/>
                  <a:gd name="T4" fmla="*/ 11 w 11"/>
                  <a:gd name="T5" fmla="*/ 14 h 14"/>
                  <a:gd name="T6" fmla="*/ 8 w 11"/>
                  <a:gd name="T7" fmla="*/ 7 h 14"/>
                  <a:gd name="T8" fmla="*/ 0 w 11"/>
                  <a:gd name="T9" fmla="*/ 0 h 14"/>
                </a:gdLst>
                <a:ahLst/>
                <a:cxnLst>
                  <a:cxn ang="0">
                    <a:pos x="T0" y="T1"/>
                  </a:cxn>
                  <a:cxn ang="0">
                    <a:pos x="T2" y="T3"/>
                  </a:cxn>
                  <a:cxn ang="0">
                    <a:pos x="T4" y="T5"/>
                  </a:cxn>
                  <a:cxn ang="0">
                    <a:pos x="T6" y="T7"/>
                  </a:cxn>
                  <a:cxn ang="0">
                    <a:pos x="T8" y="T9"/>
                  </a:cxn>
                </a:cxnLst>
                <a:rect l="0" t="0" r="r" b="b"/>
                <a:pathLst>
                  <a:path w="11" h="14">
                    <a:moveTo>
                      <a:pt x="0" y="0"/>
                    </a:moveTo>
                    <a:lnTo>
                      <a:pt x="0" y="0"/>
                    </a:lnTo>
                    <a:cubicBezTo>
                      <a:pt x="3" y="5"/>
                      <a:pt x="7" y="9"/>
                      <a:pt x="11" y="14"/>
                    </a:cubicBezTo>
                    <a:cubicBezTo>
                      <a:pt x="10" y="12"/>
                      <a:pt x="10" y="9"/>
                      <a:pt x="8" y="7"/>
                    </a:cubicBezTo>
                    <a:lnTo>
                      <a:pt x="0" y="0"/>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8" name="Freeform 2584"/>
              <p:cNvSpPr>
                <a:spLocks/>
              </p:cNvSpPr>
              <p:nvPr/>
            </p:nvSpPr>
            <p:spPr bwMode="auto">
              <a:xfrm>
                <a:off x="1646238" y="4216400"/>
                <a:ext cx="6350" cy="4763"/>
              </a:xfrm>
              <a:custGeom>
                <a:avLst/>
                <a:gdLst>
                  <a:gd name="T0" fmla="*/ 0 w 14"/>
                  <a:gd name="T1" fmla="*/ 10 h 10"/>
                  <a:gd name="T2" fmla="*/ 0 w 14"/>
                  <a:gd name="T3" fmla="*/ 10 h 10"/>
                  <a:gd name="T4" fmla="*/ 14 w 14"/>
                  <a:gd name="T5" fmla="*/ 0 h 10"/>
                  <a:gd name="T6" fmla="*/ 0 w 14"/>
                  <a:gd name="T7" fmla="*/ 10 h 10"/>
                </a:gdLst>
                <a:ahLst/>
                <a:cxnLst>
                  <a:cxn ang="0">
                    <a:pos x="T0" y="T1"/>
                  </a:cxn>
                  <a:cxn ang="0">
                    <a:pos x="T2" y="T3"/>
                  </a:cxn>
                  <a:cxn ang="0">
                    <a:pos x="T4" y="T5"/>
                  </a:cxn>
                  <a:cxn ang="0">
                    <a:pos x="T6" y="T7"/>
                  </a:cxn>
                </a:cxnLst>
                <a:rect l="0" t="0" r="r" b="b"/>
                <a:pathLst>
                  <a:path w="14" h="10">
                    <a:moveTo>
                      <a:pt x="0" y="10"/>
                    </a:moveTo>
                    <a:lnTo>
                      <a:pt x="0" y="10"/>
                    </a:lnTo>
                    <a:cubicBezTo>
                      <a:pt x="5" y="7"/>
                      <a:pt x="10" y="3"/>
                      <a:pt x="14" y="0"/>
                    </a:cubicBezTo>
                    <a:cubicBezTo>
                      <a:pt x="11" y="1"/>
                      <a:pt x="6" y="4"/>
                      <a:pt x="0" y="1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09" name="Freeform 2585"/>
              <p:cNvSpPr>
                <a:spLocks/>
              </p:cNvSpPr>
              <p:nvPr/>
            </p:nvSpPr>
            <p:spPr bwMode="auto">
              <a:xfrm>
                <a:off x="2581276" y="4699000"/>
                <a:ext cx="3175" cy="3175"/>
              </a:xfrm>
              <a:custGeom>
                <a:avLst/>
                <a:gdLst>
                  <a:gd name="T0" fmla="*/ 2 w 5"/>
                  <a:gd name="T1" fmla="*/ 1 h 5"/>
                  <a:gd name="T2" fmla="*/ 2 w 5"/>
                  <a:gd name="T3" fmla="*/ 1 h 5"/>
                  <a:gd name="T4" fmla="*/ 0 w 5"/>
                  <a:gd name="T5" fmla="*/ 5 h 5"/>
                  <a:gd name="T6" fmla="*/ 1 w 5"/>
                  <a:gd name="T7" fmla="*/ 5 h 5"/>
                  <a:gd name="T8" fmla="*/ 5 w 5"/>
                  <a:gd name="T9" fmla="*/ 0 h 5"/>
                  <a:gd name="T10" fmla="*/ 2 w 5"/>
                  <a:gd name="T11" fmla="*/ 1 h 5"/>
                </a:gdLst>
                <a:ahLst/>
                <a:cxnLst>
                  <a:cxn ang="0">
                    <a:pos x="T0" y="T1"/>
                  </a:cxn>
                  <a:cxn ang="0">
                    <a:pos x="T2" y="T3"/>
                  </a:cxn>
                  <a:cxn ang="0">
                    <a:pos x="T4" y="T5"/>
                  </a:cxn>
                  <a:cxn ang="0">
                    <a:pos x="T6" y="T7"/>
                  </a:cxn>
                  <a:cxn ang="0">
                    <a:pos x="T8" y="T9"/>
                  </a:cxn>
                  <a:cxn ang="0">
                    <a:pos x="T10" y="T11"/>
                  </a:cxn>
                </a:cxnLst>
                <a:rect l="0" t="0" r="r" b="b"/>
                <a:pathLst>
                  <a:path w="5" h="5">
                    <a:moveTo>
                      <a:pt x="2" y="1"/>
                    </a:moveTo>
                    <a:lnTo>
                      <a:pt x="2" y="1"/>
                    </a:lnTo>
                    <a:cubicBezTo>
                      <a:pt x="1" y="2"/>
                      <a:pt x="0" y="3"/>
                      <a:pt x="0" y="5"/>
                    </a:cubicBezTo>
                    <a:cubicBezTo>
                      <a:pt x="1" y="5"/>
                      <a:pt x="1" y="5"/>
                      <a:pt x="1" y="5"/>
                    </a:cubicBezTo>
                    <a:lnTo>
                      <a:pt x="5" y="0"/>
                    </a:lnTo>
                    <a:lnTo>
                      <a:pt x="2" y="1"/>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0" name="Freeform 2586"/>
              <p:cNvSpPr>
                <a:spLocks/>
              </p:cNvSpPr>
              <p:nvPr/>
            </p:nvSpPr>
            <p:spPr bwMode="auto">
              <a:xfrm>
                <a:off x="1846263" y="4605338"/>
                <a:ext cx="9525" cy="1588"/>
              </a:xfrm>
              <a:custGeom>
                <a:avLst/>
                <a:gdLst>
                  <a:gd name="T0" fmla="*/ 0 w 19"/>
                  <a:gd name="T1" fmla="*/ 0 h 5"/>
                  <a:gd name="T2" fmla="*/ 0 w 19"/>
                  <a:gd name="T3" fmla="*/ 0 h 5"/>
                  <a:gd name="T4" fmla="*/ 19 w 19"/>
                  <a:gd name="T5" fmla="*/ 5 h 5"/>
                  <a:gd name="T6" fmla="*/ 0 w 19"/>
                  <a:gd name="T7" fmla="*/ 0 h 5"/>
                </a:gdLst>
                <a:ahLst/>
                <a:cxnLst>
                  <a:cxn ang="0">
                    <a:pos x="T0" y="T1"/>
                  </a:cxn>
                  <a:cxn ang="0">
                    <a:pos x="T2" y="T3"/>
                  </a:cxn>
                  <a:cxn ang="0">
                    <a:pos x="T4" y="T5"/>
                  </a:cxn>
                  <a:cxn ang="0">
                    <a:pos x="T6" y="T7"/>
                  </a:cxn>
                </a:cxnLst>
                <a:rect l="0" t="0" r="r" b="b"/>
                <a:pathLst>
                  <a:path w="19" h="5">
                    <a:moveTo>
                      <a:pt x="0" y="0"/>
                    </a:moveTo>
                    <a:lnTo>
                      <a:pt x="0" y="0"/>
                    </a:lnTo>
                    <a:cubicBezTo>
                      <a:pt x="7" y="2"/>
                      <a:pt x="13" y="4"/>
                      <a:pt x="19" y="5"/>
                    </a:cubicBezTo>
                    <a:cubicBezTo>
                      <a:pt x="8" y="1"/>
                      <a:pt x="3" y="0"/>
                      <a:pt x="0"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1" name="Freeform 2587"/>
              <p:cNvSpPr>
                <a:spLocks/>
              </p:cNvSpPr>
              <p:nvPr/>
            </p:nvSpPr>
            <p:spPr bwMode="auto">
              <a:xfrm>
                <a:off x="1697038" y="4170363"/>
                <a:ext cx="3175" cy="3175"/>
              </a:xfrm>
              <a:custGeom>
                <a:avLst/>
                <a:gdLst>
                  <a:gd name="T0" fmla="*/ 5 w 7"/>
                  <a:gd name="T1" fmla="*/ 0 h 4"/>
                  <a:gd name="T2" fmla="*/ 5 w 7"/>
                  <a:gd name="T3" fmla="*/ 0 h 4"/>
                  <a:gd name="T4" fmla="*/ 0 w 7"/>
                  <a:gd name="T5" fmla="*/ 4 h 4"/>
                  <a:gd name="T6" fmla="*/ 7 w 7"/>
                  <a:gd name="T7" fmla="*/ 0 h 4"/>
                  <a:gd name="T8" fmla="*/ 5 w 7"/>
                  <a:gd name="T9" fmla="*/ 0 h 4"/>
                  <a:gd name="T10" fmla="*/ 5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5" y="0"/>
                    </a:moveTo>
                    <a:lnTo>
                      <a:pt x="5" y="0"/>
                    </a:lnTo>
                    <a:cubicBezTo>
                      <a:pt x="3" y="2"/>
                      <a:pt x="1" y="3"/>
                      <a:pt x="0" y="4"/>
                    </a:cubicBezTo>
                    <a:cubicBezTo>
                      <a:pt x="2" y="3"/>
                      <a:pt x="4" y="2"/>
                      <a:pt x="7" y="0"/>
                    </a:cubicBezTo>
                    <a:lnTo>
                      <a:pt x="5" y="0"/>
                    </a:lnTo>
                    <a:cubicBezTo>
                      <a:pt x="5" y="0"/>
                      <a:pt x="5" y="0"/>
                      <a:pt x="5"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2" name="Freeform 2588"/>
              <p:cNvSpPr>
                <a:spLocks/>
              </p:cNvSpPr>
              <p:nvPr/>
            </p:nvSpPr>
            <p:spPr bwMode="auto">
              <a:xfrm>
                <a:off x="1625601" y="4445000"/>
                <a:ext cx="1588" cy="6350"/>
              </a:xfrm>
              <a:custGeom>
                <a:avLst/>
                <a:gdLst>
                  <a:gd name="T0" fmla="*/ 0 w 5"/>
                  <a:gd name="T1" fmla="*/ 0 h 13"/>
                  <a:gd name="T2" fmla="*/ 0 w 5"/>
                  <a:gd name="T3" fmla="*/ 0 h 13"/>
                  <a:gd name="T4" fmla="*/ 5 w 5"/>
                  <a:gd name="T5" fmla="*/ 13 h 13"/>
                  <a:gd name="T6" fmla="*/ 0 w 5"/>
                  <a:gd name="T7" fmla="*/ 0 h 13"/>
                </a:gdLst>
                <a:ahLst/>
                <a:cxnLst>
                  <a:cxn ang="0">
                    <a:pos x="T0" y="T1"/>
                  </a:cxn>
                  <a:cxn ang="0">
                    <a:pos x="T2" y="T3"/>
                  </a:cxn>
                  <a:cxn ang="0">
                    <a:pos x="T4" y="T5"/>
                  </a:cxn>
                  <a:cxn ang="0">
                    <a:pos x="T6" y="T7"/>
                  </a:cxn>
                </a:cxnLst>
                <a:rect l="0" t="0" r="r" b="b"/>
                <a:pathLst>
                  <a:path w="5" h="13">
                    <a:moveTo>
                      <a:pt x="0" y="0"/>
                    </a:moveTo>
                    <a:lnTo>
                      <a:pt x="0" y="0"/>
                    </a:lnTo>
                    <a:cubicBezTo>
                      <a:pt x="1" y="5"/>
                      <a:pt x="3" y="10"/>
                      <a:pt x="5" y="13"/>
                    </a:cubicBezTo>
                    <a:cubicBezTo>
                      <a:pt x="3" y="8"/>
                      <a:pt x="2" y="4"/>
                      <a:pt x="0"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3" name="Freeform 2589"/>
              <p:cNvSpPr>
                <a:spLocks/>
              </p:cNvSpPr>
              <p:nvPr/>
            </p:nvSpPr>
            <p:spPr bwMode="auto">
              <a:xfrm>
                <a:off x="2000251" y="3981450"/>
                <a:ext cx="7938" cy="3175"/>
              </a:xfrm>
              <a:custGeom>
                <a:avLst/>
                <a:gdLst>
                  <a:gd name="T0" fmla="*/ 19 w 19"/>
                  <a:gd name="T1" fmla="*/ 0 h 7"/>
                  <a:gd name="T2" fmla="*/ 19 w 19"/>
                  <a:gd name="T3" fmla="*/ 0 h 7"/>
                  <a:gd name="T4" fmla="*/ 0 w 19"/>
                  <a:gd name="T5" fmla="*/ 7 h 7"/>
                  <a:gd name="T6" fmla="*/ 19 w 19"/>
                  <a:gd name="T7" fmla="*/ 0 h 7"/>
                </a:gdLst>
                <a:ahLst/>
                <a:cxnLst>
                  <a:cxn ang="0">
                    <a:pos x="T0" y="T1"/>
                  </a:cxn>
                  <a:cxn ang="0">
                    <a:pos x="T2" y="T3"/>
                  </a:cxn>
                  <a:cxn ang="0">
                    <a:pos x="T4" y="T5"/>
                  </a:cxn>
                  <a:cxn ang="0">
                    <a:pos x="T6" y="T7"/>
                  </a:cxn>
                </a:cxnLst>
                <a:rect l="0" t="0" r="r" b="b"/>
                <a:pathLst>
                  <a:path w="19" h="7">
                    <a:moveTo>
                      <a:pt x="19" y="0"/>
                    </a:moveTo>
                    <a:lnTo>
                      <a:pt x="19" y="0"/>
                    </a:lnTo>
                    <a:cubicBezTo>
                      <a:pt x="11" y="1"/>
                      <a:pt x="5" y="3"/>
                      <a:pt x="0" y="7"/>
                    </a:cubicBezTo>
                    <a:cubicBezTo>
                      <a:pt x="5" y="7"/>
                      <a:pt x="11" y="5"/>
                      <a:pt x="19"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4" name="Freeform 2590"/>
              <p:cNvSpPr>
                <a:spLocks/>
              </p:cNvSpPr>
              <p:nvPr/>
            </p:nvSpPr>
            <p:spPr bwMode="auto">
              <a:xfrm>
                <a:off x="1936751" y="4005263"/>
                <a:ext cx="0" cy="0"/>
              </a:xfrm>
              <a:custGeom>
                <a:avLst/>
                <a:gdLst>
                  <a:gd name="T0" fmla="*/ 1 w 2"/>
                  <a:gd name="T1" fmla="*/ 1 h 1"/>
                  <a:gd name="T2" fmla="*/ 1 w 2"/>
                  <a:gd name="T3" fmla="*/ 1 h 1"/>
                  <a:gd name="T4" fmla="*/ 2 w 2"/>
                  <a:gd name="T5" fmla="*/ 1 h 1"/>
                  <a:gd name="T6" fmla="*/ 1 w 2"/>
                  <a:gd name="T7" fmla="*/ 1 h 1"/>
                </a:gdLst>
                <a:ahLst/>
                <a:cxnLst>
                  <a:cxn ang="0">
                    <a:pos x="T0" y="T1"/>
                  </a:cxn>
                  <a:cxn ang="0">
                    <a:pos x="T2" y="T3"/>
                  </a:cxn>
                  <a:cxn ang="0">
                    <a:pos x="T4" y="T5"/>
                  </a:cxn>
                  <a:cxn ang="0">
                    <a:pos x="T6" y="T7"/>
                  </a:cxn>
                </a:cxnLst>
                <a:rect l="0" t="0" r="r" b="b"/>
                <a:pathLst>
                  <a:path w="2" h="1">
                    <a:moveTo>
                      <a:pt x="1" y="1"/>
                    </a:moveTo>
                    <a:lnTo>
                      <a:pt x="1" y="1"/>
                    </a:lnTo>
                    <a:cubicBezTo>
                      <a:pt x="2" y="1"/>
                      <a:pt x="2" y="1"/>
                      <a:pt x="2" y="1"/>
                    </a:cubicBezTo>
                    <a:cubicBezTo>
                      <a:pt x="1" y="0"/>
                      <a:pt x="0" y="0"/>
                      <a:pt x="1"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5" name="Freeform 2591"/>
              <p:cNvSpPr>
                <a:spLocks/>
              </p:cNvSpPr>
              <p:nvPr/>
            </p:nvSpPr>
            <p:spPr bwMode="auto">
              <a:xfrm>
                <a:off x="1890713" y="4024313"/>
                <a:ext cx="1588" cy="0"/>
              </a:xfrm>
              <a:custGeom>
                <a:avLst/>
                <a:gdLst>
                  <a:gd name="T0" fmla="*/ 1 w 2"/>
                  <a:gd name="T1" fmla="*/ 1 h 1"/>
                  <a:gd name="T2" fmla="*/ 1 w 2"/>
                  <a:gd name="T3" fmla="*/ 1 h 1"/>
                  <a:gd name="T4" fmla="*/ 2 w 2"/>
                  <a:gd name="T5" fmla="*/ 0 h 1"/>
                  <a:gd name="T6" fmla="*/ 1 w 2"/>
                  <a:gd name="T7" fmla="*/ 1 h 1"/>
                </a:gdLst>
                <a:ahLst/>
                <a:cxnLst>
                  <a:cxn ang="0">
                    <a:pos x="T0" y="T1"/>
                  </a:cxn>
                  <a:cxn ang="0">
                    <a:pos x="T2" y="T3"/>
                  </a:cxn>
                  <a:cxn ang="0">
                    <a:pos x="T4" y="T5"/>
                  </a:cxn>
                  <a:cxn ang="0">
                    <a:pos x="T6" y="T7"/>
                  </a:cxn>
                </a:cxnLst>
                <a:rect l="0" t="0" r="r" b="b"/>
                <a:pathLst>
                  <a:path w="2" h="1">
                    <a:moveTo>
                      <a:pt x="1" y="1"/>
                    </a:moveTo>
                    <a:lnTo>
                      <a:pt x="1" y="1"/>
                    </a:lnTo>
                    <a:cubicBezTo>
                      <a:pt x="1" y="1"/>
                      <a:pt x="2" y="0"/>
                      <a:pt x="2" y="0"/>
                    </a:cubicBezTo>
                    <a:cubicBezTo>
                      <a:pt x="1" y="0"/>
                      <a:pt x="0" y="0"/>
                      <a:pt x="1"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6" name="Freeform 2592"/>
              <p:cNvSpPr>
                <a:spLocks/>
              </p:cNvSpPr>
              <p:nvPr/>
            </p:nvSpPr>
            <p:spPr bwMode="auto">
              <a:xfrm>
                <a:off x="1968501" y="3978275"/>
                <a:ext cx="31750" cy="17463"/>
              </a:xfrm>
              <a:custGeom>
                <a:avLst/>
                <a:gdLst>
                  <a:gd name="T0" fmla="*/ 66 w 66"/>
                  <a:gd name="T1" fmla="*/ 14 h 39"/>
                  <a:gd name="T2" fmla="*/ 66 w 66"/>
                  <a:gd name="T3" fmla="*/ 14 h 39"/>
                  <a:gd name="T4" fmla="*/ 31 w 66"/>
                  <a:gd name="T5" fmla="*/ 21 h 39"/>
                  <a:gd name="T6" fmla="*/ 35 w 66"/>
                  <a:gd name="T7" fmla="*/ 22 h 39"/>
                  <a:gd name="T8" fmla="*/ 0 w 66"/>
                  <a:gd name="T9" fmla="*/ 37 h 39"/>
                  <a:gd name="T10" fmla="*/ 5 w 66"/>
                  <a:gd name="T11" fmla="*/ 39 h 39"/>
                  <a:gd name="T12" fmla="*/ 31 w 66"/>
                  <a:gd name="T13" fmla="*/ 33 h 39"/>
                  <a:gd name="T14" fmla="*/ 66 w 66"/>
                  <a:gd name="T15" fmla="*/ 14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39">
                    <a:moveTo>
                      <a:pt x="66" y="14"/>
                    </a:moveTo>
                    <a:lnTo>
                      <a:pt x="66" y="14"/>
                    </a:lnTo>
                    <a:cubicBezTo>
                      <a:pt x="52" y="13"/>
                      <a:pt x="43" y="0"/>
                      <a:pt x="31" y="21"/>
                    </a:cubicBezTo>
                    <a:lnTo>
                      <a:pt x="35" y="22"/>
                    </a:lnTo>
                    <a:cubicBezTo>
                      <a:pt x="24" y="22"/>
                      <a:pt x="11" y="32"/>
                      <a:pt x="0" y="37"/>
                    </a:cubicBezTo>
                    <a:cubicBezTo>
                      <a:pt x="2" y="38"/>
                      <a:pt x="3" y="39"/>
                      <a:pt x="5" y="39"/>
                    </a:cubicBezTo>
                    <a:cubicBezTo>
                      <a:pt x="11" y="38"/>
                      <a:pt x="19" y="35"/>
                      <a:pt x="31" y="33"/>
                    </a:cubicBezTo>
                    <a:cubicBezTo>
                      <a:pt x="47" y="32"/>
                      <a:pt x="53" y="21"/>
                      <a:pt x="66" y="14"/>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7" name="Freeform 2593"/>
              <p:cNvSpPr>
                <a:spLocks/>
              </p:cNvSpPr>
              <p:nvPr/>
            </p:nvSpPr>
            <p:spPr bwMode="auto">
              <a:xfrm>
                <a:off x="1592263" y="4324350"/>
                <a:ext cx="1588" cy="4763"/>
              </a:xfrm>
              <a:custGeom>
                <a:avLst/>
                <a:gdLst>
                  <a:gd name="T0" fmla="*/ 0 w 5"/>
                  <a:gd name="T1" fmla="*/ 10 h 10"/>
                  <a:gd name="T2" fmla="*/ 0 w 5"/>
                  <a:gd name="T3" fmla="*/ 10 h 10"/>
                  <a:gd name="T4" fmla="*/ 0 w 5"/>
                  <a:gd name="T5" fmla="*/ 10 h 10"/>
                </a:gdLst>
                <a:ahLst/>
                <a:cxnLst>
                  <a:cxn ang="0">
                    <a:pos x="T0" y="T1"/>
                  </a:cxn>
                  <a:cxn ang="0">
                    <a:pos x="T2" y="T3"/>
                  </a:cxn>
                  <a:cxn ang="0">
                    <a:pos x="T4" y="T5"/>
                  </a:cxn>
                </a:cxnLst>
                <a:rect l="0" t="0" r="r" b="b"/>
                <a:pathLst>
                  <a:path w="5" h="10">
                    <a:moveTo>
                      <a:pt x="0" y="10"/>
                    </a:moveTo>
                    <a:lnTo>
                      <a:pt x="0" y="10"/>
                    </a:lnTo>
                    <a:cubicBezTo>
                      <a:pt x="4" y="10"/>
                      <a:pt x="5" y="0"/>
                      <a:pt x="0" y="1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8" name="Freeform 2594"/>
              <p:cNvSpPr>
                <a:spLocks/>
              </p:cNvSpPr>
              <p:nvPr/>
            </p:nvSpPr>
            <p:spPr bwMode="auto">
              <a:xfrm>
                <a:off x="1606551" y="4273550"/>
                <a:ext cx="3175" cy="4763"/>
              </a:xfrm>
              <a:custGeom>
                <a:avLst/>
                <a:gdLst>
                  <a:gd name="T0" fmla="*/ 8 w 8"/>
                  <a:gd name="T1" fmla="*/ 0 h 11"/>
                  <a:gd name="T2" fmla="*/ 8 w 8"/>
                  <a:gd name="T3" fmla="*/ 0 h 11"/>
                  <a:gd name="T4" fmla="*/ 0 w 8"/>
                  <a:gd name="T5" fmla="*/ 11 h 11"/>
                  <a:gd name="T6" fmla="*/ 8 w 8"/>
                  <a:gd name="T7" fmla="*/ 0 h 11"/>
                </a:gdLst>
                <a:ahLst/>
                <a:cxnLst>
                  <a:cxn ang="0">
                    <a:pos x="T0" y="T1"/>
                  </a:cxn>
                  <a:cxn ang="0">
                    <a:pos x="T2" y="T3"/>
                  </a:cxn>
                  <a:cxn ang="0">
                    <a:pos x="T4" y="T5"/>
                  </a:cxn>
                  <a:cxn ang="0">
                    <a:pos x="T6" y="T7"/>
                  </a:cxn>
                </a:cxnLst>
                <a:rect l="0" t="0" r="r" b="b"/>
                <a:pathLst>
                  <a:path w="8" h="11">
                    <a:moveTo>
                      <a:pt x="8" y="0"/>
                    </a:moveTo>
                    <a:lnTo>
                      <a:pt x="8" y="0"/>
                    </a:lnTo>
                    <a:cubicBezTo>
                      <a:pt x="5" y="4"/>
                      <a:pt x="3" y="8"/>
                      <a:pt x="0" y="11"/>
                    </a:cubicBezTo>
                    <a:cubicBezTo>
                      <a:pt x="3" y="8"/>
                      <a:pt x="6" y="5"/>
                      <a:pt x="8"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19" name="Freeform 2595"/>
              <p:cNvSpPr>
                <a:spLocks/>
              </p:cNvSpPr>
              <p:nvPr/>
            </p:nvSpPr>
            <p:spPr bwMode="auto">
              <a:xfrm>
                <a:off x="1782763" y="4117975"/>
                <a:ext cx="1588" cy="0"/>
              </a:xfrm>
              <a:custGeom>
                <a:avLst/>
                <a:gdLst>
                  <a:gd name="T0" fmla="*/ 3 w 3"/>
                  <a:gd name="T1" fmla="*/ 0 h 3"/>
                  <a:gd name="T2" fmla="*/ 3 w 3"/>
                  <a:gd name="T3" fmla="*/ 0 h 3"/>
                  <a:gd name="T4" fmla="*/ 0 w 3"/>
                  <a:gd name="T5" fmla="*/ 1 h 3"/>
                  <a:gd name="T6" fmla="*/ 3 w 3"/>
                  <a:gd name="T7" fmla="*/ 0 h 3"/>
                </a:gdLst>
                <a:ahLst/>
                <a:cxnLst>
                  <a:cxn ang="0">
                    <a:pos x="T0" y="T1"/>
                  </a:cxn>
                  <a:cxn ang="0">
                    <a:pos x="T2" y="T3"/>
                  </a:cxn>
                  <a:cxn ang="0">
                    <a:pos x="T4" y="T5"/>
                  </a:cxn>
                  <a:cxn ang="0">
                    <a:pos x="T6" y="T7"/>
                  </a:cxn>
                </a:cxnLst>
                <a:rect l="0" t="0" r="r" b="b"/>
                <a:pathLst>
                  <a:path w="3" h="3">
                    <a:moveTo>
                      <a:pt x="3" y="0"/>
                    </a:moveTo>
                    <a:lnTo>
                      <a:pt x="3" y="0"/>
                    </a:lnTo>
                    <a:cubicBezTo>
                      <a:pt x="2" y="1"/>
                      <a:pt x="1" y="1"/>
                      <a:pt x="0" y="1"/>
                    </a:cubicBezTo>
                    <a:cubicBezTo>
                      <a:pt x="0" y="3"/>
                      <a:pt x="2" y="2"/>
                      <a:pt x="3"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0" name="Freeform 2596"/>
              <p:cNvSpPr>
                <a:spLocks/>
              </p:cNvSpPr>
              <p:nvPr/>
            </p:nvSpPr>
            <p:spPr bwMode="auto">
              <a:xfrm>
                <a:off x="1603376" y="4278313"/>
                <a:ext cx="3175" cy="4763"/>
              </a:xfrm>
              <a:custGeom>
                <a:avLst/>
                <a:gdLst>
                  <a:gd name="T0" fmla="*/ 0 w 6"/>
                  <a:gd name="T1" fmla="*/ 10 h 10"/>
                  <a:gd name="T2" fmla="*/ 0 w 6"/>
                  <a:gd name="T3" fmla="*/ 10 h 10"/>
                  <a:gd name="T4" fmla="*/ 6 w 6"/>
                  <a:gd name="T5" fmla="*/ 0 h 10"/>
                  <a:gd name="T6" fmla="*/ 0 w 6"/>
                  <a:gd name="T7" fmla="*/ 10 h 10"/>
                </a:gdLst>
                <a:ahLst/>
                <a:cxnLst>
                  <a:cxn ang="0">
                    <a:pos x="T0" y="T1"/>
                  </a:cxn>
                  <a:cxn ang="0">
                    <a:pos x="T2" y="T3"/>
                  </a:cxn>
                  <a:cxn ang="0">
                    <a:pos x="T4" y="T5"/>
                  </a:cxn>
                  <a:cxn ang="0">
                    <a:pos x="T6" y="T7"/>
                  </a:cxn>
                </a:cxnLst>
                <a:rect l="0" t="0" r="r" b="b"/>
                <a:pathLst>
                  <a:path w="6" h="10">
                    <a:moveTo>
                      <a:pt x="0" y="10"/>
                    </a:moveTo>
                    <a:lnTo>
                      <a:pt x="0" y="10"/>
                    </a:lnTo>
                    <a:cubicBezTo>
                      <a:pt x="2" y="7"/>
                      <a:pt x="4" y="3"/>
                      <a:pt x="6" y="0"/>
                    </a:cubicBezTo>
                    <a:cubicBezTo>
                      <a:pt x="4" y="3"/>
                      <a:pt x="1" y="6"/>
                      <a:pt x="0" y="1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1" name="Freeform 2597"/>
              <p:cNvSpPr>
                <a:spLocks/>
              </p:cNvSpPr>
              <p:nvPr/>
            </p:nvSpPr>
            <p:spPr bwMode="auto">
              <a:xfrm>
                <a:off x="1722438" y="4154488"/>
                <a:ext cx="0"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cubicBezTo>
                      <a:pt x="2" y="0"/>
                      <a:pt x="1" y="0"/>
                      <a:pt x="0" y="1"/>
                    </a:cubicBezTo>
                    <a:cubicBezTo>
                      <a:pt x="1" y="1"/>
                      <a:pt x="2" y="0"/>
                      <a:pt x="2"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2" name="Freeform 2598"/>
              <p:cNvSpPr>
                <a:spLocks/>
              </p:cNvSpPr>
              <p:nvPr/>
            </p:nvSpPr>
            <p:spPr bwMode="auto">
              <a:xfrm>
                <a:off x="2886076" y="4002088"/>
                <a:ext cx="30163" cy="14288"/>
              </a:xfrm>
              <a:custGeom>
                <a:avLst/>
                <a:gdLst>
                  <a:gd name="T0" fmla="*/ 19 w 66"/>
                  <a:gd name="T1" fmla="*/ 9 h 30"/>
                  <a:gd name="T2" fmla="*/ 19 w 66"/>
                  <a:gd name="T3" fmla="*/ 9 h 30"/>
                  <a:gd name="T4" fmla="*/ 41 w 66"/>
                  <a:gd name="T5" fmla="*/ 27 h 30"/>
                  <a:gd name="T6" fmla="*/ 34 w 66"/>
                  <a:gd name="T7" fmla="*/ 11 h 30"/>
                  <a:gd name="T8" fmla="*/ 10 w 66"/>
                  <a:gd name="T9" fmla="*/ 0 h 30"/>
                  <a:gd name="T10" fmla="*/ 17 w 66"/>
                  <a:gd name="T11" fmla="*/ 16 h 30"/>
                  <a:gd name="T12" fmla="*/ 19 w 66"/>
                  <a:gd name="T13" fmla="*/ 9 h 30"/>
                </a:gdLst>
                <a:ahLst/>
                <a:cxnLst>
                  <a:cxn ang="0">
                    <a:pos x="T0" y="T1"/>
                  </a:cxn>
                  <a:cxn ang="0">
                    <a:pos x="T2" y="T3"/>
                  </a:cxn>
                  <a:cxn ang="0">
                    <a:pos x="T4" y="T5"/>
                  </a:cxn>
                  <a:cxn ang="0">
                    <a:pos x="T6" y="T7"/>
                  </a:cxn>
                  <a:cxn ang="0">
                    <a:pos x="T8" y="T9"/>
                  </a:cxn>
                  <a:cxn ang="0">
                    <a:pos x="T10" y="T11"/>
                  </a:cxn>
                  <a:cxn ang="0">
                    <a:pos x="T12" y="T13"/>
                  </a:cxn>
                </a:cxnLst>
                <a:rect l="0" t="0" r="r" b="b"/>
                <a:pathLst>
                  <a:path w="66" h="30">
                    <a:moveTo>
                      <a:pt x="19" y="9"/>
                    </a:moveTo>
                    <a:lnTo>
                      <a:pt x="19" y="9"/>
                    </a:lnTo>
                    <a:cubicBezTo>
                      <a:pt x="29" y="13"/>
                      <a:pt x="33" y="21"/>
                      <a:pt x="41" y="27"/>
                    </a:cubicBezTo>
                    <a:cubicBezTo>
                      <a:pt x="66" y="30"/>
                      <a:pt x="0" y="1"/>
                      <a:pt x="34" y="11"/>
                    </a:cubicBezTo>
                    <a:cubicBezTo>
                      <a:pt x="25" y="6"/>
                      <a:pt x="18" y="2"/>
                      <a:pt x="10" y="0"/>
                    </a:cubicBezTo>
                    <a:lnTo>
                      <a:pt x="17" y="16"/>
                    </a:lnTo>
                    <a:cubicBezTo>
                      <a:pt x="37" y="24"/>
                      <a:pt x="8" y="6"/>
                      <a:pt x="19" y="9"/>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3" name="Freeform 2599"/>
              <p:cNvSpPr>
                <a:spLocks/>
              </p:cNvSpPr>
              <p:nvPr/>
            </p:nvSpPr>
            <p:spPr bwMode="auto">
              <a:xfrm>
                <a:off x="2643188" y="4681538"/>
                <a:ext cx="14288" cy="14288"/>
              </a:xfrm>
              <a:custGeom>
                <a:avLst/>
                <a:gdLst>
                  <a:gd name="T0" fmla="*/ 4 w 32"/>
                  <a:gd name="T1" fmla="*/ 27 h 33"/>
                  <a:gd name="T2" fmla="*/ 4 w 32"/>
                  <a:gd name="T3" fmla="*/ 27 h 33"/>
                  <a:gd name="T4" fmla="*/ 0 w 32"/>
                  <a:gd name="T5" fmla="*/ 27 h 33"/>
                  <a:gd name="T6" fmla="*/ 20 w 32"/>
                  <a:gd name="T7" fmla="*/ 30 h 33"/>
                  <a:gd name="T8" fmla="*/ 29 w 32"/>
                  <a:gd name="T9" fmla="*/ 0 h 33"/>
                  <a:gd name="T10" fmla="*/ 10 w 32"/>
                  <a:gd name="T11" fmla="*/ 5 h 33"/>
                  <a:gd name="T12" fmla="*/ 4 w 32"/>
                  <a:gd name="T13" fmla="*/ 27 h 33"/>
                </a:gdLst>
                <a:ahLst/>
                <a:cxnLst>
                  <a:cxn ang="0">
                    <a:pos x="T0" y="T1"/>
                  </a:cxn>
                  <a:cxn ang="0">
                    <a:pos x="T2" y="T3"/>
                  </a:cxn>
                  <a:cxn ang="0">
                    <a:pos x="T4" y="T5"/>
                  </a:cxn>
                  <a:cxn ang="0">
                    <a:pos x="T6" y="T7"/>
                  </a:cxn>
                  <a:cxn ang="0">
                    <a:pos x="T8" y="T9"/>
                  </a:cxn>
                  <a:cxn ang="0">
                    <a:pos x="T10" y="T11"/>
                  </a:cxn>
                  <a:cxn ang="0">
                    <a:pos x="T12" y="T13"/>
                  </a:cxn>
                </a:cxnLst>
                <a:rect l="0" t="0" r="r" b="b"/>
                <a:pathLst>
                  <a:path w="32" h="33">
                    <a:moveTo>
                      <a:pt x="4" y="27"/>
                    </a:moveTo>
                    <a:lnTo>
                      <a:pt x="4" y="27"/>
                    </a:lnTo>
                    <a:lnTo>
                      <a:pt x="0" y="27"/>
                    </a:lnTo>
                    <a:cubicBezTo>
                      <a:pt x="4" y="31"/>
                      <a:pt x="2" y="33"/>
                      <a:pt x="20" y="30"/>
                    </a:cubicBezTo>
                    <a:cubicBezTo>
                      <a:pt x="32" y="18"/>
                      <a:pt x="6" y="15"/>
                      <a:pt x="29" y="0"/>
                    </a:cubicBezTo>
                    <a:cubicBezTo>
                      <a:pt x="24" y="2"/>
                      <a:pt x="17" y="4"/>
                      <a:pt x="10" y="5"/>
                    </a:cubicBezTo>
                    <a:cubicBezTo>
                      <a:pt x="22" y="8"/>
                      <a:pt x="14" y="18"/>
                      <a:pt x="4" y="27"/>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4" name="Freeform 2600"/>
              <p:cNvSpPr>
                <a:spLocks/>
              </p:cNvSpPr>
              <p:nvPr/>
            </p:nvSpPr>
            <p:spPr bwMode="auto">
              <a:xfrm>
                <a:off x="2640013" y="4683125"/>
                <a:ext cx="6350" cy="0"/>
              </a:xfrm>
              <a:custGeom>
                <a:avLst/>
                <a:gdLst>
                  <a:gd name="T0" fmla="*/ 16 w 16"/>
                  <a:gd name="T1" fmla="*/ 1 h 2"/>
                  <a:gd name="T2" fmla="*/ 16 w 16"/>
                  <a:gd name="T3" fmla="*/ 1 h 2"/>
                  <a:gd name="T4" fmla="*/ 15 w 16"/>
                  <a:gd name="T5" fmla="*/ 1 h 2"/>
                  <a:gd name="T6" fmla="*/ 10 w 16"/>
                  <a:gd name="T7" fmla="*/ 0 h 2"/>
                  <a:gd name="T8" fmla="*/ 0 w 16"/>
                  <a:gd name="T9" fmla="*/ 1 h 2"/>
                  <a:gd name="T10" fmla="*/ 16 w 16"/>
                  <a:gd name="T11" fmla="*/ 1 h 2"/>
                </a:gdLst>
                <a:ahLst/>
                <a:cxnLst>
                  <a:cxn ang="0">
                    <a:pos x="T0" y="T1"/>
                  </a:cxn>
                  <a:cxn ang="0">
                    <a:pos x="T2" y="T3"/>
                  </a:cxn>
                  <a:cxn ang="0">
                    <a:pos x="T4" y="T5"/>
                  </a:cxn>
                  <a:cxn ang="0">
                    <a:pos x="T6" y="T7"/>
                  </a:cxn>
                  <a:cxn ang="0">
                    <a:pos x="T8" y="T9"/>
                  </a:cxn>
                  <a:cxn ang="0">
                    <a:pos x="T10" y="T11"/>
                  </a:cxn>
                </a:cxnLst>
                <a:rect l="0" t="0" r="r" b="b"/>
                <a:pathLst>
                  <a:path w="16" h="2">
                    <a:moveTo>
                      <a:pt x="16" y="1"/>
                    </a:moveTo>
                    <a:lnTo>
                      <a:pt x="16" y="1"/>
                    </a:lnTo>
                    <a:cubicBezTo>
                      <a:pt x="15" y="1"/>
                      <a:pt x="15" y="1"/>
                      <a:pt x="15" y="1"/>
                    </a:cubicBezTo>
                    <a:cubicBezTo>
                      <a:pt x="13" y="0"/>
                      <a:pt x="12" y="0"/>
                      <a:pt x="10" y="0"/>
                    </a:cubicBezTo>
                    <a:cubicBezTo>
                      <a:pt x="7" y="1"/>
                      <a:pt x="3" y="1"/>
                      <a:pt x="0" y="1"/>
                    </a:cubicBezTo>
                    <a:cubicBezTo>
                      <a:pt x="3" y="2"/>
                      <a:pt x="9" y="2"/>
                      <a:pt x="16"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5" name="Freeform 2601"/>
              <p:cNvSpPr>
                <a:spLocks/>
              </p:cNvSpPr>
              <p:nvPr/>
            </p:nvSpPr>
            <p:spPr bwMode="auto">
              <a:xfrm>
                <a:off x="3027363" y="4113213"/>
                <a:ext cx="3175" cy="4763"/>
              </a:xfrm>
              <a:custGeom>
                <a:avLst/>
                <a:gdLst>
                  <a:gd name="T0" fmla="*/ 0 w 7"/>
                  <a:gd name="T1" fmla="*/ 0 h 10"/>
                  <a:gd name="T2" fmla="*/ 0 w 7"/>
                  <a:gd name="T3" fmla="*/ 0 h 10"/>
                  <a:gd name="T4" fmla="*/ 7 w 7"/>
                  <a:gd name="T5" fmla="*/ 10 h 10"/>
                  <a:gd name="T6" fmla="*/ 0 w 7"/>
                  <a:gd name="T7" fmla="*/ 0 h 10"/>
                </a:gdLst>
                <a:ahLst/>
                <a:cxnLst>
                  <a:cxn ang="0">
                    <a:pos x="T0" y="T1"/>
                  </a:cxn>
                  <a:cxn ang="0">
                    <a:pos x="T2" y="T3"/>
                  </a:cxn>
                  <a:cxn ang="0">
                    <a:pos x="T4" y="T5"/>
                  </a:cxn>
                  <a:cxn ang="0">
                    <a:pos x="T6" y="T7"/>
                  </a:cxn>
                </a:cxnLst>
                <a:rect l="0" t="0" r="r" b="b"/>
                <a:pathLst>
                  <a:path w="7" h="10">
                    <a:moveTo>
                      <a:pt x="0" y="0"/>
                    </a:moveTo>
                    <a:lnTo>
                      <a:pt x="0" y="0"/>
                    </a:lnTo>
                    <a:cubicBezTo>
                      <a:pt x="2" y="3"/>
                      <a:pt x="5" y="7"/>
                      <a:pt x="7" y="10"/>
                    </a:cubicBezTo>
                    <a:cubicBezTo>
                      <a:pt x="5" y="4"/>
                      <a:pt x="2" y="1"/>
                      <a:pt x="0"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6" name="Freeform 2602"/>
              <p:cNvSpPr>
                <a:spLocks/>
              </p:cNvSpPr>
              <p:nvPr/>
            </p:nvSpPr>
            <p:spPr bwMode="auto">
              <a:xfrm>
                <a:off x="1803401" y="4656138"/>
                <a:ext cx="7938" cy="0"/>
              </a:xfrm>
              <a:custGeom>
                <a:avLst/>
                <a:gdLst>
                  <a:gd name="T0" fmla="*/ 15 w 15"/>
                  <a:gd name="T1" fmla="*/ 3 h 3"/>
                  <a:gd name="T2" fmla="*/ 15 w 15"/>
                  <a:gd name="T3" fmla="*/ 3 h 3"/>
                  <a:gd name="T4" fmla="*/ 0 w 15"/>
                  <a:gd name="T5" fmla="*/ 0 h 3"/>
                  <a:gd name="T6" fmla="*/ 15 w 15"/>
                  <a:gd name="T7" fmla="*/ 3 h 3"/>
                </a:gdLst>
                <a:ahLst/>
                <a:cxnLst>
                  <a:cxn ang="0">
                    <a:pos x="T0" y="T1"/>
                  </a:cxn>
                  <a:cxn ang="0">
                    <a:pos x="T2" y="T3"/>
                  </a:cxn>
                  <a:cxn ang="0">
                    <a:pos x="T4" y="T5"/>
                  </a:cxn>
                  <a:cxn ang="0">
                    <a:pos x="T6" y="T7"/>
                  </a:cxn>
                </a:cxnLst>
                <a:rect l="0" t="0" r="r" b="b"/>
                <a:pathLst>
                  <a:path w="15" h="3">
                    <a:moveTo>
                      <a:pt x="15" y="3"/>
                    </a:moveTo>
                    <a:lnTo>
                      <a:pt x="15" y="3"/>
                    </a:lnTo>
                    <a:cubicBezTo>
                      <a:pt x="9" y="2"/>
                      <a:pt x="4" y="1"/>
                      <a:pt x="0" y="0"/>
                    </a:cubicBezTo>
                    <a:cubicBezTo>
                      <a:pt x="8" y="3"/>
                      <a:pt x="12" y="3"/>
                      <a:pt x="15" y="3"/>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7" name="Freeform 2603"/>
              <p:cNvSpPr>
                <a:spLocks/>
              </p:cNvSpPr>
              <p:nvPr/>
            </p:nvSpPr>
            <p:spPr bwMode="auto">
              <a:xfrm>
                <a:off x="2519363" y="4716463"/>
                <a:ext cx="9525" cy="0"/>
              </a:xfrm>
              <a:custGeom>
                <a:avLst/>
                <a:gdLst>
                  <a:gd name="T0" fmla="*/ 21 w 21"/>
                  <a:gd name="T1" fmla="*/ 0 h 2"/>
                  <a:gd name="T2" fmla="*/ 21 w 21"/>
                  <a:gd name="T3" fmla="*/ 0 h 2"/>
                  <a:gd name="T4" fmla="*/ 8 w 21"/>
                  <a:gd name="T5" fmla="*/ 0 h 2"/>
                  <a:gd name="T6" fmla="*/ 0 w 21"/>
                  <a:gd name="T7" fmla="*/ 2 h 2"/>
                  <a:gd name="T8" fmla="*/ 21 w 21"/>
                  <a:gd name="T9" fmla="*/ 0 h 2"/>
                </a:gdLst>
                <a:ahLst/>
                <a:cxnLst>
                  <a:cxn ang="0">
                    <a:pos x="T0" y="T1"/>
                  </a:cxn>
                  <a:cxn ang="0">
                    <a:pos x="T2" y="T3"/>
                  </a:cxn>
                  <a:cxn ang="0">
                    <a:pos x="T4" y="T5"/>
                  </a:cxn>
                  <a:cxn ang="0">
                    <a:pos x="T6" y="T7"/>
                  </a:cxn>
                  <a:cxn ang="0">
                    <a:pos x="T8" y="T9"/>
                  </a:cxn>
                </a:cxnLst>
                <a:rect l="0" t="0" r="r" b="b"/>
                <a:pathLst>
                  <a:path w="21" h="2">
                    <a:moveTo>
                      <a:pt x="21" y="0"/>
                    </a:moveTo>
                    <a:lnTo>
                      <a:pt x="21" y="0"/>
                    </a:lnTo>
                    <a:cubicBezTo>
                      <a:pt x="17" y="0"/>
                      <a:pt x="13" y="0"/>
                      <a:pt x="8" y="0"/>
                    </a:cubicBezTo>
                    <a:cubicBezTo>
                      <a:pt x="5" y="1"/>
                      <a:pt x="3" y="1"/>
                      <a:pt x="0" y="2"/>
                    </a:cubicBezTo>
                    <a:lnTo>
                      <a:pt x="21" y="0"/>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8" name="Freeform 2604"/>
              <p:cNvSpPr>
                <a:spLocks/>
              </p:cNvSpPr>
              <p:nvPr/>
            </p:nvSpPr>
            <p:spPr bwMode="auto">
              <a:xfrm>
                <a:off x="2859088" y="4519613"/>
                <a:ext cx="14288" cy="17463"/>
              </a:xfrm>
              <a:custGeom>
                <a:avLst/>
                <a:gdLst>
                  <a:gd name="T0" fmla="*/ 0 w 31"/>
                  <a:gd name="T1" fmla="*/ 24 h 39"/>
                  <a:gd name="T2" fmla="*/ 0 w 31"/>
                  <a:gd name="T3" fmla="*/ 24 h 39"/>
                  <a:gd name="T4" fmla="*/ 23 w 31"/>
                  <a:gd name="T5" fmla="*/ 15 h 39"/>
                  <a:gd name="T6" fmla="*/ 31 w 31"/>
                  <a:gd name="T7" fmla="*/ 0 h 39"/>
                  <a:gd name="T8" fmla="*/ 0 w 31"/>
                  <a:gd name="T9" fmla="*/ 24 h 39"/>
                </a:gdLst>
                <a:ahLst/>
                <a:cxnLst>
                  <a:cxn ang="0">
                    <a:pos x="T0" y="T1"/>
                  </a:cxn>
                  <a:cxn ang="0">
                    <a:pos x="T2" y="T3"/>
                  </a:cxn>
                  <a:cxn ang="0">
                    <a:pos x="T4" y="T5"/>
                  </a:cxn>
                  <a:cxn ang="0">
                    <a:pos x="T6" y="T7"/>
                  </a:cxn>
                  <a:cxn ang="0">
                    <a:pos x="T8" y="T9"/>
                  </a:cxn>
                </a:cxnLst>
                <a:rect l="0" t="0" r="r" b="b"/>
                <a:pathLst>
                  <a:path w="31" h="39">
                    <a:moveTo>
                      <a:pt x="0" y="24"/>
                    </a:moveTo>
                    <a:lnTo>
                      <a:pt x="0" y="24"/>
                    </a:lnTo>
                    <a:cubicBezTo>
                      <a:pt x="1" y="39"/>
                      <a:pt x="5" y="20"/>
                      <a:pt x="23" y="15"/>
                    </a:cubicBezTo>
                    <a:lnTo>
                      <a:pt x="31" y="0"/>
                    </a:lnTo>
                    <a:cubicBezTo>
                      <a:pt x="19" y="8"/>
                      <a:pt x="9" y="17"/>
                      <a:pt x="0" y="24"/>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29" name="Freeform 2605"/>
              <p:cNvSpPr>
                <a:spLocks/>
              </p:cNvSpPr>
              <p:nvPr/>
            </p:nvSpPr>
            <p:spPr bwMode="auto">
              <a:xfrm>
                <a:off x="2889251" y="4002088"/>
                <a:ext cx="1588" cy="0"/>
              </a:xfrm>
              <a:custGeom>
                <a:avLst/>
                <a:gdLst>
                  <a:gd name="T0" fmla="*/ 1 w 1"/>
                  <a:gd name="T1" fmla="*/ 0 h 1"/>
                  <a:gd name="T2" fmla="*/ 1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lnTo>
                      <a:pt x="1" y="0"/>
                    </a:lnTo>
                    <a:cubicBezTo>
                      <a:pt x="0" y="0"/>
                      <a:pt x="0" y="0"/>
                      <a:pt x="0" y="1"/>
                    </a:cubicBezTo>
                    <a:cubicBezTo>
                      <a:pt x="0" y="1"/>
                      <a:pt x="1" y="1"/>
                      <a:pt x="1" y="1"/>
                    </a:cubicBezTo>
                    <a:lnTo>
                      <a:pt x="1" y="0"/>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0" name="Freeform 2606"/>
              <p:cNvSpPr>
                <a:spLocks/>
              </p:cNvSpPr>
              <p:nvPr/>
            </p:nvSpPr>
            <p:spPr bwMode="auto">
              <a:xfrm>
                <a:off x="3000376" y="4371975"/>
                <a:ext cx="3175" cy="3175"/>
              </a:xfrm>
              <a:custGeom>
                <a:avLst/>
                <a:gdLst>
                  <a:gd name="T0" fmla="*/ 0 w 5"/>
                  <a:gd name="T1" fmla="*/ 6 h 6"/>
                  <a:gd name="T2" fmla="*/ 0 w 5"/>
                  <a:gd name="T3" fmla="*/ 6 h 6"/>
                  <a:gd name="T4" fmla="*/ 5 w 5"/>
                  <a:gd name="T5" fmla="*/ 0 h 6"/>
                  <a:gd name="T6" fmla="*/ 0 w 5"/>
                  <a:gd name="T7" fmla="*/ 6 h 6"/>
                </a:gdLst>
                <a:ahLst/>
                <a:cxnLst>
                  <a:cxn ang="0">
                    <a:pos x="T0" y="T1"/>
                  </a:cxn>
                  <a:cxn ang="0">
                    <a:pos x="T2" y="T3"/>
                  </a:cxn>
                  <a:cxn ang="0">
                    <a:pos x="T4" y="T5"/>
                  </a:cxn>
                  <a:cxn ang="0">
                    <a:pos x="T6" y="T7"/>
                  </a:cxn>
                </a:cxnLst>
                <a:rect l="0" t="0" r="r" b="b"/>
                <a:pathLst>
                  <a:path w="5" h="6">
                    <a:moveTo>
                      <a:pt x="0" y="6"/>
                    </a:moveTo>
                    <a:lnTo>
                      <a:pt x="0" y="6"/>
                    </a:lnTo>
                    <a:cubicBezTo>
                      <a:pt x="2" y="4"/>
                      <a:pt x="3" y="2"/>
                      <a:pt x="5" y="0"/>
                    </a:cubicBezTo>
                    <a:cubicBezTo>
                      <a:pt x="4" y="1"/>
                      <a:pt x="2" y="3"/>
                      <a:pt x="0" y="6"/>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1" name="Freeform 2607"/>
              <p:cNvSpPr>
                <a:spLocks/>
              </p:cNvSpPr>
              <p:nvPr/>
            </p:nvSpPr>
            <p:spPr bwMode="auto">
              <a:xfrm>
                <a:off x="2573338" y="4692650"/>
                <a:ext cx="28575" cy="7938"/>
              </a:xfrm>
              <a:custGeom>
                <a:avLst/>
                <a:gdLst>
                  <a:gd name="T0" fmla="*/ 62 w 62"/>
                  <a:gd name="T1" fmla="*/ 0 h 15"/>
                  <a:gd name="T2" fmla="*/ 62 w 62"/>
                  <a:gd name="T3" fmla="*/ 0 h 15"/>
                  <a:gd name="T4" fmla="*/ 0 w 62"/>
                  <a:gd name="T5" fmla="*/ 15 h 15"/>
                  <a:gd name="T6" fmla="*/ 19 w 62"/>
                  <a:gd name="T7" fmla="*/ 14 h 15"/>
                  <a:gd name="T8" fmla="*/ 62 w 62"/>
                  <a:gd name="T9" fmla="*/ 0 h 15"/>
                </a:gdLst>
                <a:ahLst/>
                <a:cxnLst>
                  <a:cxn ang="0">
                    <a:pos x="T0" y="T1"/>
                  </a:cxn>
                  <a:cxn ang="0">
                    <a:pos x="T2" y="T3"/>
                  </a:cxn>
                  <a:cxn ang="0">
                    <a:pos x="T4" y="T5"/>
                  </a:cxn>
                  <a:cxn ang="0">
                    <a:pos x="T6" y="T7"/>
                  </a:cxn>
                  <a:cxn ang="0">
                    <a:pos x="T8" y="T9"/>
                  </a:cxn>
                </a:cxnLst>
                <a:rect l="0" t="0" r="r" b="b"/>
                <a:pathLst>
                  <a:path w="62" h="15">
                    <a:moveTo>
                      <a:pt x="62" y="0"/>
                    </a:moveTo>
                    <a:lnTo>
                      <a:pt x="62" y="0"/>
                    </a:lnTo>
                    <a:cubicBezTo>
                      <a:pt x="41" y="5"/>
                      <a:pt x="21" y="11"/>
                      <a:pt x="0" y="15"/>
                    </a:cubicBezTo>
                    <a:cubicBezTo>
                      <a:pt x="7" y="15"/>
                      <a:pt x="13" y="14"/>
                      <a:pt x="19" y="14"/>
                    </a:cubicBezTo>
                    <a:cubicBezTo>
                      <a:pt x="26" y="6"/>
                      <a:pt x="55" y="10"/>
                      <a:pt x="62"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2" name="Freeform 2608"/>
              <p:cNvSpPr>
                <a:spLocks noEditPoints="1"/>
              </p:cNvSpPr>
              <p:nvPr/>
            </p:nvSpPr>
            <p:spPr bwMode="auto">
              <a:xfrm>
                <a:off x="1547813" y="3873500"/>
                <a:ext cx="1547813" cy="876300"/>
              </a:xfrm>
              <a:custGeom>
                <a:avLst/>
                <a:gdLst>
                  <a:gd name="T0" fmla="*/ 1349 w 3355"/>
                  <a:gd name="T1" fmla="*/ 1839 h 1898"/>
                  <a:gd name="T2" fmla="*/ 640 w 3355"/>
                  <a:gd name="T3" fmla="*/ 387 h 1898"/>
                  <a:gd name="T4" fmla="*/ 267 w 3355"/>
                  <a:gd name="T5" fmla="*/ 701 h 1898"/>
                  <a:gd name="T6" fmla="*/ 500 w 3355"/>
                  <a:gd name="T7" fmla="*/ 529 h 1898"/>
                  <a:gd name="T8" fmla="*/ 2533 w 3355"/>
                  <a:gd name="T9" fmla="*/ 1589 h 1898"/>
                  <a:gd name="T10" fmla="*/ 1694 w 3355"/>
                  <a:gd name="T11" fmla="*/ 1748 h 1898"/>
                  <a:gd name="T12" fmla="*/ 648 w 3355"/>
                  <a:gd name="T13" fmla="*/ 1583 h 1898"/>
                  <a:gd name="T14" fmla="*/ 278 w 3355"/>
                  <a:gd name="T15" fmla="*/ 1413 h 1898"/>
                  <a:gd name="T16" fmla="*/ 198 w 3355"/>
                  <a:gd name="T17" fmla="*/ 1311 h 1898"/>
                  <a:gd name="T18" fmla="*/ 93 w 3355"/>
                  <a:gd name="T19" fmla="*/ 1194 h 1898"/>
                  <a:gd name="T20" fmla="*/ 150 w 3355"/>
                  <a:gd name="T21" fmla="*/ 1181 h 1898"/>
                  <a:gd name="T22" fmla="*/ 84 w 3355"/>
                  <a:gd name="T23" fmla="*/ 1082 h 1898"/>
                  <a:gd name="T24" fmla="*/ 93 w 3355"/>
                  <a:gd name="T25" fmla="*/ 993 h 1898"/>
                  <a:gd name="T26" fmla="*/ 199 w 3355"/>
                  <a:gd name="T27" fmla="*/ 814 h 1898"/>
                  <a:gd name="T28" fmla="*/ 337 w 3355"/>
                  <a:gd name="T29" fmla="*/ 643 h 1898"/>
                  <a:gd name="T30" fmla="*/ 493 w 3355"/>
                  <a:gd name="T31" fmla="*/ 531 h 1898"/>
                  <a:gd name="T32" fmla="*/ 709 w 3355"/>
                  <a:gd name="T33" fmla="*/ 400 h 1898"/>
                  <a:gd name="T34" fmla="*/ 947 w 3355"/>
                  <a:gd name="T35" fmla="*/ 314 h 1898"/>
                  <a:gd name="T36" fmla="*/ 1056 w 3355"/>
                  <a:gd name="T37" fmla="*/ 250 h 1898"/>
                  <a:gd name="T38" fmla="*/ 1294 w 3355"/>
                  <a:gd name="T39" fmla="*/ 222 h 1898"/>
                  <a:gd name="T40" fmla="*/ 1362 w 3355"/>
                  <a:gd name="T41" fmla="*/ 157 h 1898"/>
                  <a:gd name="T42" fmla="*/ 1212 w 3355"/>
                  <a:gd name="T43" fmla="*/ 195 h 1898"/>
                  <a:gd name="T44" fmla="*/ 978 w 3355"/>
                  <a:gd name="T45" fmla="*/ 287 h 1898"/>
                  <a:gd name="T46" fmla="*/ 798 w 3355"/>
                  <a:gd name="T47" fmla="*/ 298 h 1898"/>
                  <a:gd name="T48" fmla="*/ 626 w 3355"/>
                  <a:gd name="T49" fmla="*/ 388 h 1898"/>
                  <a:gd name="T50" fmla="*/ 507 w 3355"/>
                  <a:gd name="T51" fmla="*/ 441 h 1898"/>
                  <a:gd name="T52" fmla="*/ 283 w 3355"/>
                  <a:gd name="T53" fmla="*/ 613 h 1898"/>
                  <a:gd name="T54" fmla="*/ 169 w 3355"/>
                  <a:gd name="T55" fmla="*/ 693 h 1898"/>
                  <a:gd name="T56" fmla="*/ 9 w 3355"/>
                  <a:gd name="T57" fmla="*/ 982 h 1898"/>
                  <a:gd name="T58" fmla="*/ 46 w 3355"/>
                  <a:gd name="T59" fmla="*/ 1273 h 1898"/>
                  <a:gd name="T60" fmla="*/ 367 w 3355"/>
                  <a:gd name="T61" fmla="*/ 1598 h 1898"/>
                  <a:gd name="T62" fmla="*/ 686 w 3355"/>
                  <a:gd name="T63" fmla="*/ 1733 h 1898"/>
                  <a:gd name="T64" fmla="*/ 1313 w 3355"/>
                  <a:gd name="T65" fmla="*/ 1854 h 1898"/>
                  <a:gd name="T66" fmla="*/ 1434 w 3355"/>
                  <a:gd name="T67" fmla="*/ 1883 h 1898"/>
                  <a:gd name="T68" fmla="*/ 1709 w 3355"/>
                  <a:gd name="T69" fmla="*/ 1865 h 1898"/>
                  <a:gd name="T70" fmla="*/ 2008 w 3355"/>
                  <a:gd name="T71" fmla="*/ 1856 h 1898"/>
                  <a:gd name="T72" fmla="*/ 2017 w 3355"/>
                  <a:gd name="T73" fmla="*/ 1868 h 1898"/>
                  <a:gd name="T74" fmla="*/ 2255 w 3355"/>
                  <a:gd name="T75" fmla="*/ 1816 h 1898"/>
                  <a:gd name="T76" fmla="*/ 2211 w 3355"/>
                  <a:gd name="T77" fmla="*/ 1784 h 1898"/>
                  <a:gd name="T78" fmla="*/ 2439 w 3355"/>
                  <a:gd name="T79" fmla="*/ 1729 h 1898"/>
                  <a:gd name="T80" fmla="*/ 2480 w 3355"/>
                  <a:gd name="T81" fmla="*/ 1753 h 1898"/>
                  <a:gd name="T82" fmla="*/ 2604 w 3355"/>
                  <a:gd name="T83" fmla="*/ 1688 h 1898"/>
                  <a:gd name="T84" fmla="*/ 2859 w 3355"/>
                  <a:gd name="T85" fmla="*/ 1560 h 1898"/>
                  <a:gd name="T86" fmla="*/ 3028 w 3355"/>
                  <a:gd name="T87" fmla="*/ 1421 h 1898"/>
                  <a:gd name="T88" fmla="*/ 3240 w 3355"/>
                  <a:gd name="T89" fmla="*/ 1188 h 1898"/>
                  <a:gd name="T90" fmla="*/ 3344 w 3355"/>
                  <a:gd name="T91" fmla="*/ 873 h 1898"/>
                  <a:gd name="T92" fmla="*/ 3208 w 3355"/>
                  <a:gd name="T93" fmla="*/ 518 h 1898"/>
                  <a:gd name="T94" fmla="*/ 2823 w 3355"/>
                  <a:gd name="T95" fmla="*/ 236 h 1898"/>
                  <a:gd name="T96" fmla="*/ 2483 w 3355"/>
                  <a:gd name="T97" fmla="*/ 93 h 1898"/>
                  <a:gd name="T98" fmla="*/ 2278 w 3355"/>
                  <a:gd name="T99" fmla="*/ 46 h 1898"/>
                  <a:gd name="T100" fmla="*/ 1988 w 3355"/>
                  <a:gd name="T101" fmla="*/ 19 h 1898"/>
                  <a:gd name="T102" fmla="*/ 2224 w 3355"/>
                  <a:gd name="T103" fmla="*/ 109 h 1898"/>
                  <a:gd name="T104" fmla="*/ 2486 w 3355"/>
                  <a:gd name="T105" fmla="*/ 201 h 1898"/>
                  <a:gd name="T106" fmla="*/ 3053 w 3355"/>
                  <a:gd name="T107" fmla="*/ 530 h 1898"/>
                  <a:gd name="T108" fmla="*/ 3206 w 3355"/>
                  <a:gd name="T109" fmla="*/ 701 h 1898"/>
                  <a:gd name="T110" fmla="*/ 3247 w 3355"/>
                  <a:gd name="T111" fmla="*/ 831 h 1898"/>
                  <a:gd name="T112" fmla="*/ 3227 w 3355"/>
                  <a:gd name="T113" fmla="*/ 900 h 1898"/>
                  <a:gd name="T114" fmla="*/ 3156 w 3355"/>
                  <a:gd name="T115" fmla="*/ 1079 h 1898"/>
                  <a:gd name="T116" fmla="*/ 2986 w 3355"/>
                  <a:gd name="T117" fmla="*/ 1311 h 1898"/>
                  <a:gd name="T118" fmla="*/ 2896 w 3355"/>
                  <a:gd name="T119" fmla="*/ 1392 h 1898"/>
                  <a:gd name="T120" fmla="*/ 2651 w 3355"/>
                  <a:gd name="T121" fmla="*/ 1528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55" h="1898">
                    <a:moveTo>
                      <a:pt x="2377" y="1722"/>
                    </a:moveTo>
                    <a:lnTo>
                      <a:pt x="2377" y="1722"/>
                    </a:lnTo>
                    <a:cubicBezTo>
                      <a:pt x="2376" y="1728"/>
                      <a:pt x="2371" y="1735"/>
                      <a:pt x="2377" y="1737"/>
                    </a:cubicBezTo>
                    <a:cubicBezTo>
                      <a:pt x="2376" y="1737"/>
                      <a:pt x="2375" y="1738"/>
                      <a:pt x="2374" y="1738"/>
                    </a:cubicBezTo>
                    <a:cubicBezTo>
                      <a:pt x="2377" y="1739"/>
                      <a:pt x="2379" y="1739"/>
                      <a:pt x="2378" y="1741"/>
                    </a:cubicBezTo>
                    <a:cubicBezTo>
                      <a:pt x="2386" y="1739"/>
                      <a:pt x="2395" y="1738"/>
                      <a:pt x="2400" y="1734"/>
                    </a:cubicBezTo>
                    <a:cubicBezTo>
                      <a:pt x="2398" y="1718"/>
                      <a:pt x="2414" y="1710"/>
                      <a:pt x="2377" y="1722"/>
                    </a:cubicBezTo>
                    <a:close/>
                    <a:moveTo>
                      <a:pt x="1349" y="1839"/>
                    </a:moveTo>
                    <a:lnTo>
                      <a:pt x="1349" y="1839"/>
                    </a:lnTo>
                    <a:cubicBezTo>
                      <a:pt x="1338" y="1840"/>
                      <a:pt x="1318" y="1843"/>
                      <a:pt x="1336" y="1849"/>
                    </a:cubicBezTo>
                    <a:cubicBezTo>
                      <a:pt x="1345" y="1845"/>
                      <a:pt x="1361" y="1854"/>
                      <a:pt x="1369" y="1848"/>
                    </a:cubicBezTo>
                    <a:cubicBezTo>
                      <a:pt x="1370" y="1849"/>
                      <a:pt x="1370" y="1849"/>
                      <a:pt x="1371" y="1849"/>
                    </a:cubicBezTo>
                    <a:cubicBezTo>
                      <a:pt x="1361" y="1844"/>
                      <a:pt x="1352" y="1839"/>
                      <a:pt x="1349" y="1839"/>
                    </a:cubicBezTo>
                    <a:close/>
                    <a:moveTo>
                      <a:pt x="332" y="563"/>
                    </a:moveTo>
                    <a:lnTo>
                      <a:pt x="332" y="563"/>
                    </a:lnTo>
                    <a:cubicBezTo>
                      <a:pt x="322" y="564"/>
                      <a:pt x="308" y="577"/>
                      <a:pt x="298" y="586"/>
                    </a:cubicBezTo>
                    <a:cubicBezTo>
                      <a:pt x="304" y="583"/>
                      <a:pt x="314" y="577"/>
                      <a:pt x="332" y="563"/>
                    </a:cubicBezTo>
                    <a:close/>
                    <a:moveTo>
                      <a:pt x="640" y="387"/>
                    </a:moveTo>
                    <a:lnTo>
                      <a:pt x="640" y="387"/>
                    </a:lnTo>
                    <a:cubicBezTo>
                      <a:pt x="637" y="386"/>
                      <a:pt x="632" y="387"/>
                      <a:pt x="627" y="388"/>
                    </a:cubicBezTo>
                    <a:cubicBezTo>
                      <a:pt x="632" y="390"/>
                      <a:pt x="636" y="390"/>
                      <a:pt x="640" y="387"/>
                    </a:cubicBezTo>
                    <a:close/>
                    <a:moveTo>
                      <a:pt x="797" y="301"/>
                    </a:moveTo>
                    <a:lnTo>
                      <a:pt x="797" y="301"/>
                    </a:lnTo>
                    <a:cubicBezTo>
                      <a:pt x="796" y="302"/>
                      <a:pt x="795" y="304"/>
                      <a:pt x="794" y="305"/>
                    </a:cubicBezTo>
                    <a:lnTo>
                      <a:pt x="794" y="305"/>
                    </a:lnTo>
                    <a:lnTo>
                      <a:pt x="797" y="301"/>
                    </a:lnTo>
                    <a:close/>
                    <a:moveTo>
                      <a:pt x="267" y="701"/>
                    </a:moveTo>
                    <a:lnTo>
                      <a:pt x="267" y="701"/>
                    </a:lnTo>
                    <a:cubicBezTo>
                      <a:pt x="289" y="674"/>
                      <a:pt x="286" y="686"/>
                      <a:pt x="290" y="687"/>
                    </a:cubicBezTo>
                    <a:cubicBezTo>
                      <a:pt x="262" y="707"/>
                      <a:pt x="251" y="723"/>
                      <a:pt x="227" y="742"/>
                    </a:cubicBezTo>
                    <a:cubicBezTo>
                      <a:pt x="232" y="740"/>
                      <a:pt x="235" y="742"/>
                      <a:pt x="238" y="742"/>
                    </a:cubicBezTo>
                    <a:cubicBezTo>
                      <a:pt x="229" y="750"/>
                      <a:pt x="219" y="757"/>
                      <a:pt x="212" y="756"/>
                    </a:cubicBezTo>
                    <a:cubicBezTo>
                      <a:pt x="212" y="751"/>
                      <a:pt x="216" y="745"/>
                      <a:pt x="223" y="738"/>
                    </a:cubicBezTo>
                    <a:cubicBezTo>
                      <a:pt x="229" y="731"/>
                      <a:pt x="238" y="725"/>
                      <a:pt x="246" y="719"/>
                    </a:cubicBezTo>
                    <a:cubicBezTo>
                      <a:pt x="261" y="707"/>
                      <a:pt x="275" y="699"/>
                      <a:pt x="267" y="701"/>
                    </a:cubicBezTo>
                    <a:close/>
                    <a:moveTo>
                      <a:pt x="500" y="529"/>
                    </a:moveTo>
                    <a:lnTo>
                      <a:pt x="500" y="529"/>
                    </a:lnTo>
                    <a:lnTo>
                      <a:pt x="495" y="530"/>
                    </a:lnTo>
                    <a:cubicBezTo>
                      <a:pt x="503" y="523"/>
                      <a:pt x="507" y="517"/>
                      <a:pt x="500" y="529"/>
                    </a:cubicBezTo>
                    <a:close/>
                    <a:moveTo>
                      <a:pt x="2623" y="1549"/>
                    </a:moveTo>
                    <a:lnTo>
                      <a:pt x="2623" y="1549"/>
                    </a:lnTo>
                    <a:lnTo>
                      <a:pt x="2615" y="1545"/>
                    </a:lnTo>
                    <a:cubicBezTo>
                      <a:pt x="2609" y="1550"/>
                      <a:pt x="2603" y="1554"/>
                      <a:pt x="2597" y="1559"/>
                    </a:cubicBezTo>
                    <a:cubicBezTo>
                      <a:pt x="2590" y="1563"/>
                      <a:pt x="2583" y="1567"/>
                      <a:pt x="2576" y="1570"/>
                    </a:cubicBezTo>
                    <a:cubicBezTo>
                      <a:pt x="2562" y="1577"/>
                      <a:pt x="2548" y="1583"/>
                      <a:pt x="2533" y="1589"/>
                    </a:cubicBezTo>
                    <a:cubicBezTo>
                      <a:pt x="2505" y="1600"/>
                      <a:pt x="2478" y="1611"/>
                      <a:pt x="2459" y="1629"/>
                    </a:cubicBezTo>
                    <a:cubicBezTo>
                      <a:pt x="2420" y="1630"/>
                      <a:pt x="2411" y="1640"/>
                      <a:pt x="2402" y="1649"/>
                    </a:cubicBezTo>
                    <a:cubicBezTo>
                      <a:pt x="2394" y="1658"/>
                      <a:pt x="2385" y="1667"/>
                      <a:pt x="2350" y="1667"/>
                    </a:cubicBezTo>
                    <a:lnTo>
                      <a:pt x="2353" y="1670"/>
                    </a:lnTo>
                    <a:cubicBezTo>
                      <a:pt x="2246" y="1701"/>
                      <a:pt x="2133" y="1721"/>
                      <a:pt x="2021" y="1733"/>
                    </a:cubicBezTo>
                    <a:cubicBezTo>
                      <a:pt x="1965" y="1739"/>
                      <a:pt x="1910" y="1743"/>
                      <a:pt x="1855" y="1746"/>
                    </a:cubicBezTo>
                    <a:cubicBezTo>
                      <a:pt x="1828" y="1748"/>
                      <a:pt x="1801" y="1748"/>
                      <a:pt x="1774" y="1750"/>
                    </a:cubicBezTo>
                    <a:cubicBezTo>
                      <a:pt x="1747" y="1751"/>
                      <a:pt x="1720" y="1752"/>
                      <a:pt x="1693" y="1753"/>
                    </a:cubicBezTo>
                    <a:lnTo>
                      <a:pt x="1694" y="1748"/>
                    </a:lnTo>
                    <a:cubicBezTo>
                      <a:pt x="1651" y="1746"/>
                      <a:pt x="1609" y="1744"/>
                      <a:pt x="1566" y="1742"/>
                    </a:cubicBezTo>
                    <a:cubicBezTo>
                      <a:pt x="1524" y="1739"/>
                      <a:pt x="1482" y="1737"/>
                      <a:pt x="1440" y="1734"/>
                    </a:cubicBezTo>
                    <a:cubicBezTo>
                      <a:pt x="1356" y="1728"/>
                      <a:pt x="1273" y="1719"/>
                      <a:pt x="1190" y="1709"/>
                    </a:cubicBezTo>
                    <a:cubicBezTo>
                      <a:pt x="1107" y="1698"/>
                      <a:pt x="1025" y="1684"/>
                      <a:pt x="944" y="1666"/>
                    </a:cubicBezTo>
                    <a:cubicBezTo>
                      <a:pt x="863" y="1648"/>
                      <a:pt x="783" y="1627"/>
                      <a:pt x="705" y="1599"/>
                    </a:cubicBezTo>
                    <a:cubicBezTo>
                      <a:pt x="675" y="1593"/>
                      <a:pt x="688" y="1610"/>
                      <a:pt x="661" y="1606"/>
                    </a:cubicBezTo>
                    <a:cubicBezTo>
                      <a:pt x="656" y="1604"/>
                      <a:pt x="647" y="1601"/>
                      <a:pt x="640" y="1597"/>
                    </a:cubicBezTo>
                    <a:cubicBezTo>
                      <a:pt x="632" y="1594"/>
                      <a:pt x="627" y="1590"/>
                      <a:pt x="628" y="1587"/>
                    </a:cubicBezTo>
                    <a:cubicBezTo>
                      <a:pt x="650" y="1592"/>
                      <a:pt x="640" y="1582"/>
                      <a:pt x="648" y="1583"/>
                    </a:cubicBezTo>
                    <a:cubicBezTo>
                      <a:pt x="631" y="1576"/>
                      <a:pt x="612" y="1567"/>
                      <a:pt x="593" y="1559"/>
                    </a:cubicBezTo>
                    <a:cubicBezTo>
                      <a:pt x="574" y="1550"/>
                      <a:pt x="556" y="1541"/>
                      <a:pt x="539" y="1538"/>
                    </a:cubicBezTo>
                    <a:lnTo>
                      <a:pt x="561" y="1557"/>
                    </a:lnTo>
                    <a:cubicBezTo>
                      <a:pt x="548" y="1555"/>
                      <a:pt x="530" y="1545"/>
                      <a:pt x="520" y="1539"/>
                    </a:cubicBezTo>
                    <a:cubicBezTo>
                      <a:pt x="526" y="1537"/>
                      <a:pt x="515" y="1522"/>
                      <a:pt x="525" y="1525"/>
                    </a:cubicBezTo>
                    <a:cubicBezTo>
                      <a:pt x="490" y="1518"/>
                      <a:pt x="478" y="1510"/>
                      <a:pt x="470" y="1501"/>
                    </a:cubicBezTo>
                    <a:cubicBezTo>
                      <a:pt x="461" y="1492"/>
                      <a:pt x="454" y="1483"/>
                      <a:pt x="428" y="1472"/>
                    </a:cubicBezTo>
                    <a:cubicBezTo>
                      <a:pt x="409" y="1481"/>
                      <a:pt x="340" y="1454"/>
                      <a:pt x="295" y="1433"/>
                    </a:cubicBezTo>
                    <a:cubicBezTo>
                      <a:pt x="289" y="1426"/>
                      <a:pt x="284" y="1420"/>
                      <a:pt x="278" y="1413"/>
                    </a:cubicBezTo>
                    <a:cubicBezTo>
                      <a:pt x="304" y="1435"/>
                      <a:pt x="285" y="1404"/>
                      <a:pt x="317" y="1430"/>
                    </a:cubicBezTo>
                    <a:cubicBezTo>
                      <a:pt x="311" y="1423"/>
                      <a:pt x="305" y="1418"/>
                      <a:pt x="298" y="1413"/>
                    </a:cubicBezTo>
                    <a:cubicBezTo>
                      <a:pt x="292" y="1407"/>
                      <a:pt x="286" y="1402"/>
                      <a:pt x="279" y="1397"/>
                    </a:cubicBezTo>
                    <a:cubicBezTo>
                      <a:pt x="273" y="1392"/>
                      <a:pt x="266" y="1387"/>
                      <a:pt x="260" y="1382"/>
                    </a:cubicBezTo>
                    <a:cubicBezTo>
                      <a:pt x="255" y="1377"/>
                      <a:pt x="249" y="1371"/>
                      <a:pt x="244" y="1365"/>
                    </a:cubicBezTo>
                    <a:cubicBezTo>
                      <a:pt x="245" y="1372"/>
                      <a:pt x="240" y="1375"/>
                      <a:pt x="229" y="1367"/>
                    </a:cubicBezTo>
                    <a:cubicBezTo>
                      <a:pt x="217" y="1351"/>
                      <a:pt x="223" y="1344"/>
                      <a:pt x="208" y="1327"/>
                    </a:cubicBezTo>
                    <a:lnTo>
                      <a:pt x="227" y="1340"/>
                    </a:lnTo>
                    <a:cubicBezTo>
                      <a:pt x="222" y="1324"/>
                      <a:pt x="207" y="1321"/>
                      <a:pt x="198" y="1311"/>
                    </a:cubicBezTo>
                    <a:cubicBezTo>
                      <a:pt x="201" y="1302"/>
                      <a:pt x="182" y="1276"/>
                      <a:pt x="193" y="1276"/>
                    </a:cubicBezTo>
                    <a:cubicBezTo>
                      <a:pt x="181" y="1267"/>
                      <a:pt x="175" y="1259"/>
                      <a:pt x="169" y="1251"/>
                    </a:cubicBezTo>
                    <a:cubicBezTo>
                      <a:pt x="163" y="1243"/>
                      <a:pt x="158" y="1234"/>
                      <a:pt x="148" y="1222"/>
                    </a:cubicBezTo>
                    <a:cubicBezTo>
                      <a:pt x="157" y="1254"/>
                      <a:pt x="136" y="1219"/>
                      <a:pt x="132" y="1224"/>
                    </a:cubicBezTo>
                    <a:lnTo>
                      <a:pt x="152" y="1256"/>
                    </a:lnTo>
                    <a:cubicBezTo>
                      <a:pt x="132" y="1208"/>
                      <a:pt x="161" y="1271"/>
                      <a:pt x="171" y="1260"/>
                    </a:cubicBezTo>
                    <a:cubicBezTo>
                      <a:pt x="180" y="1284"/>
                      <a:pt x="135" y="1242"/>
                      <a:pt x="160" y="1276"/>
                    </a:cubicBezTo>
                    <a:cubicBezTo>
                      <a:pt x="128" y="1236"/>
                      <a:pt x="128" y="1225"/>
                      <a:pt x="100" y="1180"/>
                    </a:cubicBezTo>
                    <a:cubicBezTo>
                      <a:pt x="112" y="1209"/>
                      <a:pt x="91" y="1177"/>
                      <a:pt x="93" y="1194"/>
                    </a:cubicBezTo>
                    <a:cubicBezTo>
                      <a:pt x="80" y="1156"/>
                      <a:pt x="94" y="1183"/>
                      <a:pt x="97" y="1169"/>
                    </a:cubicBezTo>
                    <a:cubicBezTo>
                      <a:pt x="93" y="1159"/>
                      <a:pt x="93" y="1151"/>
                      <a:pt x="92" y="1144"/>
                    </a:cubicBezTo>
                    <a:cubicBezTo>
                      <a:pt x="91" y="1137"/>
                      <a:pt x="89" y="1131"/>
                      <a:pt x="83" y="1122"/>
                    </a:cubicBezTo>
                    <a:cubicBezTo>
                      <a:pt x="81" y="1087"/>
                      <a:pt x="92" y="1125"/>
                      <a:pt x="95" y="1107"/>
                    </a:cubicBezTo>
                    <a:cubicBezTo>
                      <a:pt x="99" y="1113"/>
                      <a:pt x="102" y="1136"/>
                      <a:pt x="107" y="1157"/>
                    </a:cubicBezTo>
                    <a:cubicBezTo>
                      <a:pt x="113" y="1176"/>
                      <a:pt x="121" y="1193"/>
                      <a:pt x="132" y="1184"/>
                    </a:cubicBezTo>
                    <a:cubicBezTo>
                      <a:pt x="139" y="1200"/>
                      <a:pt x="156" y="1215"/>
                      <a:pt x="168" y="1236"/>
                    </a:cubicBezTo>
                    <a:cubicBezTo>
                      <a:pt x="164" y="1225"/>
                      <a:pt x="160" y="1213"/>
                      <a:pt x="157" y="1200"/>
                    </a:cubicBezTo>
                    <a:cubicBezTo>
                      <a:pt x="155" y="1194"/>
                      <a:pt x="153" y="1187"/>
                      <a:pt x="150" y="1181"/>
                    </a:cubicBezTo>
                    <a:cubicBezTo>
                      <a:pt x="148" y="1175"/>
                      <a:pt x="146" y="1169"/>
                      <a:pt x="142" y="1163"/>
                    </a:cubicBezTo>
                    <a:lnTo>
                      <a:pt x="127" y="1167"/>
                    </a:lnTo>
                    <a:cubicBezTo>
                      <a:pt x="120" y="1148"/>
                      <a:pt x="110" y="1146"/>
                      <a:pt x="108" y="1132"/>
                    </a:cubicBezTo>
                    <a:cubicBezTo>
                      <a:pt x="111" y="1135"/>
                      <a:pt x="113" y="1133"/>
                      <a:pt x="114" y="1128"/>
                    </a:cubicBezTo>
                    <a:cubicBezTo>
                      <a:pt x="115" y="1123"/>
                      <a:pt x="114" y="1116"/>
                      <a:pt x="113" y="1108"/>
                    </a:cubicBezTo>
                    <a:cubicBezTo>
                      <a:pt x="111" y="1113"/>
                      <a:pt x="113" y="1119"/>
                      <a:pt x="110" y="1118"/>
                    </a:cubicBezTo>
                    <a:cubicBezTo>
                      <a:pt x="107" y="1103"/>
                      <a:pt x="103" y="1095"/>
                      <a:pt x="99" y="1086"/>
                    </a:cubicBezTo>
                    <a:cubicBezTo>
                      <a:pt x="94" y="1077"/>
                      <a:pt x="91" y="1067"/>
                      <a:pt x="89" y="1048"/>
                    </a:cubicBezTo>
                    <a:cubicBezTo>
                      <a:pt x="88" y="1064"/>
                      <a:pt x="86" y="1073"/>
                      <a:pt x="84" y="1082"/>
                    </a:cubicBezTo>
                    <a:cubicBezTo>
                      <a:pt x="83" y="1092"/>
                      <a:pt x="81" y="1101"/>
                      <a:pt x="80" y="1116"/>
                    </a:cubicBezTo>
                    <a:cubicBezTo>
                      <a:pt x="69" y="1110"/>
                      <a:pt x="75" y="1095"/>
                      <a:pt x="72" y="1078"/>
                    </a:cubicBezTo>
                    <a:cubicBezTo>
                      <a:pt x="74" y="1081"/>
                      <a:pt x="74" y="1084"/>
                      <a:pt x="76" y="1079"/>
                    </a:cubicBezTo>
                    <a:lnTo>
                      <a:pt x="70" y="1061"/>
                    </a:lnTo>
                    <a:cubicBezTo>
                      <a:pt x="71" y="1040"/>
                      <a:pt x="76" y="1042"/>
                      <a:pt x="80" y="1044"/>
                    </a:cubicBezTo>
                    <a:cubicBezTo>
                      <a:pt x="84" y="1046"/>
                      <a:pt x="87" y="1048"/>
                      <a:pt x="91" y="1034"/>
                    </a:cubicBezTo>
                    <a:cubicBezTo>
                      <a:pt x="95" y="1024"/>
                      <a:pt x="95" y="1017"/>
                      <a:pt x="94" y="1011"/>
                    </a:cubicBezTo>
                    <a:cubicBezTo>
                      <a:pt x="94" y="1004"/>
                      <a:pt x="92" y="998"/>
                      <a:pt x="96" y="990"/>
                    </a:cubicBezTo>
                    <a:cubicBezTo>
                      <a:pt x="95" y="991"/>
                      <a:pt x="94" y="992"/>
                      <a:pt x="93" y="993"/>
                    </a:cubicBezTo>
                    <a:cubicBezTo>
                      <a:pt x="94" y="990"/>
                      <a:pt x="95" y="987"/>
                      <a:pt x="95" y="985"/>
                    </a:cubicBezTo>
                    <a:cubicBezTo>
                      <a:pt x="95" y="985"/>
                      <a:pt x="95" y="986"/>
                      <a:pt x="95" y="985"/>
                    </a:cubicBezTo>
                    <a:cubicBezTo>
                      <a:pt x="97" y="966"/>
                      <a:pt x="106" y="946"/>
                      <a:pt x="100" y="938"/>
                    </a:cubicBezTo>
                    <a:cubicBezTo>
                      <a:pt x="105" y="937"/>
                      <a:pt x="107" y="921"/>
                      <a:pt x="107" y="913"/>
                    </a:cubicBezTo>
                    <a:cubicBezTo>
                      <a:pt x="109" y="902"/>
                      <a:pt x="115" y="872"/>
                      <a:pt x="135" y="863"/>
                    </a:cubicBezTo>
                    <a:cubicBezTo>
                      <a:pt x="135" y="864"/>
                      <a:pt x="135" y="864"/>
                      <a:pt x="135" y="864"/>
                    </a:cubicBezTo>
                    <a:cubicBezTo>
                      <a:pt x="150" y="843"/>
                      <a:pt x="166" y="829"/>
                      <a:pt x="166" y="836"/>
                    </a:cubicBezTo>
                    <a:cubicBezTo>
                      <a:pt x="175" y="825"/>
                      <a:pt x="185" y="814"/>
                      <a:pt x="194" y="804"/>
                    </a:cubicBezTo>
                    <a:lnTo>
                      <a:pt x="199" y="814"/>
                    </a:lnTo>
                    <a:cubicBezTo>
                      <a:pt x="222" y="783"/>
                      <a:pt x="215" y="782"/>
                      <a:pt x="226" y="755"/>
                    </a:cubicBezTo>
                    <a:cubicBezTo>
                      <a:pt x="249" y="738"/>
                      <a:pt x="282" y="700"/>
                      <a:pt x="294" y="685"/>
                    </a:cubicBezTo>
                    <a:cubicBezTo>
                      <a:pt x="297" y="683"/>
                      <a:pt x="301" y="680"/>
                      <a:pt x="306" y="675"/>
                    </a:cubicBezTo>
                    <a:lnTo>
                      <a:pt x="291" y="683"/>
                    </a:lnTo>
                    <a:cubicBezTo>
                      <a:pt x="315" y="662"/>
                      <a:pt x="309" y="661"/>
                      <a:pt x="325" y="647"/>
                    </a:cubicBezTo>
                    <a:cubicBezTo>
                      <a:pt x="321" y="649"/>
                      <a:pt x="320" y="649"/>
                      <a:pt x="330" y="643"/>
                    </a:cubicBezTo>
                    <a:cubicBezTo>
                      <a:pt x="333" y="641"/>
                      <a:pt x="336" y="639"/>
                      <a:pt x="340" y="636"/>
                    </a:cubicBezTo>
                    <a:cubicBezTo>
                      <a:pt x="339" y="638"/>
                      <a:pt x="336" y="640"/>
                      <a:pt x="332" y="643"/>
                    </a:cubicBezTo>
                    <a:lnTo>
                      <a:pt x="337" y="643"/>
                    </a:lnTo>
                    <a:cubicBezTo>
                      <a:pt x="363" y="636"/>
                      <a:pt x="363" y="614"/>
                      <a:pt x="387" y="601"/>
                    </a:cubicBezTo>
                    <a:cubicBezTo>
                      <a:pt x="386" y="603"/>
                      <a:pt x="383" y="606"/>
                      <a:pt x="380" y="608"/>
                    </a:cubicBezTo>
                    <a:cubicBezTo>
                      <a:pt x="394" y="601"/>
                      <a:pt x="420" y="600"/>
                      <a:pt x="420" y="589"/>
                    </a:cubicBezTo>
                    <a:cubicBezTo>
                      <a:pt x="424" y="588"/>
                      <a:pt x="427" y="583"/>
                      <a:pt x="430" y="579"/>
                    </a:cubicBezTo>
                    <a:lnTo>
                      <a:pt x="440" y="573"/>
                    </a:lnTo>
                    <a:cubicBezTo>
                      <a:pt x="436" y="576"/>
                      <a:pt x="433" y="577"/>
                      <a:pt x="430" y="578"/>
                    </a:cubicBezTo>
                    <a:cubicBezTo>
                      <a:pt x="434" y="572"/>
                      <a:pt x="437" y="565"/>
                      <a:pt x="439" y="567"/>
                    </a:cubicBezTo>
                    <a:lnTo>
                      <a:pt x="473" y="546"/>
                    </a:lnTo>
                    <a:cubicBezTo>
                      <a:pt x="480" y="544"/>
                      <a:pt x="487" y="537"/>
                      <a:pt x="493" y="531"/>
                    </a:cubicBezTo>
                    <a:lnTo>
                      <a:pt x="501" y="531"/>
                    </a:lnTo>
                    <a:cubicBezTo>
                      <a:pt x="513" y="523"/>
                      <a:pt x="514" y="525"/>
                      <a:pt x="514" y="527"/>
                    </a:cubicBezTo>
                    <a:cubicBezTo>
                      <a:pt x="563" y="514"/>
                      <a:pt x="575" y="481"/>
                      <a:pt x="627" y="467"/>
                    </a:cubicBezTo>
                    <a:cubicBezTo>
                      <a:pt x="633" y="455"/>
                      <a:pt x="612" y="463"/>
                      <a:pt x="609" y="461"/>
                    </a:cubicBezTo>
                    <a:cubicBezTo>
                      <a:pt x="613" y="452"/>
                      <a:pt x="638" y="433"/>
                      <a:pt x="650" y="422"/>
                    </a:cubicBezTo>
                    <a:cubicBezTo>
                      <a:pt x="675" y="419"/>
                      <a:pt x="744" y="395"/>
                      <a:pt x="740" y="413"/>
                    </a:cubicBezTo>
                    <a:cubicBezTo>
                      <a:pt x="780" y="395"/>
                      <a:pt x="724" y="411"/>
                      <a:pt x="742" y="397"/>
                    </a:cubicBezTo>
                    <a:lnTo>
                      <a:pt x="746" y="396"/>
                    </a:lnTo>
                    <a:cubicBezTo>
                      <a:pt x="732" y="401"/>
                      <a:pt x="719" y="402"/>
                      <a:pt x="709" y="400"/>
                    </a:cubicBezTo>
                    <a:cubicBezTo>
                      <a:pt x="703" y="395"/>
                      <a:pt x="737" y="376"/>
                      <a:pt x="749" y="373"/>
                    </a:cubicBezTo>
                    <a:lnTo>
                      <a:pt x="746" y="386"/>
                    </a:lnTo>
                    <a:cubicBezTo>
                      <a:pt x="781" y="366"/>
                      <a:pt x="767" y="355"/>
                      <a:pt x="786" y="334"/>
                    </a:cubicBezTo>
                    <a:cubicBezTo>
                      <a:pt x="817" y="325"/>
                      <a:pt x="804" y="342"/>
                      <a:pt x="814" y="348"/>
                    </a:cubicBezTo>
                    <a:cubicBezTo>
                      <a:pt x="824" y="343"/>
                      <a:pt x="834" y="338"/>
                      <a:pt x="844" y="333"/>
                    </a:cubicBezTo>
                    <a:lnTo>
                      <a:pt x="847" y="340"/>
                    </a:lnTo>
                    <a:cubicBezTo>
                      <a:pt x="867" y="330"/>
                      <a:pt x="869" y="321"/>
                      <a:pt x="899" y="314"/>
                    </a:cubicBezTo>
                    <a:cubicBezTo>
                      <a:pt x="881" y="328"/>
                      <a:pt x="945" y="306"/>
                      <a:pt x="919" y="326"/>
                    </a:cubicBezTo>
                    <a:cubicBezTo>
                      <a:pt x="936" y="323"/>
                      <a:pt x="936" y="306"/>
                      <a:pt x="947" y="314"/>
                    </a:cubicBezTo>
                    <a:cubicBezTo>
                      <a:pt x="956" y="302"/>
                      <a:pt x="932" y="315"/>
                      <a:pt x="923" y="315"/>
                    </a:cubicBezTo>
                    <a:cubicBezTo>
                      <a:pt x="917" y="310"/>
                      <a:pt x="926" y="306"/>
                      <a:pt x="938" y="301"/>
                    </a:cubicBezTo>
                    <a:cubicBezTo>
                      <a:pt x="950" y="297"/>
                      <a:pt x="965" y="293"/>
                      <a:pt x="975" y="288"/>
                    </a:cubicBezTo>
                    <a:cubicBezTo>
                      <a:pt x="978" y="294"/>
                      <a:pt x="964" y="299"/>
                      <a:pt x="988" y="297"/>
                    </a:cubicBezTo>
                    <a:cubicBezTo>
                      <a:pt x="991" y="290"/>
                      <a:pt x="1005" y="282"/>
                      <a:pt x="1020" y="284"/>
                    </a:cubicBezTo>
                    <a:cubicBezTo>
                      <a:pt x="1017" y="276"/>
                      <a:pt x="1046" y="275"/>
                      <a:pt x="1059" y="272"/>
                    </a:cubicBezTo>
                    <a:cubicBezTo>
                      <a:pt x="1044" y="275"/>
                      <a:pt x="1021" y="275"/>
                      <a:pt x="1028" y="265"/>
                    </a:cubicBezTo>
                    <a:cubicBezTo>
                      <a:pt x="1039" y="259"/>
                      <a:pt x="1048" y="254"/>
                      <a:pt x="1075" y="248"/>
                    </a:cubicBezTo>
                    <a:lnTo>
                      <a:pt x="1056" y="250"/>
                    </a:lnTo>
                    <a:cubicBezTo>
                      <a:pt x="1076" y="232"/>
                      <a:pt x="1096" y="248"/>
                      <a:pt x="1127" y="236"/>
                    </a:cubicBezTo>
                    <a:cubicBezTo>
                      <a:pt x="1115" y="244"/>
                      <a:pt x="1106" y="246"/>
                      <a:pt x="1096" y="255"/>
                    </a:cubicBezTo>
                    <a:cubicBezTo>
                      <a:pt x="1110" y="248"/>
                      <a:pt x="1137" y="235"/>
                      <a:pt x="1159" y="225"/>
                    </a:cubicBezTo>
                    <a:lnTo>
                      <a:pt x="1189" y="230"/>
                    </a:lnTo>
                    <a:cubicBezTo>
                      <a:pt x="1191" y="224"/>
                      <a:pt x="1219" y="224"/>
                      <a:pt x="1217" y="216"/>
                    </a:cubicBezTo>
                    <a:cubicBezTo>
                      <a:pt x="1252" y="214"/>
                      <a:pt x="1193" y="232"/>
                      <a:pt x="1191" y="238"/>
                    </a:cubicBezTo>
                    <a:cubicBezTo>
                      <a:pt x="1234" y="234"/>
                      <a:pt x="1221" y="217"/>
                      <a:pt x="1264" y="221"/>
                    </a:cubicBezTo>
                    <a:lnTo>
                      <a:pt x="1252" y="231"/>
                    </a:lnTo>
                    <a:cubicBezTo>
                      <a:pt x="1265" y="229"/>
                      <a:pt x="1291" y="219"/>
                      <a:pt x="1294" y="222"/>
                    </a:cubicBezTo>
                    <a:cubicBezTo>
                      <a:pt x="1293" y="219"/>
                      <a:pt x="1287" y="222"/>
                      <a:pt x="1278" y="224"/>
                    </a:cubicBezTo>
                    <a:cubicBezTo>
                      <a:pt x="1283" y="206"/>
                      <a:pt x="1338" y="199"/>
                      <a:pt x="1329" y="184"/>
                    </a:cubicBezTo>
                    <a:lnTo>
                      <a:pt x="1311" y="187"/>
                    </a:lnTo>
                    <a:cubicBezTo>
                      <a:pt x="1338" y="178"/>
                      <a:pt x="1356" y="162"/>
                      <a:pt x="1379" y="164"/>
                    </a:cubicBezTo>
                    <a:cubicBezTo>
                      <a:pt x="1397" y="166"/>
                      <a:pt x="1370" y="177"/>
                      <a:pt x="1361" y="184"/>
                    </a:cubicBezTo>
                    <a:cubicBezTo>
                      <a:pt x="1388" y="179"/>
                      <a:pt x="1379" y="161"/>
                      <a:pt x="1411" y="157"/>
                    </a:cubicBezTo>
                    <a:cubicBezTo>
                      <a:pt x="1394" y="157"/>
                      <a:pt x="1396" y="151"/>
                      <a:pt x="1405" y="144"/>
                    </a:cubicBezTo>
                    <a:cubicBezTo>
                      <a:pt x="1386" y="147"/>
                      <a:pt x="1347" y="151"/>
                      <a:pt x="1355" y="157"/>
                    </a:cubicBezTo>
                    <a:lnTo>
                      <a:pt x="1362" y="157"/>
                    </a:lnTo>
                    <a:cubicBezTo>
                      <a:pt x="1361" y="162"/>
                      <a:pt x="1352" y="166"/>
                      <a:pt x="1347" y="169"/>
                    </a:cubicBezTo>
                    <a:cubicBezTo>
                      <a:pt x="1322" y="174"/>
                      <a:pt x="1334" y="164"/>
                      <a:pt x="1328" y="161"/>
                    </a:cubicBezTo>
                    <a:cubicBezTo>
                      <a:pt x="1285" y="167"/>
                      <a:pt x="1328" y="179"/>
                      <a:pt x="1289" y="186"/>
                    </a:cubicBezTo>
                    <a:lnTo>
                      <a:pt x="1284" y="184"/>
                    </a:lnTo>
                    <a:cubicBezTo>
                      <a:pt x="1266" y="192"/>
                      <a:pt x="1238" y="199"/>
                      <a:pt x="1235" y="210"/>
                    </a:cubicBezTo>
                    <a:cubicBezTo>
                      <a:pt x="1216" y="204"/>
                      <a:pt x="1193" y="224"/>
                      <a:pt x="1173" y="223"/>
                    </a:cubicBezTo>
                    <a:cubicBezTo>
                      <a:pt x="1164" y="200"/>
                      <a:pt x="1238" y="209"/>
                      <a:pt x="1257" y="192"/>
                    </a:cubicBezTo>
                    <a:cubicBezTo>
                      <a:pt x="1236" y="191"/>
                      <a:pt x="1266" y="178"/>
                      <a:pt x="1274" y="171"/>
                    </a:cubicBezTo>
                    <a:cubicBezTo>
                      <a:pt x="1253" y="179"/>
                      <a:pt x="1233" y="187"/>
                      <a:pt x="1212" y="195"/>
                    </a:cubicBezTo>
                    <a:cubicBezTo>
                      <a:pt x="1206" y="193"/>
                      <a:pt x="1185" y="185"/>
                      <a:pt x="1175" y="197"/>
                    </a:cubicBezTo>
                    <a:lnTo>
                      <a:pt x="1181" y="196"/>
                    </a:lnTo>
                    <a:cubicBezTo>
                      <a:pt x="1156" y="205"/>
                      <a:pt x="1165" y="213"/>
                      <a:pt x="1143" y="215"/>
                    </a:cubicBezTo>
                    <a:cubicBezTo>
                      <a:pt x="1139" y="213"/>
                      <a:pt x="1144" y="208"/>
                      <a:pt x="1146" y="206"/>
                    </a:cubicBezTo>
                    <a:cubicBezTo>
                      <a:pt x="1125" y="209"/>
                      <a:pt x="1130" y="215"/>
                      <a:pt x="1118" y="221"/>
                    </a:cubicBezTo>
                    <a:cubicBezTo>
                      <a:pt x="1097" y="224"/>
                      <a:pt x="1125" y="209"/>
                      <a:pt x="1108" y="211"/>
                    </a:cubicBezTo>
                    <a:cubicBezTo>
                      <a:pt x="1087" y="226"/>
                      <a:pt x="1070" y="218"/>
                      <a:pt x="1050" y="224"/>
                    </a:cubicBezTo>
                    <a:cubicBezTo>
                      <a:pt x="1062" y="235"/>
                      <a:pt x="976" y="264"/>
                      <a:pt x="1023" y="264"/>
                    </a:cubicBezTo>
                    <a:cubicBezTo>
                      <a:pt x="1007" y="271"/>
                      <a:pt x="993" y="279"/>
                      <a:pt x="978" y="287"/>
                    </a:cubicBezTo>
                    <a:cubicBezTo>
                      <a:pt x="961" y="284"/>
                      <a:pt x="1005" y="258"/>
                      <a:pt x="988" y="251"/>
                    </a:cubicBezTo>
                    <a:lnTo>
                      <a:pt x="1027" y="241"/>
                    </a:lnTo>
                    <a:cubicBezTo>
                      <a:pt x="1015" y="226"/>
                      <a:pt x="950" y="275"/>
                      <a:pt x="919" y="265"/>
                    </a:cubicBezTo>
                    <a:cubicBezTo>
                      <a:pt x="899" y="272"/>
                      <a:pt x="905" y="272"/>
                      <a:pt x="864" y="278"/>
                    </a:cubicBezTo>
                    <a:lnTo>
                      <a:pt x="875" y="289"/>
                    </a:lnTo>
                    <a:cubicBezTo>
                      <a:pt x="855" y="294"/>
                      <a:pt x="845" y="288"/>
                      <a:pt x="843" y="286"/>
                    </a:cubicBezTo>
                    <a:cubicBezTo>
                      <a:pt x="832" y="292"/>
                      <a:pt x="822" y="295"/>
                      <a:pt x="811" y="299"/>
                    </a:cubicBezTo>
                    <a:cubicBezTo>
                      <a:pt x="813" y="296"/>
                      <a:pt x="816" y="292"/>
                      <a:pt x="823" y="289"/>
                    </a:cubicBezTo>
                    <a:cubicBezTo>
                      <a:pt x="805" y="287"/>
                      <a:pt x="802" y="292"/>
                      <a:pt x="798" y="298"/>
                    </a:cubicBezTo>
                    <a:cubicBezTo>
                      <a:pt x="792" y="305"/>
                      <a:pt x="780" y="309"/>
                      <a:pt x="768" y="315"/>
                    </a:cubicBezTo>
                    <a:lnTo>
                      <a:pt x="776" y="305"/>
                    </a:lnTo>
                    <a:cubicBezTo>
                      <a:pt x="769" y="309"/>
                      <a:pt x="761" y="315"/>
                      <a:pt x="761" y="318"/>
                    </a:cubicBezTo>
                    <a:cubicBezTo>
                      <a:pt x="756" y="320"/>
                      <a:pt x="752" y="322"/>
                      <a:pt x="747" y="325"/>
                    </a:cubicBezTo>
                    <a:cubicBezTo>
                      <a:pt x="752" y="326"/>
                      <a:pt x="763" y="331"/>
                      <a:pt x="782" y="327"/>
                    </a:cubicBezTo>
                    <a:cubicBezTo>
                      <a:pt x="735" y="341"/>
                      <a:pt x="702" y="360"/>
                      <a:pt x="660" y="368"/>
                    </a:cubicBezTo>
                    <a:cubicBezTo>
                      <a:pt x="659" y="363"/>
                      <a:pt x="672" y="350"/>
                      <a:pt x="667" y="352"/>
                    </a:cubicBezTo>
                    <a:cubicBezTo>
                      <a:pt x="648" y="360"/>
                      <a:pt x="631" y="377"/>
                      <a:pt x="636" y="382"/>
                    </a:cubicBezTo>
                    <a:cubicBezTo>
                      <a:pt x="632" y="385"/>
                      <a:pt x="629" y="386"/>
                      <a:pt x="626" y="388"/>
                    </a:cubicBezTo>
                    <a:cubicBezTo>
                      <a:pt x="621" y="386"/>
                      <a:pt x="614" y="385"/>
                      <a:pt x="605" y="389"/>
                    </a:cubicBezTo>
                    <a:cubicBezTo>
                      <a:pt x="603" y="389"/>
                      <a:pt x="599" y="390"/>
                      <a:pt x="592" y="393"/>
                    </a:cubicBezTo>
                    <a:cubicBezTo>
                      <a:pt x="592" y="407"/>
                      <a:pt x="554" y="421"/>
                      <a:pt x="549" y="430"/>
                    </a:cubicBezTo>
                    <a:cubicBezTo>
                      <a:pt x="558" y="427"/>
                      <a:pt x="568" y="421"/>
                      <a:pt x="578" y="415"/>
                    </a:cubicBezTo>
                    <a:cubicBezTo>
                      <a:pt x="567" y="430"/>
                      <a:pt x="559" y="445"/>
                      <a:pt x="545" y="446"/>
                    </a:cubicBezTo>
                    <a:cubicBezTo>
                      <a:pt x="568" y="424"/>
                      <a:pt x="510" y="452"/>
                      <a:pt x="549" y="426"/>
                    </a:cubicBezTo>
                    <a:cubicBezTo>
                      <a:pt x="512" y="429"/>
                      <a:pt x="539" y="444"/>
                      <a:pt x="507" y="457"/>
                    </a:cubicBezTo>
                    <a:lnTo>
                      <a:pt x="484" y="464"/>
                    </a:lnTo>
                    <a:cubicBezTo>
                      <a:pt x="483" y="454"/>
                      <a:pt x="513" y="441"/>
                      <a:pt x="507" y="441"/>
                    </a:cubicBezTo>
                    <a:lnTo>
                      <a:pt x="494" y="450"/>
                    </a:lnTo>
                    <a:cubicBezTo>
                      <a:pt x="504" y="436"/>
                      <a:pt x="557" y="409"/>
                      <a:pt x="585" y="383"/>
                    </a:cubicBezTo>
                    <a:cubicBezTo>
                      <a:pt x="563" y="394"/>
                      <a:pt x="540" y="404"/>
                      <a:pt x="518" y="416"/>
                    </a:cubicBezTo>
                    <a:cubicBezTo>
                      <a:pt x="481" y="444"/>
                      <a:pt x="437" y="471"/>
                      <a:pt x="395" y="500"/>
                    </a:cubicBezTo>
                    <a:cubicBezTo>
                      <a:pt x="354" y="530"/>
                      <a:pt x="316" y="561"/>
                      <a:pt x="291" y="593"/>
                    </a:cubicBezTo>
                    <a:lnTo>
                      <a:pt x="293" y="591"/>
                    </a:lnTo>
                    <a:cubicBezTo>
                      <a:pt x="293" y="592"/>
                      <a:pt x="293" y="594"/>
                      <a:pt x="295" y="597"/>
                    </a:cubicBezTo>
                    <a:lnTo>
                      <a:pt x="291" y="598"/>
                    </a:lnTo>
                    <a:lnTo>
                      <a:pt x="283" y="613"/>
                    </a:lnTo>
                    <a:cubicBezTo>
                      <a:pt x="264" y="618"/>
                      <a:pt x="238" y="638"/>
                      <a:pt x="212" y="653"/>
                    </a:cubicBezTo>
                    <a:cubicBezTo>
                      <a:pt x="229" y="645"/>
                      <a:pt x="229" y="645"/>
                      <a:pt x="235" y="649"/>
                    </a:cubicBezTo>
                    <a:cubicBezTo>
                      <a:pt x="238" y="658"/>
                      <a:pt x="239" y="662"/>
                      <a:pt x="217" y="678"/>
                    </a:cubicBezTo>
                    <a:cubicBezTo>
                      <a:pt x="213" y="674"/>
                      <a:pt x="225" y="662"/>
                      <a:pt x="207" y="672"/>
                    </a:cubicBezTo>
                    <a:cubicBezTo>
                      <a:pt x="216" y="667"/>
                      <a:pt x="213" y="677"/>
                      <a:pt x="205" y="686"/>
                    </a:cubicBezTo>
                    <a:cubicBezTo>
                      <a:pt x="199" y="689"/>
                      <a:pt x="191" y="696"/>
                      <a:pt x="184" y="700"/>
                    </a:cubicBezTo>
                    <a:cubicBezTo>
                      <a:pt x="177" y="705"/>
                      <a:pt x="172" y="709"/>
                      <a:pt x="169" y="707"/>
                    </a:cubicBezTo>
                    <a:cubicBezTo>
                      <a:pt x="173" y="700"/>
                      <a:pt x="178" y="698"/>
                      <a:pt x="182" y="695"/>
                    </a:cubicBezTo>
                    <a:cubicBezTo>
                      <a:pt x="186" y="689"/>
                      <a:pt x="159" y="712"/>
                      <a:pt x="169" y="693"/>
                    </a:cubicBezTo>
                    <a:lnTo>
                      <a:pt x="152" y="714"/>
                    </a:lnTo>
                    <a:cubicBezTo>
                      <a:pt x="137" y="723"/>
                      <a:pt x="153" y="701"/>
                      <a:pt x="146" y="703"/>
                    </a:cubicBezTo>
                    <a:cubicBezTo>
                      <a:pt x="118" y="741"/>
                      <a:pt x="114" y="768"/>
                      <a:pt x="94" y="805"/>
                    </a:cubicBezTo>
                    <a:cubicBezTo>
                      <a:pt x="93" y="801"/>
                      <a:pt x="81" y="793"/>
                      <a:pt x="85" y="796"/>
                    </a:cubicBezTo>
                    <a:cubicBezTo>
                      <a:pt x="73" y="807"/>
                      <a:pt x="67" y="825"/>
                      <a:pt x="62" y="843"/>
                    </a:cubicBezTo>
                    <a:cubicBezTo>
                      <a:pt x="57" y="861"/>
                      <a:pt x="52" y="879"/>
                      <a:pt x="46" y="897"/>
                    </a:cubicBezTo>
                    <a:cubicBezTo>
                      <a:pt x="44" y="890"/>
                      <a:pt x="51" y="878"/>
                      <a:pt x="55" y="867"/>
                    </a:cubicBezTo>
                    <a:cubicBezTo>
                      <a:pt x="40" y="891"/>
                      <a:pt x="29" y="917"/>
                      <a:pt x="20" y="942"/>
                    </a:cubicBezTo>
                    <a:cubicBezTo>
                      <a:pt x="16" y="956"/>
                      <a:pt x="12" y="968"/>
                      <a:pt x="9" y="982"/>
                    </a:cubicBezTo>
                    <a:cubicBezTo>
                      <a:pt x="7" y="995"/>
                      <a:pt x="3" y="1008"/>
                      <a:pt x="2" y="1022"/>
                    </a:cubicBezTo>
                    <a:lnTo>
                      <a:pt x="0" y="1042"/>
                    </a:lnTo>
                    <a:cubicBezTo>
                      <a:pt x="0" y="1049"/>
                      <a:pt x="0" y="1055"/>
                      <a:pt x="0" y="1061"/>
                    </a:cubicBezTo>
                    <a:cubicBezTo>
                      <a:pt x="0" y="1074"/>
                      <a:pt x="0" y="1087"/>
                      <a:pt x="0" y="1100"/>
                    </a:cubicBezTo>
                    <a:cubicBezTo>
                      <a:pt x="1" y="1113"/>
                      <a:pt x="1" y="1127"/>
                      <a:pt x="3" y="1140"/>
                    </a:cubicBezTo>
                    <a:cubicBezTo>
                      <a:pt x="4" y="1154"/>
                      <a:pt x="6" y="1167"/>
                      <a:pt x="8" y="1181"/>
                    </a:cubicBezTo>
                    <a:cubicBezTo>
                      <a:pt x="15" y="1189"/>
                      <a:pt x="23" y="1197"/>
                      <a:pt x="30" y="1204"/>
                    </a:cubicBezTo>
                    <a:cubicBezTo>
                      <a:pt x="30" y="1214"/>
                      <a:pt x="30" y="1224"/>
                      <a:pt x="31" y="1234"/>
                    </a:cubicBezTo>
                    <a:cubicBezTo>
                      <a:pt x="36" y="1247"/>
                      <a:pt x="40" y="1261"/>
                      <a:pt x="46" y="1273"/>
                    </a:cubicBezTo>
                    <a:cubicBezTo>
                      <a:pt x="52" y="1286"/>
                      <a:pt x="58" y="1298"/>
                      <a:pt x="64" y="1309"/>
                    </a:cubicBezTo>
                    <a:cubicBezTo>
                      <a:pt x="78" y="1331"/>
                      <a:pt x="91" y="1352"/>
                      <a:pt x="108" y="1371"/>
                    </a:cubicBezTo>
                    <a:cubicBezTo>
                      <a:pt x="123" y="1391"/>
                      <a:pt x="141" y="1407"/>
                      <a:pt x="158" y="1425"/>
                    </a:cubicBezTo>
                    <a:cubicBezTo>
                      <a:pt x="177" y="1441"/>
                      <a:pt x="195" y="1458"/>
                      <a:pt x="216" y="1474"/>
                    </a:cubicBezTo>
                    <a:cubicBezTo>
                      <a:pt x="241" y="1495"/>
                      <a:pt x="224" y="1495"/>
                      <a:pt x="234" y="1508"/>
                    </a:cubicBezTo>
                    <a:cubicBezTo>
                      <a:pt x="248" y="1519"/>
                      <a:pt x="260" y="1527"/>
                      <a:pt x="271" y="1534"/>
                    </a:cubicBezTo>
                    <a:cubicBezTo>
                      <a:pt x="282" y="1540"/>
                      <a:pt x="292" y="1545"/>
                      <a:pt x="302" y="1549"/>
                    </a:cubicBezTo>
                    <a:cubicBezTo>
                      <a:pt x="323" y="1559"/>
                      <a:pt x="343" y="1565"/>
                      <a:pt x="373" y="1581"/>
                    </a:cubicBezTo>
                    <a:cubicBezTo>
                      <a:pt x="362" y="1580"/>
                      <a:pt x="343" y="1582"/>
                      <a:pt x="367" y="1598"/>
                    </a:cubicBezTo>
                    <a:cubicBezTo>
                      <a:pt x="374" y="1597"/>
                      <a:pt x="380" y="1593"/>
                      <a:pt x="395" y="1604"/>
                    </a:cubicBezTo>
                    <a:lnTo>
                      <a:pt x="385" y="1604"/>
                    </a:lnTo>
                    <a:cubicBezTo>
                      <a:pt x="396" y="1617"/>
                      <a:pt x="413" y="1621"/>
                      <a:pt x="443" y="1638"/>
                    </a:cubicBezTo>
                    <a:cubicBezTo>
                      <a:pt x="497" y="1666"/>
                      <a:pt x="555" y="1678"/>
                      <a:pt x="607" y="1682"/>
                    </a:cubicBezTo>
                    <a:cubicBezTo>
                      <a:pt x="656" y="1701"/>
                      <a:pt x="596" y="1694"/>
                      <a:pt x="604" y="1700"/>
                    </a:cubicBezTo>
                    <a:cubicBezTo>
                      <a:pt x="571" y="1682"/>
                      <a:pt x="579" y="1693"/>
                      <a:pt x="570" y="1695"/>
                    </a:cubicBezTo>
                    <a:cubicBezTo>
                      <a:pt x="580" y="1697"/>
                      <a:pt x="591" y="1699"/>
                      <a:pt x="600" y="1703"/>
                    </a:cubicBezTo>
                    <a:cubicBezTo>
                      <a:pt x="609" y="1706"/>
                      <a:pt x="616" y="1711"/>
                      <a:pt x="619" y="1718"/>
                    </a:cubicBezTo>
                    <a:cubicBezTo>
                      <a:pt x="646" y="1726"/>
                      <a:pt x="657" y="1732"/>
                      <a:pt x="686" y="1733"/>
                    </a:cubicBezTo>
                    <a:cubicBezTo>
                      <a:pt x="671" y="1732"/>
                      <a:pt x="662" y="1723"/>
                      <a:pt x="676" y="1723"/>
                    </a:cubicBezTo>
                    <a:cubicBezTo>
                      <a:pt x="696" y="1733"/>
                      <a:pt x="752" y="1747"/>
                      <a:pt x="745" y="1758"/>
                    </a:cubicBezTo>
                    <a:cubicBezTo>
                      <a:pt x="809" y="1776"/>
                      <a:pt x="876" y="1792"/>
                      <a:pt x="944" y="1807"/>
                    </a:cubicBezTo>
                    <a:cubicBezTo>
                      <a:pt x="1013" y="1822"/>
                      <a:pt x="1083" y="1835"/>
                      <a:pt x="1152" y="1844"/>
                    </a:cubicBezTo>
                    <a:cubicBezTo>
                      <a:pt x="1176" y="1841"/>
                      <a:pt x="1135" y="1839"/>
                      <a:pt x="1148" y="1837"/>
                    </a:cubicBezTo>
                    <a:cubicBezTo>
                      <a:pt x="1183" y="1833"/>
                      <a:pt x="1174" y="1845"/>
                      <a:pt x="1202" y="1842"/>
                    </a:cubicBezTo>
                    <a:lnTo>
                      <a:pt x="1190" y="1847"/>
                    </a:lnTo>
                    <a:cubicBezTo>
                      <a:pt x="1230" y="1853"/>
                      <a:pt x="1275" y="1846"/>
                      <a:pt x="1314" y="1843"/>
                    </a:cubicBezTo>
                    <a:cubicBezTo>
                      <a:pt x="1307" y="1850"/>
                      <a:pt x="1345" y="1853"/>
                      <a:pt x="1313" y="1854"/>
                    </a:cubicBezTo>
                    <a:cubicBezTo>
                      <a:pt x="1332" y="1855"/>
                      <a:pt x="1352" y="1892"/>
                      <a:pt x="1367" y="1886"/>
                    </a:cubicBezTo>
                    <a:lnTo>
                      <a:pt x="1349" y="1851"/>
                    </a:lnTo>
                    <a:cubicBezTo>
                      <a:pt x="1350" y="1848"/>
                      <a:pt x="1376" y="1853"/>
                      <a:pt x="1374" y="1850"/>
                    </a:cubicBezTo>
                    <a:cubicBezTo>
                      <a:pt x="1390" y="1858"/>
                      <a:pt x="1410" y="1867"/>
                      <a:pt x="1422" y="1868"/>
                    </a:cubicBezTo>
                    <a:cubicBezTo>
                      <a:pt x="1427" y="1877"/>
                      <a:pt x="1398" y="1873"/>
                      <a:pt x="1382" y="1872"/>
                    </a:cubicBezTo>
                    <a:cubicBezTo>
                      <a:pt x="1378" y="1885"/>
                      <a:pt x="1435" y="1884"/>
                      <a:pt x="1411" y="1895"/>
                    </a:cubicBezTo>
                    <a:cubicBezTo>
                      <a:pt x="1445" y="1896"/>
                      <a:pt x="1406" y="1888"/>
                      <a:pt x="1427" y="1884"/>
                    </a:cubicBezTo>
                    <a:lnTo>
                      <a:pt x="1457" y="1889"/>
                    </a:lnTo>
                    <a:lnTo>
                      <a:pt x="1434" y="1883"/>
                    </a:lnTo>
                    <a:cubicBezTo>
                      <a:pt x="1459" y="1881"/>
                      <a:pt x="1468" y="1871"/>
                      <a:pt x="1501" y="1880"/>
                    </a:cubicBezTo>
                    <a:lnTo>
                      <a:pt x="1536" y="1868"/>
                    </a:lnTo>
                    <a:cubicBezTo>
                      <a:pt x="1539" y="1879"/>
                      <a:pt x="1561" y="1872"/>
                      <a:pt x="1579" y="1875"/>
                    </a:cubicBezTo>
                    <a:lnTo>
                      <a:pt x="1567" y="1881"/>
                    </a:lnTo>
                    <a:cubicBezTo>
                      <a:pt x="1591" y="1882"/>
                      <a:pt x="1600" y="1884"/>
                      <a:pt x="1615" y="1888"/>
                    </a:cubicBezTo>
                    <a:cubicBezTo>
                      <a:pt x="1601" y="1898"/>
                      <a:pt x="1593" y="1885"/>
                      <a:pt x="1587" y="1894"/>
                    </a:cubicBezTo>
                    <a:lnTo>
                      <a:pt x="1613" y="1898"/>
                    </a:lnTo>
                    <a:cubicBezTo>
                      <a:pt x="1613" y="1892"/>
                      <a:pt x="1630" y="1888"/>
                      <a:pt x="1611" y="1884"/>
                    </a:cubicBezTo>
                    <a:cubicBezTo>
                      <a:pt x="1636" y="1872"/>
                      <a:pt x="1649" y="1864"/>
                      <a:pt x="1709" y="1865"/>
                    </a:cubicBezTo>
                    <a:cubicBezTo>
                      <a:pt x="1736" y="1876"/>
                      <a:pt x="1680" y="1874"/>
                      <a:pt x="1691" y="1885"/>
                    </a:cubicBezTo>
                    <a:cubicBezTo>
                      <a:pt x="1722" y="1888"/>
                      <a:pt x="1741" y="1881"/>
                      <a:pt x="1757" y="1874"/>
                    </a:cubicBezTo>
                    <a:cubicBezTo>
                      <a:pt x="1773" y="1866"/>
                      <a:pt x="1785" y="1858"/>
                      <a:pt x="1804" y="1859"/>
                    </a:cubicBezTo>
                    <a:cubicBezTo>
                      <a:pt x="1851" y="1862"/>
                      <a:pt x="1848" y="1852"/>
                      <a:pt x="1895" y="1849"/>
                    </a:cubicBezTo>
                    <a:cubicBezTo>
                      <a:pt x="1880" y="1857"/>
                      <a:pt x="1928" y="1855"/>
                      <a:pt x="1938" y="1861"/>
                    </a:cubicBezTo>
                    <a:cubicBezTo>
                      <a:pt x="1931" y="1864"/>
                      <a:pt x="1925" y="1867"/>
                      <a:pt x="1919" y="1869"/>
                    </a:cubicBezTo>
                    <a:cubicBezTo>
                      <a:pt x="1934" y="1866"/>
                      <a:pt x="1948" y="1868"/>
                      <a:pt x="1944" y="1873"/>
                    </a:cubicBezTo>
                    <a:cubicBezTo>
                      <a:pt x="1942" y="1869"/>
                      <a:pt x="1957" y="1865"/>
                      <a:pt x="1977" y="1861"/>
                    </a:cubicBezTo>
                    <a:cubicBezTo>
                      <a:pt x="1987" y="1860"/>
                      <a:pt x="1998" y="1858"/>
                      <a:pt x="2008" y="1856"/>
                    </a:cubicBezTo>
                    <a:cubicBezTo>
                      <a:pt x="2019" y="1854"/>
                      <a:pt x="2029" y="1852"/>
                      <a:pt x="2037" y="1849"/>
                    </a:cubicBezTo>
                    <a:lnTo>
                      <a:pt x="2030" y="1842"/>
                    </a:lnTo>
                    <a:cubicBezTo>
                      <a:pt x="2055" y="1836"/>
                      <a:pt x="2089" y="1826"/>
                      <a:pt x="2116" y="1823"/>
                    </a:cubicBezTo>
                    <a:cubicBezTo>
                      <a:pt x="2155" y="1814"/>
                      <a:pt x="2145" y="1809"/>
                      <a:pt x="2173" y="1793"/>
                    </a:cubicBezTo>
                    <a:cubicBezTo>
                      <a:pt x="2191" y="1797"/>
                      <a:pt x="2191" y="1806"/>
                      <a:pt x="2188" y="1816"/>
                    </a:cubicBezTo>
                    <a:cubicBezTo>
                      <a:pt x="2176" y="1814"/>
                      <a:pt x="2159" y="1821"/>
                      <a:pt x="2141" y="1821"/>
                    </a:cubicBezTo>
                    <a:cubicBezTo>
                      <a:pt x="2116" y="1829"/>
                      <a:pt x="2095" y="1839"/>
                      <a:pt x="2073" y="1847"/>
                    </a:cubicBezTo>
                    <a:cubicBezTo>
                      <a:pt x="2052" y="1855"/>
                      <a:pt x="2029" y="1861"/>
                      <a:pt x="2004" y="1862"/>
                    </a:cubicBezTo>
                    <a:cubicBezTo>
                      <a:pt x="1994" y="1873"/>
                      <a:pt x="2002" y="1872"/>
                      <a:pt x="2017" y="1868"/>
                    </a:cubicBezTo>
                    <a:cubicBezTo>
                      <a:pt x="2031" y="1864"/>
                      <a:pt x="2050" y="1857"/>
                      <a:pt x="2063" y="1859"/>
                    </a:cubicBezTo>
                    <a:cubicBezTo>
                      <a:pt x="2063" y="1861"/>
                      <a:pt x="2061" y="1861"/>
                      <a:pt x="2059" y="1862"/>
                    </a:cubicBezTo>
                    <a:cubicBezTo>
                      <a:pt x="2061" y="1861"/>
                      <a:pt x="2063" y="1861"/>
                      <a:pt x="2065" y="1861"/>
                    </a:cubicBezTo>
                    <a:cubicBezTo>
                      <a:pt x="2048" y="1866"/>
                      <a:pt x="2018" y="1874"/>
                      <a:pt x="2014" y="1884"/>
                    </a:cubicBezTo>
                    <a:cubicBezTo>
                      <a:pt x="2045" y="1878"/>
                      <a:pt x="2034" y="1861"/>
                      <a:pt x="2073" y="1865"/>
                    </a:cubicBezTo>
                    <a:cubicBezTo>
                      <a:pt x="2100" y="1856"/>
                      <a:pt x="2126" y="1867"/>
                      <a:pt x="2143" y="1865"/>
                    </a:cubicBezTo>
                    <a:cubicBezTo>
                      <a:pt x="2161" y="1855"/>
                      <a:pt x="2158" y="1839"/>
                      <a:pt x="2204" y="1832"/>
                    </a:cubicBezTo>
                    <a:lnTo>
                      <a:pt x="2187" y="1848"/>
                    </a:lnTo>
                    <a:cubicBezTo>
                      <a:pt x="2238" y="1837"/>
                      <a:pt x="2208" y="1827"/>
                      <a:pt x="2255" y="1816"/>
                    </a:cubicBezTo>
                    <a:cubicBezTo>
                      <a:pt x="2238" y="1819"/>
                      <a:pt x="2268" y="1801"/>
                      <a:pt x="2237" y="1809"/>
                    </a:cubicBezTo>
                    <a:cubicBezTo>
                      <a:pt x="2251" y="1799"/>
                      <a:pt x="2285" y="1790"/>
                      <a:pt x="2311" y="1786"/>
                    </a:cubicBezTo>
                    <a:cubicBezTo>
                      <a:pt x="2317" y="1783"/>
                      <a:pt x="2311" y="1782"/>
                      <a:pt x="2311" y="1778"/>
                    </a:cubicBezTo>
                    <a:cubicBezTo>
                      <a:pt x="2282" y="1778"/>
                      <a:pt x="2269" y="1797"/>
                      <a:pt x="2243" y="1792"/>
                    </a:cubicBezTo>
                    <a:cubicBezTo>
                      <a:pt x="2238" y="1797"/>
                      <a:pt x="2232" y="1803"/>
                      <a:pt x="2227" y="1808"/>
                    </a:cubicBezTo>
                    <a:cubicBezTo>
                      <a:pt x="2199" y="1809"/>
                      <a:pt x="2195" y="1800"/>
                      <a:pt x="2210" y="1792"/>
                    </a:cubicBezTo>
                    <a:cubicBezTo>
                      <a:pt x="2202" y="1794"/>
                      <a:pt x="2196" y="1797"/>
                      <a:pt x="2190" y="1796"/>
                    </a:cubicBezTo>
                    <a:cubicBezTo>
                      <a:pt x="2182" y="1779"/>
                      <a:pt x="2223" y="1796"/>
                      <a:pt x="2229" y="1779"/>
                    </a:cubicBezTo>
                    <a:lnTo>
                      <a:pt x="2211" y="1784"/>
                    </a:lnTo>
                    <a:cubicBezTo>
                      <a:pt x="2205" y="1779"/>
                      <a:pt x="2216" y="1774"/>
                      <a:pt x="2230" y="1770"/>
                    </a:cubicBezTo>
                    <a:cubicBezTo>
                      <a:pt x="2244" y="1765"/>
                      <a:pt x="2263" y="1761"/>
                      <a:pt x="2275" y="1759"/>
                    </a:cubicBezTo>
                    <a:cubicBezTo>
                      <a:pt x="2302" y="1758"/>
                      <a:pt x="2327" y="1753"/>
                      <a:pt x="2331" y="1760"/>
                    </a:cubicBezTo>
                    <a:cubicBezTo>
                      <a:pt x="2320" y="1765"/>
                      <a:pt x="2308" y="1770"/>
                      <a:pt x="2297" y="1774"/>
                    </a:cubicBezTo>
                    <a:cubicBezTo>
                      <a:pt x="2317" y="1776"/>
                      <a:pt x="2341" y="1757"/>
                      <a:pt x="2362" y="1752"/>
                    </a:cubicBezTo>
                    <a:cubicBezTo>
                      <a:pt x="2363" y="1752"/>
                      <a:pt x="2366" y="1753"/>
                      <a:pt x="2368" y="1752"/>
                    </a:cubicBezTo>
                    <a:cubicBezTo>
                      <a:pt x="2367" y="1752"/>
                      <a:pt x="2366" y="1751"/>
                      <a:pt x="2366" y="1751"/>
                    </a:cubicBezTo>
                    <a:cubicBezTo>
                      <a:pt x="2370" y="1750"/>
                      <a:pt x="2375" y="1750"/>
                      <a:pt x="2378" y="1751"/>
                    </a:cubicBezTo>
                    <a:cubicBezTo>
                      <a:pt x="2397" y="1745"/>
                      <a:pt x="2421" y="1731"/>
                      <a:pt x="2439" y="1729"/>
                    </a:cubicBezTo>
                    <a:lnTo>
                      <a:pt x="2434" y="1722"/>
                    </a:lnTo>
                    <a:lnTo>
                      <a:pt x="2433" y="1727"/>
                    </a:lnTo>
                    <a:cubicBezTo>
                      <a:pt x="2417" y="1732"/>
                      <a:pt x="2393" y="1735"/>
                      <a:pt x="2404" y="1725"/>
                    </a:cubicBezTo>
                    <a:cubicBezTo>
                      <a:pt x="2439" y="1708"/>
                      <a:pt x="2451" y="1719"/>
                      <a:pt x="2462" y="1722"/>
                    </a:cubicBezTo>
                    <a:cubicBezTo>
                      <a:pt x="2458" y="1737"/>
                      <a:pt x="2426" y="1735"/>
                      <a:pt x="2408" y="1745"/>
                    </a:cubicBezTo>
                    <a:cubicBezTo>
                      <a:pt x="2423" y="1752"/>
                      <a:pt x="2447" y="1734"/>
                      <a:pt x="2487" y="1727"/>
                    </a:cubicBezTo>
                    <a:cubicBezTo>
                      <a:pt x="2476" y="1744"/>
                      <a:pt x="2443" y="1743"/>
                      <a:pt x="2438" y="1757"/>
                    </a:cubicBezTo>
                    <a:cubicBezTo>
                      <a:pt x="2470" y="1748"/>
                      <a:pt x="2475" y="1736"/>
                      <a:pt x="2508" y="1727"/>
                    </a:cubicBezTo>
                    <a:cubicBezTo>
                      <a:pt x="2506" y="1734"/>
                      <a:pt x="2475" y="1747"/>
                      <a:pt x="2480" y="1753"/>
                    </a:cubicBezTo>
                    <a:lnTo>
                      <a:pt x="2502" y="1749"/>
                    </a:lnTo>
                    <a:cubicBezTo>
                      <a:pt x="2451" y="1769"/>
                      <a:pt x="2517" y="1760"/>
                      <a:pt x="2477" y="1778"/>
                    </a:cubicBezTo>
                    <a:cubicBezTo>
                      <a:pt x="2498" y="1776"/>
                      <a:pt x="2500" y="1759"/>
                      <a:pt x="2530" y="1756"/>
                    </a:cubicBezTo>
                    <a:cubicBezTo>
                      <a:pt x="2521" y="1754"/>
                      <a:pt x="2496" y="1752"/>
                      <a:pt x="2519" y="1738"/>
                    </a:cubicBezTo>
                    <a:cubicBezTo>
                      <a:pt x="2530" y="1735"/>
                      <a:pt x="2540" y="1732"/>
                      <a:pt x="2550" y="1730"/>
                    </a:cubicBezTo>
                    <a:cubicBezTo>
                      <a:pt x="2564" y="1730"/>
                      <a:pt x="2525" y="1755"/>
                      <a:pt x="2545" y="1752"/>
                    </a:cubicBezTo>
                    <a:lnTo>
                      <a:pt x="2574" y="1735"/>
                    </a:lnTo>
                    <a:cubicBezTo>
                      <a:pt x="2572" y="1732"/>
                      <a:pt x="2556" y="1736"/>
                      <a:pt x="2563" y="1728"/>
                    </a:cubicBezTo>
                    <a:cubicBezTo>
                      <a:pt x="2583" y="1724"/>
                      <a:pt x="2586" y="1702"/>
                      <a:pt x="2604" y="1688"/>
                    </a:cubicBezTo>
                    <a:cubicBezTo>
                      <a:pt x="2620" y="1681"/>
                      <a:pt x="2633" y="1676"/>
                      <a:pt x="2640" y="1677"/>
                    </a:cubicBezTo>
                    <a:cubicBezTo>
                      <a:pt x="2658" y="1663"/>
                      <a:pt x="2679" y="1649"/>
                      <a:pt x="2700" y="1635"/>
                    </a:cubicBezTo>
                    <a:cubicBezTo>
                      <a:pt x="2720" y="1621"/>
                      <a:pt x="2740" y="1607"/>
                      <a:pt x="2755" y="1593"/>
                    </a:cubicBezTo>
                    <a:cubicBezTo>
                      <a:pt x="2734" y="1613"/>
                      <a:pt x="2762" y="1604"/>
                      <a:pt x="2779" y="1600"/>
                    </a:cubicBezTo>
                    <a:cubicBezTo>
                      <a:pt x="2753" y="1618"/>
                      <a:pt x="2758" y="1628"/>
                      <a:pt x="2764" y="1634"/>
                    </a:cubicBezTo>
                    <a:cubicBezTo>
                      <a:pt x="2781" y="1623"/>
                      <a:pt x="2785" y="1605"/>
                      <a:pt x="2775" y="1607"/>
                    </a:cubicBezTo>
                    <a:cubicBezTo>
                      <a:pt x="2805" y="1594"/>
                      <a:pt x="2790" y="1588"/>
                      <a:pt x="2818" y="1580"/>
                    </a:cubicBezTo>
                    <a:cubicBezTo>
                      <a:pt x="2837" y="1574"/>
                      <a:pt x="2817" y="1595"/>
                      <a:pt x="2825" y="1596"/>
                    </a:cubicBezTo>
                    <a:cubicBezTo>
                      <a:pt x="2855" y="1577"/>
                      <a:pt x="2825" y="1578"/>
                      <a:pt x="2859" y="1560"/>
                    </a:cubicBezTo>
                    <a:cubicBezTo>
                      <a:pt x="2858" y="1562"/>
                      <a:pt x="2855" y="1564"/>
                      <a:pt x="2859" y="1565"/>
                    </a:cubicBezTo>
                    <a:cubicBezTo>
                      <a:pt x="2878" y="1555"/>
                      <a:pt x="2893" y="1538"/>
                      <a:pt x="2893" y="1530"/>
                    </a:cubicBezTo>
                    <a:cubicBezTo>
                      <a:pt x="2920" y="1530"/>
                      <a:pt x="2943" y="1492"/>
                      <a:pt x="2948" y="1507"/>
                    </a:cubicBezTo>
                    <a:cubicBezTo>
                      <a:pt x="2985" y="1472"/>
                      <a:pt x="2937" y="1505"/>
                      <a:pt x="2942" y="1494"/>
                    </a:cubicBezTo>
                    <a:cubicBezTo>
                      <a:pt x="2954" y="1476"/>
                      <a:pt x="2987" y="1457"/>
                      <a:pt x="2997" y="1451"/>
                    </a:cubicBezTo>
                    <a:cubicBezTo>
                      <a:pt x="2988" y="1459"/>
                      <a:pt x="2982" y="1470"/>
                      <a:pt x="2971" y="1475"/>
                    </a:cubicBezTo>
                    <a:lnTo>
                      <a:pt x="2986" y="1477"/>
                    </a:lnTo>
                    <a:cubicBezTo>
                      <a:pt x="3013" y="1460"/>
                      <a:pt x="3016" y="1448"/>
                      <a:pt x="3020" y="1438"/>
                    </a:cubicBezTo>
                    <a:cubicBezTo>
                      <a:pt x="3022" y="1432"/>
                      <a:pt x="3023" y="1427"/>
                      <a:pt x="3028" y="1421"/>
                    </a:cubicBezTo>
                    <a:cubicBezTo>
                      <a:pt x="3032" y="1415"/>
                      <a:pt x="3039" y="1408"/>
                      <a:pt x="3052" y="1399"/>
                    </a:cubicBezTo>
                    <a:cubicBezTo>
                      <a:pt x="3033" y="1425"/>
                      <a:pt x="3050" y="1412"/>
                      <a:pt x="3043" y="1428"/>
                    </a:cubicBezTo>
                    <a:cubicBezTo>
                      <a:pt x="3049" y="1420"/>
                      <a:pt x="3085" y="1389"/>
                      <a:pt x="3059" y="1403"/>
                    </a:cubicBezTo>
                    <a:cubicBezTo>
                      <a:pt x="3076" y="1388"/>
                      <a:pt x="3089" y="1378"/>
                      <a:pt x="3101" y="1368"/>
                    </a:cubicBezTo>
                    <a:cubicBezTo>
                      <a:pt x="3107" y="1359"/>
                      <a:pt x="3113" y="1350"/>
                      <a:pt x="3118" y="1342"/>
                    </a:cubicBezTo>
                    <a:cubicBezTo>
                      <a:pt x="3122" y="1333"/>
                      <a:pt x="3126" y="1325"/>
                      <a:pt x="3127" y="1319"/>
                    </a:cubicBezTo>
                    <a:cubicBezTo>
                      <a:pt x="3150" y="1296"/>
                      <a:pt x="3170" y="1281"/>
                      <a:pt x="3183" y="1272"/>
                    </a:cubicBezTo>
                    <a:cubicBezTo>
                      <a:pt x="3193" y="1258"/>
                      <a:pt x="3201" y="1243"/>
                      <a:pt x="3211" y="1230"/>
                    </a:cubicBezTo>
                    <a:cubicBezTo>
                      <a:pt x="3221" y="1216"/>
                      <a:pt x="3230" y="1202"/>
                      <a:pt x="3240" y="1188"/>
                    </a:cubicBezTo>
                    <a:cubicBezTo>
                      <a:pt x="3244" y="1181"/>
                      <a:pt x="3249" y="1174"/>
                      <a:pt x="3254" y="1167"/>
                    </a:cubicBezTo>
                    <a:cubicBezTo>
                      <a:pt x="3258" y="1160"/>
                      <a:pt x="3262" y="1152"/>
                      <a:pt x="3266" y="1145"/>
                    </a:cubicBezTo>
                    <a:cubicBezTo>
                      <a:pt x="3270" y="1137"/>
                      <a:pt x="3274" y="1129"/>
                      <a:pt x="3278" y="1121"/>
                    </a:cubicBezTo>
                    <a:cubicBezTo>
                      <a:pt x="3282" y="1113"/>
                      <a:pt x="3285" y="1104"/>
                      <a:pt x="3288" y="1096"/>
                    </a:cubicBezTo>
                    <a:lnTo>
                      <a:pt x="3285" y="1100"/>
                    </a:lnTo>
                    <a:cubicBezTo>
                      <a:pt x="3310" y="1050"/>
                      <a:pt x="3262" y="1117"/>
                      <a:pt x="3286" y="1064"/>
                    </a:cubicBezTo>
                    <a:cubicBezTo>
                      <a:pt x="3295" y="1076"/>
                      <a:pt x="3307" y="1035"/>
                      <a:pt x="3319" y="1018"/>
                    </a:cubicBezTo>
                    <a:cubicBezTo>
                      <a:pt x="3334" y="984"/>
                      <a:pt x="3339" y="952"/>
                      <a:pt x="3341" y="921"/>
                    </a:cubicBezTo>
                    <a:cubicBezTo>
                      <a:pt x="3342" y="905"/>
                      <a:pt x="3344" y="889"/>
                      <a:pt x="3344" y="873"/>
                    </a:cubicBezTo>
                    <a:cubicBezTo>
                      <a:pt x="3344" y="857"/>
                      <a:pt x="3347" y="842"/>
                      <a:pt x="3347" y="822"/>
                    </a:cubicBezTo>
                    <a:cubicBezTo>
                      <a:pt x="3350" y="823"/>
                      <a:pt x="3353" y="828"/>
                      <a:pt x="3354" y="842"/>
                    </a:cubicBezTo>
                    <a:cubicBezTo>
                      <a:pt x="3355" y="828"/>
                      <a:pt x="3355" y="814"/>
                      <a:pt x="3354" y="800"/>
                    </a:cubicBezTo>
                    <a:cubicBezTo>
                      <a:pt x="3352" y="787"/>
                      <a:pt x="3350" y="774"/>
                      <a:pt x="3347" y="762"/>
                    </a:cubicBezTo>
                    <a:cubicBezTo>
                      <a:pt x="3341" y="738"/>
                      <a:pt x="3333" y="715"/>
                      <a:pt x="3323" y="692"/>
                    </a:cubicBezTo>
                    <a:lnTo>
                      <a:pt x="3325" y="694"/>
                    </a:lnTo>
                    <a:cubicBezTo>
                      <a:pt x="3314" y="654"/>
                      <a:pt x="3293" y="623"/>
                      <a:pt x="3270" y="594"/>
                    </a:cubicBezTo>
                    <a:cubicBezTo>
                      <a:pt x="3247" y="565"/>
                      <a:pt x="3220" y="541"/>
                      <a:pt x="3193" y="514"/>
                    </a:cubicBezTo>
                    <a:cubicBezTo>
                      <a:pt x="3198" y="517"/>
                      <a:pt x="3203" y="515"/>
                      <a:pt x="3208" y="518"/>
                    </a:cubicBezTo>
                    <a:cubicBezTo>
                      <a:pt x="3183" y="487"/>
                      <a:pt x="3139" y="445"/>
                      <a:pt x="3111" y="437"/>
                    </a:cubicBezTo>
                    <a:cubicBezTo>
                      <a:pt x="3085" y="399"/>
                      <a:pt x="3086" y="421"/>
                      <a:pt x="3048" y="377"/>
                    </a:cubicBezTo>
                    <a:cubicBezTo>
                      <a:pt x="3047" y="373"/>
                      <a:pt x="3054" y="378"/>
                      <a:pt x="3058" y="380"/>
                    </a:cubicBezTo>
                    <a:cubicBezTo>
                      <a:pt x="3038" y="360"/>
                      <a:pt x="3021" y="350"/>
                      <a:pt x="2998" y="332"/>
                    </a:cubicBezTo>
                    <a:cubicBezTo>
                      <a:pt x="2942" y="305"/>
                      <a:pt x="2920" y="311"/>
                      <a:pt x="2861" y="270"/>
                    </a:cubicBezTo>
                    <a:cubicBezTo>
                      <a:pt x="2867" y="253"/>
                      <a:pt x="2901" y="289"/>
                      <a:pt x="2910" y="278"/>
                    </a:cubicBezTo>
                    <a:cubicBezTo>
                      <a:pt x="2896" y="273"/>
                      <a:pt x="2884" y="269"/>
                      <a:pt x="2869" y="256"/>
                    </a:cubicBezTo>
                    <a:cubicBezTo>
                      <a:pt x="2882" y="256"/>
                      <a:pt x="2873" y="253"/>
                      <a:pt x="2883" y="252"/>
                    </a:cubicBezTo>
                    <a:cubicBezTo>
                      <a:pt x="2873" y="240"/>
                      <a:pt x="2821" y="238"/>
                      <a:pt x="2823" y="236"/>
                    </a:cubicBezTo>
                    <a:cubicBezTo>
                      <a:pt x="2820" y="239"/>
                      <a:pt x="2824" y="243"/>
                      <a:pt x="2836" y="250"/>
                    </a:cubicBezTo>
                    <a:cubicBezTo>
                      <a:pt x="2817" y="251"/>
                      <a:pt x="2775" y="216"/>
                      <a:pt x="2742" y="205"/>
                    </a:cubicBezTo>
                    <a:cubicBezTo>
                      <a:pt x="2752" y="210"/>
                      <a:pt x="2781" y="229"/>
                      <a:pt x="2766" y="231"/>
                    </a:cubicBezTo>
                    <a:cubicBezTo>
                      <a:pt x="2727" y="206"/>
                      <a:pt x="2705" y="214"/>
                      <a:pt x="2674" y="207"/>
                    </a:cubicBezTo>
                    <a:cubicBezTo>
                      <a:pt x="2639" y="181"/>
                      <a:pt x="2708" y="207"/>
                      <a:pt x="2706" y="193"/>
                    </a:cubicBezTo>
                    <a:cubicBezTo>
                      <a:pt x="2702" y="185"/>
                      <a:pt x="2691" y="169"/>
                      <a:pt x="2709" y="173"/>
                    </a:cubicBezTo>
                    <a:cubicBezTo>
                      <a:pt x="2676" y="153"/>
                      <a:pt x="2646" y="151"/>
                      <a:pt x="2614" y="140"/>
                    </a:cubicBezTo>
                    <a:lnTo>
                      <a:pt x="2616" y="137"/>
                    </a:lnTo>
                    <a:cubicBezTo>
                      <a:pt x="2572" y="118"/>
                      <a:pt x="2519" y="113"/>
                      <a:pt x="2483" y="93"/>
                    </a:cubicBezTo>
                    <a:lnTo>
                      <a:pt x="2502" y="104"/>
                    </a:lnTo>
                    <a:cubicBezTo>
                      <a:pt x="2494" y="104"/>
                      <a:pt x="2471" y="94"/>
                      <a:pt x="2456" y="96"/>
                    </a:cubicBezTo>
                    <a:cubicBezTo>
                      <a:pt x="2460" y="91"/>
                      <a:pt x="2431" y="77"/>
                      <a:pt x="2445" y="76"/>
                    </a:cubicBezTo>
                    <a:cubicBezTo>
                      <a:pt x="2432" y="82"/>
                      <a:pt x="2405" y="76"/>
                      <a:pt x="2378" y="71"/>
                    </a:cubicBezTo>
                    <a:cubicBezTo>
                      <a:pt x="2351" y="66"/>
                      <a:pt x="2323" y="61"/>
                      <a:pt x="2310" y="67"/>
                    </a:cubicBezTo>
                    <a:cubicBezTo>
                      <a:pt x="2298" y="60"/>
                      <a:pt x="2310" y="55"/>
                      <a:pt x="2315" y="52"/>
                    </a:cubicBezTo>
                    <a:cubicBezTo>
                      <a:pt x="2344" y="60"/>
                      <a:pt x="2352" y="67"/>
                      <a:pt x="2370" y="64"/>
                    </a:cubicBezTo>
                    <a:cubicBezTo>
                      <a:pt x="2345" y="58"/>
                      <a:pt x="2329" y="48"/>
                      <a:pt x="2334" y="45"/>
                    </a:cubicBezTo>
                    <a:cubicBezTo>
                      <a:pt x="2320" y="48"/>
                      <a:pt x="2298" y="47"/>
                      <a:pt x="2278" y="46"/>
                    </a:cubicBezTo>
                    <a:cubicBezTo>
                      <a:pt x="2258" y="46"/>
                      <a:pt x="2240" y="46"/>
                      <a:pt x="2233" y="51"/>
                    </a:cubicBezTo>
                    <a:cubicBezTo>
                      <a:pt x="2216" y="41"/>
                      <a:pt x="2200" y="35"/>
                      <a:pt x="2208" y="27"/>
                    </a:cubicBezTo>
                    <a:cubicBezTo>
                      <a:pt x="2131" y="19"/>
                      <a:pt x="2239" y="62"/>
                      <a:pt x="2155" y="47"/>
                    </a:cubicBezTo>
                    <a:cubicBezTo>
                      <a:pt x="2118" y="32"/>
                      <a:pt x="2195" y="41"/>
                      <a:pt x="2142" y="29"/>
                    </a:cubicBezTo>
                    <a:lnTo>
                      <a:pt x="2152" y="29"/>
                    </a:lnTo>
                    <a:cubicBezTo>
                      <a:pt x="2117" y="0"/>
                      <a:pt x="2122" y="42"/>
                      <a:pt x="2079" y="35"/>
                    </a:cubicBezTo>
                    <a:cubicBezTo>
                      <a:pt x="2075" y="21"/>
                      <a:pt x="2111" y="30"/>
                      <a:pt x="2082" y="16"/>
                    </a:cubicBezTo>
                    <a:cubicBezTo>
                      <a:pt x="2041" y="14"/>
                      <a:pt x="2021" y="32"/>
                      <a:pt x="1982" y="24"/>
                    </a:cubicBezTo>
                    <a:lnTo>
                      <a:pt x="1988" y="19"/>
                    </a:lnTo>
                    <a:cubicBezTo>
                      <a:pt x="1963" y="17"/>
                      <a:pt x="1913" y="11"/>
                      <a:pt x="1887" y="11"/>
                    </a:cubicBezTo>
                    <a:cubicBezTo>
                      <a:pt x="1886" y="8"/>
                      <a:pt x="1890" y="9"/>
                      <a:pt x="1895" y="8"/>
                    </a:cubicBezTo>
                    <a:cubicBezTo>
                      <a:pt x="1847" y="2"/>
                      <a:pt x="1875" y="14"/>
                      <a:pt x="1836" y="5"/>
                    </a:cubicBezTo>
                    <a:lnTo>
                      <a:pt x="1824" y="10"/>
                    </a:lnTo>
                    <a:cubicBezTo>
                      <a:pt x="1844" y="15"/>
                      <a:pt x="1881" y="23"/>
                      <a:pt x="1906" y="17"/>
                    </a:cubicBezTo>
                    <a:cubicBezTo>
                      <a:pt x="1881" y="23"/>
                      <a:pt x="1944" y="36"/>
                      <a:pt x="1931" y="47"/>
                    </a:cubicBezTo>
                    <a:lnTo>
                      <a:pt x="1936" y="43"/>
                    </a:lnTo>
                    <a:cubicBezTo>
                      <a:pt x="1998" y="67"/>
                      <a:pt x="2078" y="78"/>
                      <a:pt x="2156" y="100"/>
                    </a:cubicBezTo>
                    <a:cubicBezTo>
                      <a:pt x="2182" y="97"/>
                      <a:pt x="2203" y="102"/>
                      <a:pt x="2224" y="109"/>
                    </a:cubicBezTo>
                    <a:cubicBezTo>
                      <a:pt x="2234" y="112"/>
                      <a:pt x="2245" y="115"/>
                      <a:pt x="2256" y="118"/>
                    </a:cubicBezTo>
                    <a:cubicBezTo>
                      <a:pt x="2268" y="121"/>
                      <a:pt x="2280" y="123"/>
                      <a:pt x="2293" y="124"/>
                    </a:cubicBezTo>
                    <a:cubicBezTo>
                      <a:pt x="2305" y="111"/>
                      <a:pt x="2304" y="123"/>
                      <a:pt x="2350" y="132"/>
                    </a:cubicBezTo>
                    <a:cubicBezTo>
                      <a:pt x="2325" y="128"/>
                      <a:pt x="2344" y="143"/>
                      <a:pt x="2358" y="149"/>
                    </a:cubicBezTo>
                    <a:cubicBezTo>
                      <a:pt x="2368" y="148"/>
                      <a:pt x="2379" y="149"/>
                      <a:pt x="2390" y="151"/>
                    </a:cubicBezTo>
                    <a:cubicBezTo>
                      <a:pt x="2393" y="155"/>
                      <a:pt x="2408" y="165"/>
                      <a:pt x="2425" y="173"/>
                    </a:cubicBezTo>
                    <a:cubicBezTo>
                      <a:pt x="2441" y="181"/>
                      <a:pt x="2459" y="188"/>
                      <a:pt x="2471" y="187"/>
                    </a:cubicBezTo>
                    <a:cubicBezTo>
                      <a:pt x="2495" y="201"/>
                      <a:pt x="2463" y="189"/>
                      <a:pt x="2456" y="190"/>
                    </a:cubicBezTo>
                    <a:cubicBezTo>
                      <a:pt x="2464" y="202"/>
                      <a:pt x="2480" y="192"/>
                      <a:pt x="2486" y="201"/>
                    </a:cubicBezTo>
                    <a:cubicBezTo>
                      <a:pt x="2486" y="201"/>
                      <a:pt x="2485" y="202"/>
                      <a:pt x="2482" y="202"/>
                    </a:cubicBezTo>
                    <a:cubicBezTo>
                      <a:pt x="2522" y="217"/>
                      <a:pt x="2544" y="231"/>
                      <a:pt x="2584" y="251"/>
                    </a:cubicBezTo>
                    <a:cubicBezTo>
                      <a:pt x="2594" y="238"/>
                      <a:pt x="2627" y="264"/>
                      <a:pt x="2647" y="268"/>
                    </a:cubicBezTo>
                    <a:cubicBezTo>
                      <a:pt x="2639" y="270"/>
                      <a:pt x="2667" y="284"/>
                      <a:pt x="2677" y="293"/>
                    </a:cubicBezTo>
                    <a:lnTo>
                      <a:pt x="2704" y="293"/>
                    </a:lnTo>
                    <a:cubicBezTo>
                      <a:pt x="2729" y="296"/>
                      <a:pt x="2730" y="315"/>
                      <a:pt x="2759" y="325"/>
                    </a:cubicBezTo>
                    <a:lnTo>
                      <a:pt x="2754" y="319"/>
                    </a:lnTo>
                    <a:cubicBezTo>
                      <a:pt x="2776" y="325"/>
                      <a:pt x="2823" y="363"/>
                      <a:pt x="2837" y="382"/>
                    </a:cubicBezTo>
                    <a:cubicBezTo>
                      <a:pt x="2934" y="422"/>
                      <a:pt x="2997" y="473"/>
                      <a:pt x="3053" y="530"/>
                    </a:cubicBezTo>
                    <a:cubicBezTo>
                      <a:pt x="3081" y="559"/>
                      <a:pt x="3107" y="589"/>
                      <a:pt x="3133" y="623"/>
                    </a:cubicBezTo>
                    <a:cubicBezTo>
                      <a:pt x="3158" y="656"/>
                      <a:pt x="3184" y="692"/>
                      <a:pt x="3206" y="734"/>
                    </a:cubicBezTo>
                    <a:cubicBezTo>
                      <a:pt x="3215" y="743"/>
                      <a:pt x="3209" y="722"/>
                      <a:pt x="3220" y="728"/>
                    </a:cubicBezTo>
                    <a:cubicBezTo>
                      <a:pt x="3230" y="745"/>
                      <a:pt x="3230" y="750"/>
                      <a:pt x="3237" y="767"/>
                    </a:cubicBezTo>
                    <a:cubicBezTo>
                      <a:pt x="3235" y="751"/>
                      <a:pt x="3231" y="755"/>
                      <a:pt x="3236" y="755"/>
                    </a:cubicBezTo>
                    <a:cubicBezTo>
                      <a:pt x="3231" y="747"/>
                      <a:pt x="3227" y="739"/>
                      <a:pt x="3221" y="731"/>
                    </a:cubicBezTo>
                    <a:cubicBezTo>
                      <a:pt x="3222" y="729"/>
                      <a:pt x="3223" y="732"/>
                      <a:pt x="3224" y="729"/>
                    </a:cubicBezTo>
                    <a:cubicBezTo>
                      <a:pt x="3222" y="725"/>
                      <a:pt x="3219" y="720"/>
                      <a:pt x="3215" y="716"/>
                    </a:cubicBezTo>
                    <a:cubicBezTo>
                      <a:pt x="3212" y="712"/>
                      <a:pt x="3208" y="707"/>
                      <a:pt x="3206" y="701"/>
                    </a:cubicBezTo>
                    <a:cubicBezTo>
                      <a:pt x="3218" y="714"/>
                      <a:pt x="3230" y="714"/>
                      <a:pt x="3237" y="738"/>
                    </a:cubicBezTo>
                    <a:cubicBezTo>
                      <a:pt x="3235" y="737"/>
                      <a:pt x="3233" y="734"/>
                      <a:pt x="3229" y="729"/>
                    </a:cubicBezTo>
                    <a:cubicBezTo>
                      <a:pt x="3233" y="738"/>
                      <a:pt x="3236" y="742"/>
                      <a:pt x="3238" y="746"/>
                    </a:cubicBezTo>
                    <a:cubicBezTo>
                      <a:pt x="3241" y="750"/>
                      <a:pt x="3243" y="754"/>
                      <a:pt x="3244" y="761"/>
                    </a:cubicBezTo>
                    <a:cubicBezTo>
                      <a:pt x="3247" y="779"/>
                      <a:pt x="3248" y="774"/>
                      <a:pt x="3244" y="778"/>
                    </a:cubicBezTo>
                    <a:lnTo>
                      <a:pt x="3246" y="791"/>
                    </a:lnTo>
                    <a:lnTo>
                      <a:pt x="3247" y="805"/>
                    </a:lnTo>
                    <a:cubicBezTo>
                      <a:pt x="3247" y="809"/>
                      <a:pt x="3248" y="814"/>
                      <a:pt x="3248" y="818"/>
                    </a:cubicBezTo>
                    <a:lnTo>
                      <a:pt x="3247" y="831"/>
                    </a:lnTo>
                    <a:cubicBezTo>
                      <a:pt x="3249" y="835"/>
                      <a:pt x="3250" y="838"/>
                      <a:pt x="3251" y="841"/>
                    </a:cubicBezTo>
                    <a:cubicBezTo>
                      <a:pt x="3252" y="845"/>
                      <a:pt x="3252" y="849"/>
                      <a:pt x="3253" y="853"/>
                    </a:cubicBezTo>
                    <a:cubicBezTo>
                      <a:pt x="3253" y="860"/>
                      <a:pt x="3252" y="868"/>
                      <a:pt x="3251" y="874"/>
                    </a:cubicBezTo>
                    <a:cubicBezTo>
                      <a:pt x="3249" y="888"/>
                      <a:pt x="3243" y="898"/>
                      <a:pt x="3242" y="903"/>
                    </a:cubicBezTo>
                    <a:cubicBezTo>
                      <a:pt x="3237" y="899"/>
                      <a:pt x="3238" y="890"/>
                      <a:pt x="3238" y="879"/>
                    </a:cubicBezTo>
                    <a:cubicBezTo>
                      <a:pt x="3238" y="869"/>
                      <a:pt x="3238" y="858"/>
                      <a:pt x="3233" y="851"/>
                    </a:cubicBezTo>
                    <a:lnTo>
                      <a:pt x="3225" y="870"/>
                    </a:lnTo>
                    <a:lnTo>
                      <a:pt x="3233" y="872"/>
                    </a:lnTo>
                    <a:cubicBezTo>
                      <a:pt x="3232" y="881"/>
                      <a:pt x="3229" y="891"/>
                      <a:pt x="3227" y="900"/>
                    </a:cubicBezTo>
                    <a:lnTo>
                      <a:pt x="3226" y="898"/>
                    </a:lnTo>
                    <a:cubicBezTo>
                      <a:pt x="3229" y="902"/>
                      <a:pt x="3231" y="906"/>
                      <a:pt x="3228" y="913"/>
                    </a:cubicBezTo>
                    <a:cubicBezTo>
                      <a:pt x="3226" y="914"/>
                      <a:pt x="3224" y="916"/>
                      <a:pt x="3224" y="913"/>
                    </a:cubicBezTo>
                    <a:cubicBezTo>
                      <a:pt x="3224" y="920"/>
                      <a:pt x="3224" y="927"/>
                      <a:pt x="3224" y="934"/>
                    </a:cubicBezTo>
                    <a:cubicBezTo>
                      <a:pt x="3218" y="920"/>
                      <a:pt x="3218" y="951"/>
                      <a:pt x="3209" y="945"/>
                    </a:cubicBezTo>
                    <a:cubicBezTo>
                      <a:pt x="3204" y="961"/>
                      <a:pt x="3199" y="974"/>
                      <a:pt x="3197" y="986"/>
                    </a:cubicBezTo>
                    <a:cubicBezTo>
                      <a:pt x="3194" y="997"/>
                      <a:pt x="3191" y="1008"/>
                      <a:pt x="3188" y="1017"/>
                    </a:cubicBezTo>
                    <a:cubicBezTo>
                      <a:pt x="3186" y="1027"/>
                      <a:pt x="3183" y="1037"/>
                      <a:pt x="3178" y="1047"/>
                    </a:cubicBezTo>
                    <a:cubicBezTo>
                      <a:pt x="3173" y="1057"/>
                      <a:pt x="3166" y="1068"/>
                      <a:pt x="3156" y="1079"/>
                    </a:cubicBezTo>
                    <a:cubicBezTo>
                      <a:pt x="3165" y="1073"/>
                      <a:pt x="3161" y="1104"/>
                      <a:pt x="3149" y="1119"/>
                    </a:cubicBezTo>
                    <a:cubicBezTo>
                      <a:pt x="3141" y="1127"/>
                      <a:pt x="3138" y="1128"/>
                      <a:pt x="3139" y="1121"/>
                    </a:cubicBezTo>
                    <a:lnTo>
                      <a:pt x="3130" y="1144"/>
                    </a:lnTo>
                    <a:cubicBezTo>
                      <a:pt x="3115" y="1153"/>
                      <a:pt x="3105" y="1164"/>
                      <a:pt x="3095" y="1178"/>
                    </a:cubicBezTo>
                    <a:cubicBezTo>
                      <a:pt x="3085" y="1192"/>
                      <a:pt x="3074" y="1208"/>
                      <a:pt x="3057" y="1224"/>
                    </a:cubicBezTo>
                    <a:lnTo>
                      <a:pt x="3056" y="1219"/>
                    </a:lnTo>
                    <a:cubicBezTo>
                      <a:pt x="3048" y="1235"/>
                      <a:pt x="3040" y="1252"/>
                      <a:pt x="3021" y="1270"/>
                    </a:cubicBezTo>
                    <a:lnTo>
                      <a:pt x="3018" y="1260"/>
                    </a:lnTo>
                    <a:cubicBezTo>
                      <a:pt x="2992" y="1278"/>
                      <a:pt x="3015" y="1291"/>
                      <a:pt x="2986" y="1311"/>
                    </a:cubicBezTo>
                    <a:cubicBezTo>
                      <a:pt x="2989" y="1314"/>
                      <a:pt x="2996" y="1313"/>
                      <a:pt x="3002" y="1311"/>
                    </a:cubicBezTo>
                    <a:cubicBezTo>
                      <a:pt x="3009" y="1309"/>
                      <a:pt x="3016" y="1307"/>
                      <a:pt x="3020" y="1309"/>
                    </a:cubicBezTo>
                    <a:cubicBezTo>
                      <a:pt x="3008" y="1309"/>
                      <a:pt x="2979" y="1334"/>
                      <a:pt x="2990" y="1332"/>
                    </a:cubicBezTo>
                    <a:cubicBezTo>
                      <a:pt x="2967" y="1359"/>
                      <a:pt x="2972" y="1349"/>
                      <a:pt x="2969" y="1349"/>
                    </a:cubicBezTo>
                    <a:cubicBezTo>
                      <a:pt x="2965" y="1356"/>
                      <a:pt x="2961" y="1361"/>
                      <a:pt x="2957" y="1367"/>
                    </a:cubicBezTo>
                    <a:cubicBezTo>
                      <a:pt x="2938" y="1383"/>
                      <a:pt x="2943" y="1363"/>
                      <a:pt x="2946" y="1354"/>
                    </a:cubicBezTo>
                    <a:cubicBezTo>
                      <a:pt x="2941" y="1365"/>
                      <a:pt x="2932" y="1373"/>
                      <a:pt x="2922" y="1381"/>
                    </a:cubicBezTo>
                    <a:cubicBezTo>
                      <a:pt x="2912" y="1388"/>
                      <a:pt x="2901" y="1394"/>
                      <a:pt x="2890" y="1402"/>
                    </a:cubicBezTo>
                    <a:lnTo>
                      <a:pt x="2896" y="1392"/>
                    </a:lnTo>
                    <a:lnTo>
                      <a:pt x="2868" y="1412"/>
                    </a:lnTo>
                    <a:cubicBezTo>
                      <a:pt x="2861" y="1422"/>
                      <a:pt x="2851" y="1431"/>
                      <a:pt x="2840" y="1440"/>
                    </a:cubicBezTo>
                    <a:cubicBezTo>
                      <a:pt x="2834" y="1444"/>
                      <a:pt x="2828" y="1449"/>
                      <a:pt x="2822" y="1453"/>
                    </a:cubicBezTo>
                    <a:cubicBezTo>
                      <a:pt x="2816" y="1456"/>
                      <a:pt x="2809" y="1460"/>
                      <a:pt x="2803" y="1463"/>
                    </a:cubicBezTo>
                    <a:lnTo>
                      <a:pt x="2812" y="1442"/>
                    </a:lnTo>
                    <a:cubicBezTo>
                      <a:pt x="2792" y="1448"/>
                      <a:pt x="2806" y="1451"/>
                      <a:pt x="2803" y="1456"/>
                    </a:cubicBezTo>
                    <a:cubicBezTo>
                      <a:pt x="2779" y="1479"/>
                      <a:pt x="2769" y="1476"/>
                      <a:pt x="2751" y="1479"/>
                    </a:cubicBezTo>
                    <a:cubicBezTo>
                      <a:pt x="2733" y="1498"/>
                      <a:pt x="2708" y="1507"/>
                      <a:pt x="2684" y="1515"/>
                    </a:cubicBezTo>
                    <a:cubicBezTo>
                      <a:pt x="2673" y="1519"/>
                      <a:pt x="2661" y="1523"/>
                      <a:pt x="2651" y="1528"/>
                    </a:cubicBezTo>
                    <a:cubicBezTo>
                      <a:pt x="2640" y="1533"/>
                      <a:pt x="2631" y="1540"/>
                      <a:pt x="2623" y="1549"/>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3" name="Freeform 2609"/>
              <p:cNvSpPr>
                <a:spLocks/>
              </p:cNvSpPr>
              <p:nvPr/>
            </p:nvSpPr>
            <p:spPr bwMode="auto">
              <a:xfrm>
                <a:off x="2492376" y="4733925"/>
                <a:ext cx="4763" cy="0"/>
              </a:xfrm>
              <a:custGeom>
                <a:avLst/>
                <a:gdLst>
                  <a:gd name="T0" fmla="*/ 0 w 10"/>
                  <a:gd name="T1" fmla="*/ 1 h 1"/>
                  <a:gd name="T2" fmla="*/ 0 w 10"/>
                  <a:gd name="T3" fmla="*/ 1 h 1"/>
                  <a:gd name="T4" fmla="*/ 10 w 10"/>
                  <a:gd name="T5" fmla="*/ 0 h 1"/>
                  <a:gd name="T6" fmla="*/ 0 w 10"/>
                  <a:gd name="T7" fmla="*/ 1 h 1"/>
                </a:gdLst>
                <a:ahLst/>
                <a:cxnLst>
                  <a:cxn ang="0">
                    <a:pos x="T0" y="T1"/>
                  </a:cxn>
                  <a:cxn ang="0">
                    <a:pos x="T2" y="T3"/>
                  </a:cxn>
                  <a:cxn ang="0">
                    <a:pos x="T4" y="T5"/>
                  </a:cxn>
                  <a:cxn ang="0">
                    <a:pos x="T6" y="T7"/>
                  </a:cxn>
                </a:cxnLst>
                <a:rect l="0" t="0" r="r" b="b"/>
                <a:pathLst>
                  <a:path w="10" h="1">
                    <a:moveTo>
                      <a:pt x="0" y="1"/>
                    </a:moveTo>
                    <a:lnTo>
                      <a:pt x="0" y="1"/>
                    </a:lnTo>
                    <a:cubicBezTo>
                      <a:pt x="4" y="1"/>
                      <a:pt x="8" y="0"/>
                      <a:pt x="10" y="0"/>
                    </a:cubicBezTo>
                    <a:cubicBezTo>
                      <a:pt x="7" y="0"/>
                      <a:pt x="4" y="1"/>
                      <a:pt x="0"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4" name="Freeform 2610"/>
              <p:cNvSpPr>
                <a:spLocks/>
              </p:cNvSpPr>
              <p:nvPr/>
            </p:nvSpPr>
            <p:spPr bwMode="auto">
              <a:xfrm>
                <a:off x="2643188" y="4675188"/>
                <a:ext cx="11113" cy="1588"/>
              </a:xfrm>
              <a:custGeom>
                <a:avLst/>
                <a:gdLst>
                  <a:gd name="T0" fmla="*/ 21 w 22"/>
                  <a:gd name="T1" fmla="*/ 1 h 4"/>
                  <a:gd name="T2" fmla="*/ 21 w 22"/>
                  <a:gd name="T3" fmla="*/ 1 h 4"/>
                  <a:gd name="T4" fmla="*/ 0 w 22"/>
                  <a:gd name="T5" fmla="*/ 3 h 4"/>
                  <a:gd name="T6" fmla="*/ 21 w 22"/>
                  <a:gd name="T7" fmla="*/ 1 h 4"/>
                </a:gdLst>
                <a:ahLst/>
                <a:cxnLst>
                  <a:cxn ang="0">
                    <a:pos x="T0" y="T1"/>
                  </a:cxn>
                  <a:cxn ang="0">
                    <a:pos x="T2" y="T3"/>
                  </a:cxn>
                  <a:cxn ang="0">
                    <a:pos x="T4" y="T5"/>
                  </a:cxn>
                  <a:cxn ang="0">
                    <a:pos x="T6" y="T7"/>
                  </a:cxn>
                </a:cxnLst>
                <a:rect l="0" t="0" r="r" b="b"/>
                <a:pathLst>
                  <a:path w="22" h="4">
                    <a:moveTo>
                      <a:pt x="21" y="1"/>
                    </a:moveTo>
                    <a:lnTo>
                      <a:pt x="21" y="1"/>
                    </a:lnTo>
                    <a:cubicBezTo>
                      <a:pt x="22" y="0"/>
                      <a:pt x="12" y="1"/>
                      <a:pt x="0" y="3"/>
                    </a:cubicBezTo>
                    <a:cubicBezTo>
                      <a:pt x="3" y="4"/>
                      <a:pt x="9" y="4"/>
                      <a:pt x="21"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5" name="Freeform 2611"/>
              <p:cNvSpPr>
                <a:spLocks/>
              </p:cNvSpPr>
              <p:nvPr/>
            </p:nvSpPr>
            <p:spPr bwMode="auto">
              <a:xfrm>
                <a:off x="2160588" y="3954463"/>
                <a:ext cx="39688" cy="14288"/>
              </a:xfrm>
              <a:custGeom>
                <a:avLst/>
                <a:gdLst>
                  <a:gd name="T0" fmla="*/ 35 w 86"/>
                  <a:gd name="T1" fmla="*/ 25 h 29"/>
                  <a:gd name="T2" fmla="*/ 35 w 86"/>
                  <a:gd name="T3" fmla="*/ 25 h 29"/>
                  <a:gd name="T4" fmla="*/ 25 w 86"/>
                  <a:gd name="T5" fmla="*/ 28 h 29"/>
                  <a:gd name="T6" fmla="*/ 46 w 86"/>
                  <a:gd name="T7" fmla="*/ 29 h 29"/>
                  <a:gd name="T8" fmla="*/ 86 w 86"/>
                  <a:gd name="T9" fmla="*/ 0 h 29"/>
                  <a:gd name="T10" fmla="*/ 0 w 86"/>
                  <a:gd name="T11" fmla="*/ 24 h 29"/>
                  <a:gd name="T12" fmla="*/ 35 w 86"/>
                  <a:gd name="T13" fmla="*/ 25 h 29"/>
                </a:gdLst>
                <a:ahLst/>
                <a:cxnLst>
                  <a:cxn ang="0">
                    <a:pos x="T0" y="T1"/>
                  </a:cxn>
                  <a:cxn ang="0">
                    <a:pos x="T2" y="T3"/>
                  </a:cxn>
                  <a:cxn ang="0">
                    <a:pos x="T4" y="T5"/>
                  </a:cxn>
                  <a:cxn ang="0">
                    <a:pos x="T6" y="T7"/>
                  </a:cxn>
                  <a:cxn ang="0">
                    <a:pos x="T8" y="T9"/>
                  </a:cxn>
                  <a:cxn ang="0">
                    <a:pos x="T10" y="T11"/>
                  </a:cxn>
                  <a:cxn ang="0">
                    <a:pos x="T12" y="T13"/>
                  </a:cxn>
                </a:cxnLst>
                <a:rect l="0" t="0" r="r" b="b"/>
                <a:pathLst>
                  <a:path w="86" h="29">
                    <a:moveTo>
                      <a:pt x="35" y="25"/>
                    </a:moveTo>
                    <a:lnTo>
                      <a:pt x="35" y="25"/>
                    </a:lnTo>
                    <a:lnTo>
                      <a:pt x="25" y="28"/>
                    </a:lnTo>
                    <a:lnTo>
                      <a:pt x="46" y="29"/>
                    </a:lnTo>
                    <a:cubicBezTo>
                      <a:pt x="79" y="17"/>
                      <a:pt x="79" y="10"/>
                      <a:pt x="86" y="0"/>
                    </a:cubicBezTo>
                    <a:cubicBezTo>
                      <a:pt x="57" y="14"/>
                      <a:pt x="38" y="14"/>
                      <a:pt x="0" y="24"/>
                    </a:cubicBezTo>
                    <a:lnTo>
                      <a:pt x="35" y="25"/>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6" name="Freeform 2612"/>
              <p:cNvSpPr>
                <a:spLocks/>
              </p:cNvSpPr>
              <p:nvPr/>
            </p:nvSpPr>
            <p:spPr bwMode="auto">
              <a:xfrm>
                <a:off x="2152651" y="3940175"/>
                <a:ext cx="11113" cy="3175"/>
              </a:xfrm>
              <a:custGeom>
                <a:avLst/>
                <a:gdLst>
                  <a:gd name="T0" fmla="*/ 23 w 23"/>
                  <a:gd name="T1" fmla="*/ 5 h 6"/>
                  <a:gd name="T2" fmla="*/ 23 w 23"/>
                  <a:gd name="T3" fmla="*/ 5 h 6"/>
                  <a:gd name="T4" fmla="*/ 4 w 23"/>
                  <a:gd name="T5" fmla="*/ 0 h 6"/>
                  <a:gd name="T6" fmla="*/ 0 w 23"/>
                  <a:gd name="T7" fmla="*/ 6 h 6"/>
                  <a:gd name="T8" fmla="*/ 23 w 23"/>
                  <a:gd name="T9" fmla="*/ 5 h 6"/>
                </a:gdLst>
                <a:ahLst/>
                <a:cxnLst>
                  <a:cxn ang="0">
                    <a:pos x="T0" y="T1"/>
                  </a:cxn>
                  <a:cxn ang="0">
                    <a:pos x="T2" y="T3"/>
                  </a:cxn>
                  <a:cxn ang="0">
                    <a:pos x="T4" y="T5"/>
                  </a:cxn>
                  <a:cxn ang="0">
                    <a:pos x="T6" y="T7"/>
                  </a:cxn>
                  <a:cxn ang="0">
                    <a:pos x="T8" y="T9"/>
                  </a:cxn>
                </a:cxnLst>
                <a:rect l="0" t="0" r="r" b="b"/>
                <a:pathLst>
                  <a:path w="23" h="6">
                    <a:moveTo>
                      <a:pt x="23" y="5"/>
                    </a:moveTo>
                    <a:lnTo>
                      <a:pt x="23" y="5"/>
                    </a:lnTo>
                    <a:cubicBezTo>
                      <a:pt x="19" y="3"/>
                      <a:pt x="10" y="0"/>
                      <a:pt x="4" y="0"/>
                    </a:cubicBezTo>
                    <a:lnTo>
                      <a:pt x="0" y="6"/>
                    </a:lnTo>
                    <a:lnTo>
                      <a:pt x="23" y="5"/>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7" name="Freeform 2613"/>
              <p:cNvSpPr>
                <a:spLocks/>
              </p:cNvSpPr>
              <p:nvPr/>
            </p:nvSpPr>
            <p:spPr bwMode="auto">
              <a:xfrm>
                <a:off x="1976438" y="3973513"/>
                <a:ext cx="20638" cy="4763"/>
              </a:xfrm>
              <a:custGeom>
                <a:avLst/>
                <a:gdLst>
                  <a:gd name="T0" fmla="*/ 0 w 42"/>
                  <a:gd name="T1" fmla="*/ 13 h 13"/>
                  <a:gd name="T2" fmla="*/ 0 w 42"/>
                  <a:gd name="T3" fmla="*/ 13 h 13"/>
                  <a:gd name="T4" fmla="*/ 33 w 42"/>
                  <a:gd name="T5" fmla="*/ 7 h 13"/>
                  <a:gd name="T6" fmla="*/ 0 w 42"/>
                  <a:gd name="T7" fmla="*/ 13 h 13"/>
                </a:gdLst>
                <a:ahLst/>
                <a:cxnLst>
                  <a:cxn ang="0">
                    <a:pos x="T0" y="T1"/>
                  </a:cxn>
                  <a:cxn ang="0">
                    <a:pos x="T2" y="T3"/>
                  </a:cxn>
                  <a:cxn ang="0">
                    <a:pos x="T4" y="T5"/>
                  </a:cxn>
                  <a:cxn ang="0">
                    <a:pos x="T6" y="T7"/>
                  </a:cxn>
                </a:cxnLst>
                <a:rect l="0" t="0" r="r" b="b"/>
                <a:pathLst>
                  <a:path w="42" h="13">
                    <a:moveTo>
                      <a:pt x="0" y="13"/>
                    </a:moveTo>
                    <a:lnTo>
                      <a:pt x="0" y="13"/>
                    </a:lnTo>
                    <a:lnTo>
                      <a:pt x="33" y="7"/>
                    </a:lnTo>
                    <a:cubicBezTo>
                      <a:pt x="42" y="0"/>
                      <a:pt x="3" y="4"/>
                      <a:pt x="0" y="13"/>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8" name="Freeform 2614"/>
              <p:cNvSpPr>
                <a:spLocks/>
              </p:cNvSpPr>
              <p:nvPr/>
            </p:nvSpPr>
            <p:spPr bwMode="auto">
              <a:xfrm>
                <a:off x="2043113" y="3994150"/>
                <a:ext cx="15875" cy="6350"/>
              </a:xfrm>
              <a:custGeom>
                <a:avLst/>
                <a:gdLst>
                  <a:gd name="T0" fmla="*/ 22 w 37"/>
                  <a:gd name="T1" fmla="*/ 10 h 15"/>
                  <a:gd name="T2" fmla="*/ 22 w 37"/>
                  <a:gd name="T3" fmla="*/ 10 h 15"/>
                  <a:gd name="T4" fmla="*/ 37 w 37"/>
                  <a:gd name="T5" fmla="*/ 1 h 15"/>
                  <a:gd name="T6" fmla="*/ 0 w 37"/>
                  <a:gd name="T7" fmla="*/ 13 h 15"/>
                  <a:gd name="T8" fmla="*/ 22 w 37"/>
                  <a:gd name="T9" fmla="*/ 10 h 15"/>
                </a:gdLst>
                <a:ahLst/>
                <a:cxnLst>
                  <a:cxn ang="0">
                    <a:pos x="T0" y="T1"/>
                  </a:cxn>
                  <a:cxn ang="0">
                    <a:pos x="T2" y="T3"/>
                  </a:cxn>
                  <a:cxn ang="0">
                    <a:pos x="T4" y="T5"/>
                  </a:cxn>
                  <a:cxn ang="0">
                    <a:pos x="T6" y="T7"/>
                  </a:cxn>
                  <a:cxn ang="0">
                    <a:pos x="T8" y="T9"/>
                  </a:cxn>
                </a:cxnLst>
                <a:rect l="0" t="0" r="r" b="b"/>
                <a:pathLst>
                  <a:path w="37" h="15">
                    <a:moveTo>
                      <a:pt x="22" y="10"/>
                    </a:moveTo>
                    <a:lnTo>
                      <a:pt x="22" y="10"/>
                    </a:lnTo>
                    <a:lnTo>
                      <a:pt x="37" y="1"/>
                    </a:lnTo>
                    <a:cubicBezTo>
                      <a:pt x="21" y="0"/>
                      <a:pt x="1" y="6"/>
                      <a:pt x="0" y="13"/>
                    </a:cubicBezTo>
                    <a:cubicBezTo>
                      <a:pt x="19" y="4"/>
                      <a:pt x="5" y="15"/>
                      <a:pt x="22" y="1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39" name="Freeform 2615"/>
              <p:cNvSpPr>
                <a:spLocks/>
              </p:cNvSpPr>
              <p:nvPr/>
            </p:nvSpPr>
            <p:spPr bwMode="auto">
              <a:xfrm>
                <a:off x="1920876" y="3990975"/>
                <a:ext cx="17463" cy="9525"/>
              </a:xfrm>
              <a:custGeom>
                <a:avLst/>
                <a:gdLst>
                  <a:gd name="T0" fmla="*/ 36 w 38"/>
                  <a:gd name="T1" fmla="*/ 0 h 20"/>
                  <a:gd name="T2" fmla="*/ 36 w 38"/>
                  <a:gd name="T3" fmla="*/ 0 h 20"/>
                  <a:gd name="T4" fmla="*/ 0 w 38"/>
                  <a:gd name="T5" fmla="*/ 20 h 20"/>
                  <a:gd name="T6" fmla="*/ 36 w 38"/>
                  <a:gd name="T7" fmla="*/ 0 h 20"/>
                </a:gdLst>
                <a:ahLst/>
                <a:cxnLst>
                  <a:cxn ang="0">
                    <a:pos x="T0" y="T1"/>
                  </a:cxn>
                  <a:cxn ang="0">
                    <a:pos x="T2" y="T3"/>
                  </a:cxn>
                  <a:cxn ang="0">
                    <a:pos x="T4" y="T5"/>
                  </a:cxn>
                  <a:cxn ang="0">
                    <a:pos x="T6" y="T7"/>
                  </a:cxn>
                </a:cxnLst>
                <a:rect l="0" t="0" r="r" b="b"/>
                <a:pathLst>
                  <a:path w="38" h="20">
                    <a:moveTo>
                      <a:pt x="36" y="0"/>
                    </a:moveTo>
                    <a:lnTo>
                      <a:pt x="36" y="0"/>
                    </a:lnTo>
                    <a:cubicBezTo>
                      <a:pt x="30" y="13"/>
                      <a:pt x="3" y="9"/>
                      <a:pt x="0" y="20"/>
                    </a:cubicBezTo>
                    <a:cubicBezTo>
                      <a:pt x="7" y="14"/>
                      <a:pt x="38" y="10"/>
                      <a:pt x="36"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0" name="Freeform 2616"/>
              <p:cNvSpPr>
                <a:spLocks/>
              </p:cNvSpPr>
              <p:nvPr/>
            </p:nvSpPr>
            <p:spPr bwMode="auto">
              <a:xfrm>
                <a:off x="1962151" y="4022725"/>
                <a:ext cx="20638" cy="7938"/>
              </a:xfrm>
              <a:custGeom>
                <a:avLst/>
                <a:gdLst>
                  <a:gd name="T0" fmla="*/ 0 w 46"/>
                  <a:gd name="T1" fmla="*/ 12 h 17"/>
                  <a:gd name="T2" fmla="*/ 0 w 46"/>
                  <a:gd name="T3" fmla="*/ 12 h 17"/>
                  <a:gd name="T4" fmla="*/ 46 w 46"/>
                  <a:gd name="T5" fmla="*/ 0 h 17"/>
                  <a:gd name="T6" fmla="*/ 0 w 46"/>
                  <a:gd name="T7" fmla="*/ 12 h 17"/>
                </a:gdLst>
                <a:ahLst/>
                <a:cxnLst>
                  <a:cxn ang="0">
                    <a:pos x="T0" y="T1"/>
                  </a:cxn>
                  <a:cxn ang="0">
                    <a:pos x="T2" y="T3"/>
                  </a:cxn>
                  <a:cxn ang="0">
                    <a:pos x="T4" y="T5"/>
                  </a:cxn>
                  <a:cxn ang="0">
                    <a:pos x="T6" y="T7"/>
                  </a:cxn>
                </a:cxnLst>
                <a:rect l="0" t="0" r="r" b="b"/>
                <a:pathLst>
                  <a:path w="46" h="17">
                    <a:moveTo>
                      <a:pt x="0" y="12"/>
                    </a:moveTo>
                    <a:lnTo>
                      <a:pt x="0" y="12"/>
                    </a:lnTo>
                    <a:cubicBezTo>
                      <a:pt x="13" y="17"/>
                      <a:pt x="26" y="4"/>
                      <a:pt x="46" y="0"/>
                    </a:cubicBezTo>
                    <a:cubicBezTo>
                      <a:pt x="30" y="5"/>
                      <a:pt x="5" y="4"/>
                      <a:pt x="0" y="12"/>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1" name="Freeform 2617"/>
              <p:cNvSpPr>
                <a:spLocks/>
              </p:cNvSpPr>
              <p:nvPr/>
            </p:nvSpPr>
            <p:spPr bwMode="auto">
              <a:xfrm>
                <a:off x="1857376" y="4021138"/>
                <a:ext cx="34925" cy="17463"/>
              </a:xfrm>
              <a:custGeom>
                <a:avLst/>
                <a:gdLst>
                  <a:gd name="T0" fmla="*/ 20 w 75"/>
                  <a:gd name="T1" fmla="*/ 33 h 36"/>
                  <a:gd name="T2" fmla="*/ 20 w 75"/>
                  <a:gd name="T3" fmla="*/ 33 h 36"/>
                  <a:gd name="T4" fmla="*/ 46 w 75"/>
                  <a:gd name="T5" fmla="*/ 15 h 36"/>
                  <a:gd name="T6" fmla="*/ 35 w 75"/>
                  <a:gd name="T7" fmla="*/ 28 h 36"/>
                  <a:gd name="T8" fmla="*/ 75 w 75"/>
                  <a:gd name="T9" fmla="*/ 0 h 36"/>
                  <a:gd name="T10" fmla="*/ 24 w 75"/>
                  <a:gd name="T11" fmla="*/ 6 h 36"/>
                  <a:gd name="T12" fmla="*/ 20 w 75"/>
                  <a:gd name="T13" fmla="*/ 33 h 36"/>
                </a:gdLst>
                <a:ahLst/>
                <a:cxnLst>
                  <a:cxn ang="0">
                    <a:pos x="T0" y="T1"/>
                  </a:cxn>
                  <a:cxn ang="0">
                    <a:pos x="T2" y="T3"/>
                  </a:cxn>
                  <a:cxn ang="0">
                    <a:pos x="T4" y="T5"/>
                  </a:cxn>
                  <a:cxn ang="0">
                    <a:pos x="T6" y="T7"/>
                  </a:cxn>
                  <a:cxn ang="0">
                    <a:pos x="T8" y="T9"/>
                  </a:cxn>
                  <a:cxn ang="0">
                    <a:pos x="T10" y="T11"/>
                  </a:cxn>
                  <a:cxn ang="0">
                    <a:pos x="T12" y="T13"/>
                  </a:cxn>
                </a:cxnLst>
                <a:rect l="0" t="0" r="r" b="b"/>
                <a:pathLst>
                  <a:path w="75" h="36">
                    <a:moveTo>
                      <a:pt x="20" y="33"/>
                    </a:moveTo>
                    <a:lnTo>
                      <a:pt x="20" y="33"/>
                    </a:lnTo>
                    <a:cubicBezTo>
                      <a:pt x="18" y="26"/>
                      <a:pt x="31" y="21"/>
                      <a:pt x="46" y="15"/>
                    </a:cubicBezTo>
                    <a:cubicBezTo>
                      <a:pt x="42" y="20"/>
                      <a:pt x="40" y="24"/>
                      <a:pt x="35" y="28"/>
                    </a:cubicBezTo>
                    <a:cubicBezTo>
                      <a:pt x="56" y="12"/>
                      <a:pt x="58" y="12"/>
                      <a:pt x="75" y="0"/>
                    </a:cubicBezTo>
                    <a:cubicBezTo>
                      <a:pt x="54" y="5"/>
                      <a:pt x="24" y="15"/>
                      <a:pt x="24" y="6"/>
                    </a:cubicBezTo>
                    <a:cubicBezTo>
                      <a:pt x="13" y="19"/>
                      <a:pt x="0" y="36"/>
                      <a:pt x="20" y="33"/>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2" name="Freeform 2618"/>
              <p:cNvSpPr>
                <a:spLocks/>
              </p:cNvSpPr>
              <p:nvPr/>
            </p:nvSpPr>
            <p:spPr bwMode="auto">
              <a:xfrm>
                <a:off x="1938338" y="4029075"/>
                <a:ext cx="25400" cy="7938"/>
              </a:xfrm>
              <a:custGeom>
                <a:avLst/>
                <a:gdLst>
                  <a:gd name="T0" fmla="*/ 7 w 53"/>
                  <a:gd name="T1" fmla="*/ 17 h 17"/>
                  <a:gd name="T2" fmla="*/ 7 w 53"/>
                  <a:gd name="T3" fmla="*/ 17 h 17"/>
                  <a:gd name="T4" fmla="*/ 53 w 53"/>
                  <a:gd name="T5" fmla="*/ 9 h 17"/>
                  <a:gd name="T6" fmla="*/ 18 w 53"/>
                  <a:gd name="T7" fmla="*/ 10 h 17"/>
                  <a:gd name="T8" fmla="*/ 23 w 53"/>
                  <a:gd name="T9" fmla="*/ 0 h 17"/>
                  <a:gd name="T10" fmla="*/ 7 w 53"/>
                  <a:gd name="T11" fmla="*/ 17 h 17"/>
                </a:gdLst>
                <a:ahLst/>
                <a:cxnLst>
                  <a:cxn ang="0">
                    <a:pos x="T0" y="T1"/>
                  </a:cxn>
                  <a:cxn ang="0">
                    <a:pos x="T2" y="T3"/>
                  </a:cxn>
                  <a:cxn ang="0">
                    <a:pos x="T4" y="T5"/>
                  </a:cxn>
                  <a:cxn ang="0">
                    <a:pos x="T6" y="T7"/>
                  </a:cxn>
                  <a:cxn ang="0">
                    <a:pos x="T8" y="T9"/>
                  </a:cxn>
                  <a:cxn ang="0">
                    <a:pos x="T10" y="T11"/>
                  </a:cxn>
                </a:cxnLst>
                <a:rect l="0" t="0" r="r" b="b"/>
                <a:pathLst>
                  <a:path w="53" h="17">
                    <a:moveTo>
                      <a:pt x="7" y="17"/>
                    </a:moveTo>
                    <a:lnTo>
                      <a:pt x="7" y="17"/>
                    </a:lnTo>
                    <a:cubicBezTo>
                      <a:pt x="23" y="13"/>
                      <a:pt x="35" y="16"/>
                      <a:pt x="53" y="9"/>
                    </a:cubicBezTo>
                    <a:cubicBezTo>
                      <a:pt x="48" y="5"/>
                      <a:pt x="40" y="1"/>
                      <a:pt x="18" y="10"/>
                    </a:cubicBezTo>
                    <a:lnTo>
                      <a:pt x="23" y="0"/>
                    </a:lnTo>
                    <a:cubicBezTo>
                      <a:pt x="0" y="2"/>
                      <a:pt x="35" y="6"/>
                      <a:pt x="7" y="17"/>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3" name="Freeform 2619"/>
              <p:cNvSpPr>
                <a:spLocks/>
              </p:cNvSpPr>
              <p:nvPr/>
            </p:nvSpPr>
            <p:spPr bwMode="auto">
              <a:xfrm>
                <a:off x="1824038" y="4027488"/>
                <a:ext cx="30163" cy="22225"/>
              </a:xfrm>
              <a:custGeom>
                <a:avLst/>
                <a:gdLst>
                  <a:gd name="T0" fmla="*/ 0 w 67"/>
                  <a:gd name="T1" fmla="*/ 45 h 45"/>
                  <a:gd name="T2" fmla="*/ 0 w 67"/>
                  <a:gd name="T3" fmla="*/ 45 h 45"/>
                  <a:gd name="T4" fmla="*/ 11 w 67"/>
                  <a:gd name="T5" fmla="*/ 44 h 45"/>
                  <a:gd name="T6" fmla="*/ 67 w 67"/>
                  <a:gd name="T7" fmla="*/ 0 h 45"/>
                  <a:gd name="T8" fmla="*/ 0 w 67"/>
                  <a:gd name="T9" fmla="*/ 45 h 45"/>
                </a:gdLst>
                <a:ahLst/>
                <a:cxnLst>
                  <a:cxn ang="0">
                    <a:pos x="T0" y="T1"/>
                  </a:cxn>
                  <a:cxn ang="0">
                    <a:pos x="T2" y="T3"/>
                  </a:cxn>
                  <a:cxn ang="0">
                    <a:pos x="T4" y="T5"/>
                  </a:cxn>
                  <a:cxn ang="0">
                    <a:pos x="T6" y="T7"/>
                  </a:cxn>
                  <a:cxn ang="0">
                    <a:pos x="T8" y="T9"/>
                  </a:cxn>
                </a:cxnLst>
                <a:rect l="0" t="0" r="r" b="b"/>
                <a:pathLst>
                  <a:path w="67" h="45">
                    <a:moveTo>
                      <a:pt x="0" y="45"/>
                    </a:moveTo>
                    <a:lnTo>
                      <a:pt x="0" y="45"/>
                    </a:lnTo>
                    <a:lnTo>
                      <a:pt x="11" y="44"/>
                    </a:lnTo>
                    <a:cubicBezTo>
                      <a:pt x="29" y="26"/>
                      <a:pt x="59" y="15"/>
                      <a:pt x="67" y="0"/>
                    </a:cubicBezTo>
                    <a:cubicBezTo>
                      <a:pt x="40" y="13"/>
                      <a:pt x="10" y="34"/>
                      <a:pt x="0" y="45"/>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4" name="Freeform 2620"/>
              <p:cNvSpPr>
                <a:spLocks/>
              </p:cNvSpPr>
              <p:nvPr/>
            </p:nvSpPr>
            <p:spPr bwMode="auto">
              <a:xfrm>
                <a:off x="1903413" y="4040188"/>
                <a:ext cx="12700" cy="11113"/>
              </a:xfrm>
              <a:custGeom>
                <a:avLst/>
                <a:gdLst>
                  <a:gd name="T0" fmla="*/ 1 w 27"/>
                  <a:gd name="T1" fmla="*/ 13 h 24"/>
                  <a:gd name="T2" fmla="*/ 1 w 27"/>
                  <a:gd name="T3" fmla="*/ 13 h 24"/>
                  <a:gd name="T4" fmla="*/ 3 w 27"/>
                  <a:gd name="T5" fmla="*/ 24 h 24"/>
                  <a:gd name="T6" fmla="*/ 7 w 27"/>
                  <a:gd name="T7" fmla="*/ 16 h 24"/>
                  <a:gd name="T8" fmla="*/ 27 w 27"/>
                  <a:gd name="T9" fmla="*/ 7 h 24"/>
                  <a:gd name="T10" fmla="*/ 1 w 27"/>
                  <a:gd name="T11" fmla="*/ 13 h 24"/>
                </a:gdLst>
                <a:ahLst/>
                <a:cxnLst>
                  <a:cxn ang="0">
                    <a:pos x="T0" y="T1"/>
                  </a:cxn>
                  <a:cxn ang="0">
                    <a:pos x="T2" y="T3"/>
                  </a:cxn>
                  <a:cxn ang="0">
                    <a:pos x="T4" y="T5"/>
                  </a:cxn>
                  <a:cxn ang="0">
                    <a:pos x="T6" y="T7"/>
                  </a:cxn>
                  <a:cxn ang="0">
                    <a:pos x="T8" y="T9"/>
                  </a:cxn>
                  <a:cxn ang="0">
                    <a:pos x="T10" y="T11"/>
                  </a:cxn>
                </a:cxnLst>
                <a:rect l="0" t="0" r="r" b="b"/>
                <a:pathLst>
                  <a:path w="27" h="24">
                    <a:moveTo>
                      <a:pt x="1" y="13"/>
                    </a:moveTo>
                    <a:lnTo>
                      <a:pt x="1" y="13"/>
                    </a:lnTo>
                    <a:lnTo>
                      <a:pt x="3" y="24"/>
                    </a:lnTo>
                    <a:cubicBezTo>
                      <a:pt x="25" y="16"/>
                      <a:pt x="0" y="22"/>
                      <a:pt x="7" y="16"/>
                    </a:cubicBezTo>
                    <a:cubicBezTo>
                      <a:pt x="14" y="14"/>
                      <a:pt x="23" y="11"/>
                      <a:pt x="27" y="7"/>
                    </a:cubicBezTo>
                    <a:cubicBezTo>
                      <a:pt x="3" y="20"/>
                      <a:pt x="22" y="0"/>
                      <a:pt x="1" y="13"/>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5" name="Freeform 2621"/>
              <p:cNvSpPr>
                <a:spLocks/>
              </p:cNvSpPr>
              <p:nvPr/>
            </p:nvSpPr>
            <p:spPr bwMode="auto">
              <a:xfrm>
                <a:off x="1862138" y="4065588"/>
                <a:ext cx="26988" cy="9525"/>
              </a:xfrm>
              <a:custGeom>
                <a:avLst/>
                <a:gdLst>
                  <a:gd name="T0" fmla="*/ 25 w 56"/>
                  <a:gd name="T1" fmla="*/ 1 h 20"/>
                  <a:gd name="T2" fmla="*/ 25 w 56"/>
                  <a:gd name="T3" fmla="*/ 1 h 20"/>
                  <a:gd name="T4" fmla="*/ 0 w 56"/>
                  <a:gd name="T5" fmla="*/ 19 h 20"/>
                  <a:gd name="T6" fmla="*/ 27 w 56"/>
                  <a:gd name="T7" fmla="*/ 20 h 20"/>
                  <a:gd name="T8" fmla="*/ 25 w 56"/>
                  <a:gd name="T9" fmla="*/ 1 h 20"/>
                </a:gdLst>
                <a:ahLst/>
                <a:cxnLst>
                  <a:cxn ang="0">
                    <a:pos x="T0" y="T1"/>
                  </a:cxn>
                  <a:cxn ang="0">
                    <a:pos x="T2" y="T3"/>
                  </a:cxn>
                  <a:cxn ang="0">
                    <a:pos x="T4" y="T5"/>
                  </a:cxn>
                  <a:cxn ang="0">
                    <a:pos x="T6" y="T7"/>
                  </a:cxn>
                  <a:cxn ang="0">
                    <a:pos x="T8" y="T9"/>
                  </a:cxn>
                </a:cxnLst>
                <a:rect l="0" t="0" r="r" b="b"/>
                <a:pathLst>
                  <a:path w="56" h="20">
                    <a:moveTo>
                      <a:pt x="25" y="1"/>
                    </a:moveTo>
                    <a:lnTo>
                      <a:pt x="25" y="1"/>
                    </a:lnTo>
                    <a:lnTo>
                      <a:pt x="0" y="19"/>
                    </a:lnTo>
                    <a:lnTo>
                      <a:pt x="27" y="20"/>
                    </a:lnTo>
                    <a:cubicBezTo>
                      <a:pt x="56" y="0"/>
                      <a:pt x="25" y="13"/>
                      <a:pt x="25"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6" name="Freeform 2622"/>
              <p:cNvSpPr>
                <a:spLocks/>
              </p:cNvSpPr>
              <p:nvPr/>
            </p:nvSpPr>
            <p:spPr bwMode="auto">
              <a:xfrm>
                <a:off x="1839913" y="4070350"/>
                <a:ext cx="17463" cy="17463"/>
              </a:xfrm>
              <a:custGeom>
                <a:avLst/>
                <a:gdLst>
                  <a:gd name="T0" fmla="*/ 36 w 36"/>
                  <a:gd name="T1" fmla="*/ 1 h 36"/>
                  <a:gd name="T2" fmla="*/ 36 w 36"/>
                  <a:gd name="T3" fmla="*/ 1 h 36"/>
                  <a:gd name="T4" fmla="*/ 32 w 36"/>
                  <a:gd name="T5" fmla="*/ 0 h 36"/>
                  <a:gd name="T6" fmla="*/ 0 w 36"/>
                  <a:gd name="T7" fmla="*/ 36 h 36"/>
                  <a:gd name="T8" fmla="*/ 36 w 36"/>
                  <a:gd name="T9" fmla="*/ 1 h 36"/>
                </a:gdLst>
                <a:ahLst/>
                <a:cxnLst>
                  <a:cxn ang="0">
                    <a:pos x="T0" y="T1"/>
                  </a:cxn>
                  <a:cxn ang="0">
                    <a:pos x="T2" y="T3"/>
                  </a:cxn>
                  <a:cxn ang="0">
                    <a:pos x="T4" y="T5"/>
                  </a:cxn>
                  <a:cxn ang="0">
                    <a:pos x="T6" y="T7"/>
                  </a:cxn>
                  <a:cxn ang="0">
                    <a:pos x="T8" y="T9"/>
                  </a:cxn>
                </a:cxnLst>
                <a:rect l="0" t="0" r="r" b="b"/>
                <a:pathLst>
                  <a:path w="36" h="36">
                    <a:moveTo>
                      <a:pt x="36" y="1"/>
                    </a:moveTo>
                    <a:lnTo>
                      <a:pt x="36" y="1"/>
                    </a:lnTo>
                    <a:lnTo>
                      <a:pt x="32" y="0"/>
                    </a:lnTo>
                    <a:cubicBezTo>
                      <a:pt x="21" y="12"/>
                      <a:pt x="10" y="24"/>
                      <a:pt x="0" y="36"/>
                    </a:cubicBezTo>
                    <a:cubicBezTo>
                      <a:pt x="20" y="17"/>
                      <a:pt x="22" y="18"/>
                      <a:pt x="36"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7" name="Freeform 2623"/>
              <p:cNvSpPr>
                <a:spLocks/>
              </p:cNvSpPr>
              <p:nvPr/>
            </p:nvSpPr>
            <p:spPr bwMode="auto">
              <a:xfrm>
                <a:off x="1617663" y="4187825"/>
                <a:ext cx="19050" cy="11113"/>
              </a:xfrm>
              <a:custGeom>
                <a:avLst/>
                <a:gdLst>
                  <a:gd name="T0" fmla="*/ 18 w 42"/>
                  <a:gd name="T1" fmla="*/ 11 h 23"/>
                  <a:gd name="T2" fmla="*/ 18 w 42"/>
                  <a:gd name="T3" fmla="*/ 11 h 23"/>
                  <a:gd name="T4" fmla="*/ 30 w 42"/>
                  <a:gd name="T5" fmla="*/ 7 h 23"/>
                  <a:gd name="T6" fmla="*/ 18 w 42"/>
                  <a:gd name="T7" fmla="*/ 11 h 23"/>
                </a:gdLst>
                <a:ahLst/>
                <a:cxnLst>
                  <a:cxn ang="0">
                    <a:pos x="T0" y="T1"/>
                  </a:cxn>
                  <a:cxn ang="0">
                    <a:pos x="T2" y="T3"/>
                  </a:cxn>
                  <a:cxn ang="0">
                    <a:pos x="T4" y="T5"/>
                  </a:cxn>
                  <a:cxn ang="0">
                    <a:pos x="T6" y="T7"/>
                  </a:cxn>
                </a:cxnLst>
                <a:rect l="0" t="0" r="r" b="b"/>
                <a:pathLst>
                  <a:path w="42" h="23">
                    <a:moveTo>
                      <a:pt x="18" y="11"/>
                    </a:moveTo>
                    <a:lnTo>
                      <a:pt x="18" y="11"/>
                    </a:lnTo>
                    <a:cubicBezTo>
                      <a:pt x="18" y="18"/>
                      <a:pt x="42" y="2"/>
                      <a:pt x="30" y="7"/>
                    </a:cubicBezTo>
                    <a:cubicBezTo>
                      <a:pt x="30" y="0"/>
                      <a:pt x="0" y="23"/>
                      <a:pt x="18" y="1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8" name="Freeform 2624"/>
              <p:cNvSpPr>
                <a:spLocks/>
              </p:cNvSpPr>
              <p:nvPr/>
            </p:nvSpPr>
            <p:spPr bwMode="auto">
              <a:xfrm>
                <a:off x="1670051" y="4189413"/>
                <a:ext cx="23813" cy="23813"/>
              </a:xfrm>
              <a:custGeom>
                <a:avLst/>
                <a:gdLst>
                  <a:gd name="T0" fmla="*/ 49 w 52"/>
                  <a:gd name="T1" fmla="*/ 0 h 53"/>
                  <a:gd name="T2" fmla="*/ 49 w 52"/>
                  <a:gd name="T3" fmla="*/ 0 h 53"/>
                  <a:gd name="T4" fmla="*/ 0 w 52"/>
                  <a:gd name="T5" fmla="*/ 53 h 53"/>
                  <a:gd name="T6" fmla="*/ 32 w 52"/>
                  <a:gd name="T7" fmla="*/ 21 h 53"/>
                  <a:gd name="T8" fmla="*/ 49 w 52"/>
                  <a:gd name="T9" fmla="*/ 0 h 53"/>
                </a:gdLst>
                <a:ahLst/>
                <a:cxnLst>
                  <a:cxn ang="0">
                    <a:pos x="T0" y="T1"/>
                  </a:cxn>
                  <a:cxn ang="0">
                    <a:pos x="T2" y="T3"/>
                  </a:cxn>
                  <a:cxn ang="0">
                    <a:pos x="T4" y="T5"/>
                  </a:cxn>
                  <a:cxn ang="0">
                    <a:pos x="T6" y="T7"/>
                  </a:cxn>
                  <a:cxn ang="0">
                    <a:pos x="T8" y="T9"/>
                  </a:cxn>
                </a:cxnLst>
                <a:rect l="0" t="0" r="r" b="b"/>
                <a:pathLst>
                  <a:path w="52" h="53">
                    <a:moveTo>
                      <a:pt x="49" y="0"/>
                    </a:moveTo>
                    <a:lnTo>
                      <a:pt x="49" y="0"/>
                    </a:lnTo>
                    <a:cubicBezTo>
                      <a:pt x="36" y="5"/>
                      <a:pt x="10" y="38"/>
                      <a:pt x="0" y="53"/>
                    </a:cubicBezTo>
                    <a:cubicBezTo>
                      <a:pt x="6" y="45"/>
                      <a:pt x="20" y="32"/>
                      <a:pt x="32" y="21"/>
                    </a:cubicBezTo>
                    <a:cubicBezTo>
                      <a:pt x="43" y="11"/>
                      <a:pt x="52" y="1"/>
                      <a:pt x="49"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49" name="Freeform 2625"/>
              <p:cNvSpPr>
                <a:spLocks/>
              </p:cNvSpPr>
              <p:nvPr/>
            </p:nvSpPr>
            <p:spPr bwMode="auto">
              <a:xfrm>
                <a:off x="1668463" y="4213225"/>
                <a:ext cx="1588" cy="3175"/>
              </a:xfrm>
              <a:custGeom>
                <a:avLst/>
                <a:gdLst>
                  <a:gd name="T0" fmla="*/ 0 w 4"/>
                  <a:gd name="T1" fmla="*/ 6 h 6"/>
                  <a:gd name="T2" fmla="*/ 0 w 4"/>
                  <a:gd name="T3" fmla="*/ 6 h 6"/>
                  <a:gd name="T4" fmla="*/ 4 w 4"/>
                  <a:gd name="T5" fmla="*/ 0 h 6"/>
                  <a:gd name="T6" fmla="*/ 0 w 4"/>
                  <a:gd name="T7" fmla="*/ 6 h 6"/>
                </a:gdLst>
                <a:ahLst/>
                <a:cxnLst>
                  <a:cxn ang="0">
                    <a:pos x="T0" y="T1"/>
                  </a:cxn>
                  <a:cxn ang="0">
                    <a:pos x="T2" y="T3"/>
                  </a:cxn>
                  <a:cxn ang="0">
                    <a:pos x="T4" y="T5"/>
                  </a:cxn>
                  <a:cxn ang="0">
                    <a:pos x="T6" y="T7"/>
                  </a:cxn>
                </a:cxnLst>
                <a:rect l="0" t="0" r="r" b="b"/>
                <a:pathLst>
                  <a:path w="4" h="6">
                    <a:moveTo>
                      <a:pt x="0" y="6"/>
                    </a:moveTo>
                    <a:lnTo>
                      <a:pt x="0" y="6"/>
                    </a:lnTo>
                    <a:cubicBezTo>
                      <a:pt x="0" y="5"/>
                      <a:pt x="2" y="3"/>
                      <a:pt x="4" y="0"/>
                    </a:cubicBezTo>
                    <a:cubicBezTo>
                      <a:pt x="2" y="3"/>
                      <a:pt x="0" y="5"/>
                      <a:pt x="0" y="6"/>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0" name="Freeform 2626"/>
              <p:cNvSpPr>
                <a:spLocks/>
              </p:cNvSpPr>
              <p:nvPr/>
            </p:nvSpPr>
            <p:spPr bwMode="auto">
              <a:xfrm>
                <a:off x="1666876" y="4495800"/>
                <a:ext cx="1588" cy="0"/>
              </a:xfrm>
              <a:custGeom>
                <a:avLst/>
                <a:gdLst>
                  <a:gd name="T0" fmla="*/ 0 w 4"/>
                  <a:gd name="T1" fmla="*/ 0 h 3"/>
                  <a:gd name="T2" fmla="*/ 0 w 4"/>
                  <a:gd name="T3" fmla="*/ 0 h 3"/>
                  <a:gd name="T4" fmla="*/ 4 w 4"/>
                  <a:gd name="T5" fmla="*/ 3 h 3"/>
                  <a:gd name="T6" fmla="*/ 0 w 4"/>
                  <a:gd name="T7" fmla="*/ 0 h 3"/>
                </a:gdLst>
                <a:ahLst/>
                <a:cxnLst>
                  <a:cxn ang="0">
                    <a:pos x="T0" y="T1"/>
                  </a:cxn>
                  <a:cxn ang="0">
                    <a:pos x="T2" y="T3"/>
                  </a:cxn>
                  <a:cxn ang="0">
                    <a:pos x="T4" y="T5"/>
                  </a:cxn>
                  <a:cxn ang="0">
                    <a:pos x="T6" y="T7"/>
                  </a:cxn>
                </a:cxnLst>
                <a:rect l="0" t="0" r="r" b="b"/>
                <a:pathLst>
                  <a:path w="4" h="3">
                    <a:moveTo>
                      <a:pt x="0" y="0"/>
                    </a:moveTo>
                    <a:lnTo>
                      <a:pt x="0" y="0"/>
                    </a:lnTo>
                    <a:cubicBezTo>
                      <a:pt x="1" y="1"/>
                      <a:pt x="3" y="2"/>
                      <a:pt x="4" y="3"/>
                    </a:cubicBezTo>
                    <a:cubicBezTo>
                      <a:pt x="3" y="2"/>
                      <a:pt x="1" y="1"/>
                      <a:pt x="0"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1" name="Freeform 2627"/>
              <p:cNvSpPr>
                <a:spLocks/>
              </p:cNvSpPr>
              <p:nvPr/>
            </p:nvSpPr>
            <p:spPr bwMode="auto">
              <a:xfrm>
                <a:off x="1646238" y="4479925"/>
                <a:ext cx="20638" cy="15875"/>
              </a:xfrm>
              <a:custGeom>
                <a:avLst/>
                <a:gdLst>
                  <a:gd name="T0" fmla="*/ 30 w 44"/>
                  <a:gd name="T1" fmla="*/ 24 h 34"/>
                  <a:gd name="T2" fmla="*/ 30 w 44"/>
                  <a:gd name="T3" fmla="*/ 24 h 34"/>
                  <a:gd name="T4" fmla="*/ 0 w 44"/>
                  <a:gd name="T5" fmla="*/ 0 h 34"/>
                  <a:gd name="T6" fmla="*/ 20 w 44"/>
                  <a:gd name="T7" fmla="*/ 17 h 34"/>
                  <a:gd name="T8" fmla="*/ 44 w 44"/>
                  <a:gd name="T9" fmla="*/ 34 h 34"/>
                  <a:gd name="T10" fmla="*/ 30 w 44"/>
                  <a:gd name="T11" fmla="*/ 24 h 34"/>
                </a:gdLst>
                <a:ahLst/>
                <a:cxnLst>
                  <a:cxn ang="0">
                    <a:pos x="T0" y="T1"/>
                  </a:cxn>
                  <a:cxn ang="0">
                    <a:pos x="T2" y="T3"/>
                  </a:cxn>
                  <a:cxn ang="0">
                    <a:pos x="T4" y="T5"/>
                  </a:cxn>
                  <a:cxn ang="0">
                    <a:pos x="T6" y="T7"/>
                  </a:cxn>
                  <a:cxn ang="0">
                    <a:pos x="T8" y="T9"/>
                  </a:cxn>
                  <a:cxn ang="0">
                    <a:pos x="T10" y="T11"/>
                  </a:cxn>
                </a:cxnLst>
                <a:rect l="0" t="0" r="r" b="b"/>
                <a:pathLst>
                  <a:path w="44" h="34">
                    <a:moveTo>
                      <a:pt x="30" y="24"/>
                    </a:moveTo>
                    <a:lnTo>
                      <a:pt x="30" y="24"/>
                    </a:lnTo>
                    <a:cubicBezTo>
                      <a:pt x="24" y="15"/>
                      <a:pt x="6" y="0"/>
                      <a:pt x="0" y="0"/>
                    </a:cubicBezTo>
                    <a:cubicBezTo>
                      <a:pt x="7" y="6"/>
                      <a:pt x="13" y="12"/>
                      <a:pt x="20" y="17"/>
                    </a:cubicBezTo>
                    <a:cubicBezTo>
                      <a:pt x="27" y="23"/>
                      <a:pt x="34" y="29"/>
                      <a:pt x="44" y="34"/>
                    </a:cubicBezTo>
                    <a:cubicBezTo>
                      <a:pt x="37" y="29"/>
                      <a:pt x="34" y="20"/>
                      <a:pt x="30" y="24"/>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2" name="Freeform 2628"/>
              <p:cNvSpPr>
                <a:spLocks/>
              </p:cNvSpPr>
              <p:nvPr/>
            </p:nvSpPr>
            <p:spPr bwMode="auto">
              <a:xfrm>
                <a:off x="1709738" y="4535488"/>
                <a:ext cx="9525" cy="7938"/>
              </a:xfrm>
              <a:custGeom>
                <a:avLst/>
                <a:gdLst>
                  <a:gd name="T0" fmla="*/ 18 w 21"/>
                  <a:gd name="T1" fmla="*/ 10 h 16"/>
                  <a:gd name="T2" fmla="*/ 18 w 21"/>
                  <a:gd name="T3" fmla="*/ 10 h 16"/>
                  <a:gd name="T4" fmla="*/ 0 w 21"/>
                  <a:gd name="T5" fmla="*/ 5 h 16"/>
                  <a:gd name="T6" fmla="*/ 18 w 21"/>
                  <a:gd name="T7" fmla="*/ 10 h 16"/>
                </a:gdLst>
                <a:ahLst/>
                <a:cxnLst>
                  <a:cxn ang="0">
                    <a:pos x="T0" y="T1"/>
                  </a:cxn>
                  <a:cxn ang="0">
                    <a:pos x="T2" y="T3"/>
                  </a:cxn>
                  <a:cxn ang="0">
                    <a:pos x="T4" y="T5"/>
                  </a:cxn>
                  <a:cxn ang="0">
                    <a:pos x="T6" y="T7"/>
                  </a:cxn>
                </a:cxnLst>
                <a:rect l="0" t="0" r="r" b="b"/>
                <a:pathLst>
                  <a:path w="21" h="16">
                    <a:moveTo>
                      <a:pt x="18" y="10"/>
                    </a:moveTo>
                    <a:lnTo>
                      <a:pt x="18" y="10"/>
                    </a:lnTo>
                    <a:cubicBezTo>
                      <a:pt x="9" y="8"/>
                      <a:pt x="0" y="0"/>
                      <a:pt x="0" y="5"/>
                    </a:cubicBezTo>
                    <a:cubicBezTo>
                      <a:pt x="3" y="10"/>
                      <a:pt x="21" y="16"/>
                      <a:pt x="18" y="1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3" name="Freeform 2629"/>
              <p:cNvSpPr>
                <a:spLocks/>
              </p:cNvSpPr>
              <p:nvPr/>
            </p:nvSpPr>
            <p:spPr bwMode="auto">
              <a:xfrm>
                <a:off x="2236788" y="4743450"/>
                <a:ext cx="12700" cy="4763"/>
              </a:xfrm>
              <a:custGeom>
                <a:avLst/>
                <a:gdLst>
                  <a:gd name="T0" fmla="*/ 0 w 28"/>
                  <a:gd name="T1" fmla="*/ 6 h 9"/>
                  <a:gd name="T2" fmla="*/ 0 w 28"/>
                  <a:gd name="T3" fmla="*/ 6 h 9"/>
                  <a:gd name="T4" fmla="*/ 24 w 28"/>
                  <a:gd name="T5" fmla="*/ 1 h 9"/>
                  <a:gd name="T6" fmla="*/ 0 w 28"/>
                  <a:gd name="T7" fmla="*/ 6 h 9"/>
                </a:gdLst>
                <a:ahLst/>
                <a:cxnLst>
                  <a:cxn ang="0">
                    <a:pos x="T0" y="T1"/>
                  </a:cxn>
                  <a:cxn ang="0">
                    <a:pos x="T2" y="T3"/>
                  </a:cxn>
                  <a:cxn ang="0">
                    <a:pos x="T4" y="T5"/>
                  </a:cxn>
                  <a:cxn ang="0">
                    <a:pos x="T6" y="T7"/>
                  </a:cxn>
                </a:cxnLst>
                <a:rect l="0" t="0" r="r" b="b"/>
                <a:pathLst>
                  <a:path w="28" h="9">
                    <a:moveTo>
                      <a:pt x="0" y="6"/>
                    </a:moveTo>
                    <a:lnTo>
                      <a:pt x="0" y="6"/>
                    </a:lnTo>
                    <a:cubicBezTo>
                      <a:pt x="18" y="9"/>
                      <a:pt x="28" y="8"/>
                      <a:pt x="24" y="1"/>
                    </a:cubicBezTo>
                    <a:cubicBezTo>
                      <a:pt x="4" y="0"/>
                      <a:pt x="14" y="4"/>
                      <a:pt x="0" y="6"/>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4" name="Freeform 2630"/>
              <p:cNvSpPr>
                <a:spLocks/>
              </p:cNvSpPr>
              <p:nvPr/>
            </p:nvSpPr>
            <p:spPr bwMode="auto">
              <a:xfrm>
                <a:off x="2259013" y="4743450"/>
                <a:ext cx="6350" cy="4763"/>
              </a:xfrm>
              <a:custGeom>
                <a:avLst/>
                <a:gdLst>
                  <a:gd name="T0" fmla="*/ 0 w 13"/>
                  <a:gd name="T1" fmla="*/ 0 h 10"/>
                  <a:gd name="T2" fmla="*/ 0 w 13"/>
                  <a:gd name="T3" fmla="*/ 0 h 10"/>
                  <a:gd name="T4" fmla="*/ 2 w 13"/>
                  <a:gd name="T5" fmla="*/ 4 h 10"/>
                  <a:gd name="T6" fmla="*/ 13 w 13"/>
                  <a:gd name="T7" fmla="*/ 10 h 10"/>
                  <a:gd name="T8" fmla="*/ 0 w 13"/>
                  <a:gd name="T9" fmla="*/ 0 h 10"/>
                </a:gdLst>
                <a:ahLst/>
                <a:cxnLst>
                  <a:cxn ang="0">
                    <a:pos x="T0" y="T1"/>
                  </a:cxn>
                  <a:cxn ang="0">
                    <a:pos x="T2" y="T3"/>
                  </a:cxn>
                  <a:cxn ang="0">
                    <a:pos x="T4" y="T5"/>
                  </a:cxn>
                  <a:cxn ang="0">
                    <a:pos x="T6" y="T7"/>
                  </a:cxn>
                  <a:cxn ang="0">
                    <a:pos x="T8" y="T9"/>
                  </a:cxn>
                </a:cxnLst>
                <a:rect l="0" t="0" r="r" b="b"/>
                <a:pathLst>
                  <a:path w="13" h="10">
                    <a:moveTo>
                      <a:pt x="0" y="0"/>
                    </a:moveTo>
                    <a:lnTo>
                      <a:pt x="0" y="0"/>
                    </a:lnTo>
                    <a:lnTo>
                      <a:pt x="2" y="4"/>
                    </a:lnTo>
                    <a:lnTo>
                      <a:pt x="13" y="10"/>
                    </a:lnTo>
                    <a:lnTo>
                      <a:pt x="0" y="0"/>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5" name="Freeform 2631"/>
              <p:cNvSpPr>
                <a:spLocks/>
              </p:cNvSpPr>
              <p:nvPr/>
            </p:nvSpPr>
            <p:spPr bwMode="auto">
              <a:xfrm>
                <a:off x="2311401" y="4749800"/>
                <a:ext cx="6350" cy="1588"/>
              </a:xfrm>
              <a:custGeom>
                <a:avLst/>
                <a:gdLst>
                  <a:gd name="T0" fmla="*/ 8 w 13"/>
                  <a:gd name="T1" fmla="*/ 0 h 3"/>
                  <a:gd name="T2" fmla="*/ 8 w 13"/>
                  <a:gd name="T3" fmla="*/ 0 h 3"/>
                  <a:gd name="T4" fmla="*/ 0 w 13"/>
                  <a:gd name="T5" fmla="*/ 3 h 3"/>
                  <a:gd name="T6" fmla="*/ 8 w 13"/>
                  <a:gd name="T7" fmla="*/ 0 h 3"/>
                </a:gdLst>
                <a:ahLst/>
                <a:cxnLst>
                  <a:cxn ang="0">
                    <a:pos x="T0" y="T1"/>
                  </a:cxn>
                  <a:cxn ang="0">
                    <a:pos x="T2" y="T3"/>
                  </a:cxn>
                  <a:cxn ang="0">
                    <a:pos x="T4" y="T5"/>
                  </a:cxn>
                  <a:cxn ang="0">
                    <a:pos x="T6" y="T7"/>
                  </a:cxn>
                </a:cxnLst>
                <a:rect l="0" t="0" r="r" b="b"/>
                <a:pathLst>
                  <a:path w="13" h="3">
                    <a:moveTo>
                      <a:pt x="8" y="0"/>
                    </a:moveTo>
                    <a:lnTo>
                      <a:pt x="8" y="0"/>
                    </a:lnTo>
                    <a:cubicBezTo>
                      <a:pt x="7" y="1"/>
                      <a:pt x="3" y="2"/>
                      <a:pt x="0" y="3"/>
                    </a:cubicBezTo>
                    <a:cubicBezTo>
                      <a:pt x="7" y="2"/>
                      <a:pt x="13" y="1"/>
                      <a:pt x="8"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6" name="Freeform 2632"/>
              <p:cNvSpPr>
                <a:spLocks/>
              </p:cNvSpPr>
              <p:nvPr/>
            </p:nvSpPr>
            <p:spPr bwMode="auto">
              <a:xfrm>
                <a:off x="2309813" y="4751388"/>
                <a:ext cx="1588" cy="0"/>
              </a:xfrm>
              <a:custGeom>
                <a:avLst/>
                <a:gdLst>
                  <a:gd name="T0" fmla="*/ 0 w 3"/>
                  <a:gd name="T1" fmla="*/ 0 w 3"/>
                  <a:gd name="T2" fmla="*/ 3 w 3"/>
                  <a:gd name="T3" fmla="*/ 0 w 3"/>
                </a:gdLst>
                <a:ahLst/>
                <a:cxnLst>
                  <a:cxn ang="0">
                    <a:pos x="T0" y="0"/>
                  </a:cxn>
                  <a:cxn ang="0">
                    <a:pos x="T1" y="0"/>
                  </a:cxn>
                  <a:cxn ang="0">
                    <a:pos x="T2" y="0"/>
                  </a:cxn>
                  <a:cxn ang="0">
                    <a:pos x="T3" y="0"/>
                  </a:cxn>
                </a:cxnLst>
                <a:rect l="0" t="0" r="r" b="b"/>
                <a:pathLst>
                  <a:path w="3">
                    <a:moveTo>
                      <a:pt x="0" y="0"/>
                    </a:moveTo>
                    <a:lnTo>
                      <a:pt x="0" y="0"/>
                    </a:lnTo>
                    <a:cubicBezTo>
                      <a:pt x="1" y="0"/>
                      <a:pt x="2" y="0"/>
                      <a:pt x="3" y="0"/>
                    </a:cubicBezTo>
                    <a:cubicBezTo>
                      <a:pt x="2" y="0"/>
                      <a:pt x="1" y="0"/>
                      <a:pt x="0"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7" name="Freeform 2633"/>
              <p:cNvSpPr>
                <a:spLocks/>
              </p:cNvSpPr>
              <p:nvPr/>
            </p:nvSpPr>
            <p:spPr bwMode="auto">
              <a:xfrm>
                <a:off x="2305051" y="4751388"/>
                <a:ext cx="4763" cy="1588"/>
              </a:xfrm>
              <a:custGeom>
                <a:avLst/>
                <a:gdLst>
                  <a:gd name="T0" fmla="*/ 2 w 10"/>
                  <a:gd name="T1" fmla="*/ 0 h 3"/>
                  <a:gd name="T2" fmla="*/ 2 w 10"/>
                  <a:gd name="T3" fmla="*/ 0 h 3"/>
                  <a:gd name="T4" fmla="*/ 0 w 10"/>
                  <a:gd name="T5" fmla="*/ 3 h 3"/>
                  <a:gd name="T6" fmla="*/ 10 w 10"/>
                  <a:gd name="T7" fmla="*/ 2 h 3"/>
                  <a:gd name="T8" fmla="*/ 2 w 10"/>
                  <a:gd name="T9" fmla="*/ 0 h 3"/>
                </a:gdLst>
                <a:ahLst/>
                <a:cxnLst>
                  <a:cxn ang="0">
                    <a:pos x="T0" y="T1"/>
                  </a:cxn>
                  <a:cxn ang="0">
                    <a:pos x="T2" y="T3"/>
                  </a:cxn>
                  <a:cxn ang="0">
                    <a:pos x="T4" y="T5"/>
                  </a:cxn>
                  <a:cxn ang="0">
                    <a:pos x="T6" y="T7"/>
                  </a:cxn>
                  <a:cxn ang="0">
                    <a:pos x="T8" y="T9"/>
                  </a:cxn>
                </a:cxnLst>
                <a:rect l="0" t="0" r="r" b="b"/>
                <a:pathLst>
                  <a:path w="10" h="3">
                    <a:moveTo>
                      <a:pt x="2" y="0"/>
                    </a:moveTo>
                    <a:lnTo>
                      <a:pt x="2" y="0"/>
                    </a:lnTo>
                    <a:lnTo>
                      <a:pt x="0" y="3"/>
                    </a:lnTo>
                    <a:cubicBezTo>
                      <a:pt x="2" y="3"/>
                      <a:pt x="6" y="2"/>
                      <a:pt x="10" y="2"/>
                    </a:cubicBezTo>
                    <a:cubicBezTo>
                      <a:pt x="6" y="2"/>
                      <a:pt x="3" y="2"/>
                      <a:pt x="2"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8" name="Freeform 2634"/>
              <p:cNvSpPr>
                <a:spLocks/>
              </p:cNvSpPr>
              <p:nvPr/>
            </p:nvSpPr>
            <p:spPr bwMode="auto">
              <a:xfrm>
                <a:off x="2309813" y="4746625"/>
                <a:ext cx="23813" cy="7938"/>
              </a:xfrm>
              <a:custGeom>
                <a:avLst/>
                <a:gdLst>
                  <a:gd name="T0" fmla="*/ 47 w 52"/>
                  <a:gd name="T1" fmla="*/ 11 h 18"/>
                  <a:gd name="T2" fmla="*/ 47 w 52"/>
                  <a:gd name="T3" fmla="*/ 11 h 18"/>
                  <a:gd name="T4" fmla="*/ 24 w 52"/>
                  <a:gd name="T5" fmla="*/ 0 h 18"/>
                  <a:gd name="T6" fmla="*/ 28 w 52"/>
                  <a:gd name="T7" fmla="*/ 18 h 18"/>
                  <a:gd name="T8" fmla="*/ 47 w 52"/>
                  <a:gd name="T9" fmla="*/ 11 h 18"/>
                </a:gdLst>
                <a:ahLst/>
                <a:cxnLst>
                  <a:cxn ang="0">
                    <a:pos x="T0" y="T1"/>
                  </a:cxn>
                  <a:cxn ang="0">
                    <a:pos x="T2" y="T3"/>
                  </a:cxn>
                  <a:cxn ang="0">
                    <a:pos x="T4" y="T5"/>
                  </a:cxn>
                  <a:cxn ang="0">
                    <a:pos x="T6" y="T7"/>
                  </a:cxn>
                  <a:cxn ang="0">
                    <a:pos x="T8" y="T9"/>
                  </a:cxn>
                </a:cxnLst>
                <a:rect l="0" t="0" r="r" b="b"/>
                <a:pathLst>
                  <a:path w="52" h="18">
                    <a:moveTo>
                      <a:pt x="47" y="11"/>
                    </a:moveTo>
                    <a:lnTo>
                      <a:pt x="47" y="11"/>
                    </a:lnTo>
                    <a:lnTo>
                      <a:pt x="24" y="0"/>
                    </a:lnTo>
                    <a:cubicBezTo>
                      <a:pt x="0" y="5"/>
                      <a:pt x="52" y="6"/>
                      <a:pt x="28" y="18"/>
                    </a:cubicBezTo>
                    <a:lnTo>
                      <a:pt x="47" y="11"/>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59" name="Freeform 2635"/>
              <p:cNvSpPr>
                <a:spLocks/>
              </p:cNvSpPr>
              <p:nvPr/>
            </p:nvSpPr>
            <p:spPr bwMode="auto">
              <a:xfrm>
                <a:off x="2370138" y="4733925"/>
                <a:ext cx="60325" cy="17463"/>
              </a:xfrm>
              <a:custGeom>
                <a:avLst/>
                <a:gdLst>
                  <a:gd name="T0" fmla="*/ 0 w 132"/>
                  <a:gd name="T1" fmla="*/ 34 h 37"/>
                  <a:gd name="T2" fmla="*/ 0 w 132"/>
                  <a:gd name="T3" fmla="*/ 34 h 37"/>
                  <a:gd name="T4" fmla="*/ 68 w 132"/>
                  <a:gd name="T5" fmla="*/ 31 h 37"/>
                  <a:gd name="T6" fmla="*/ 125 w 132"/>
                  <a:gd name="T7" fmla="*/ 2 h 37"/>
                  <a:gd name="T8" fmla="*/ 75 w 132"/>
                  <a:gd name="T9" fmla="*/ 14 h 37"/>
                  <a:gd name="T10" fmla="*/ 30 w 132"/>
                  <a:gd name="T11" fmla="*/ 24 h 37"/>
                  <a:gd name="T12" fmla="*/ 0 w 132"/>
                  <a:gd name="T13" fmla="*/ 34 h 37"/>
                </a:gdLst>
                <a:ahLst/>
                <a:cxnLst>
                  <a:cxn ang="0">
                    <a:pos x="T0" y="T1"/>
                  </a:cxn>
                  <a:cxn ang="0">
                    <a:pos x="T2" y="T3"/>
                  </a:cxn>
                  <a:cxn ang="0">
                    <a:pos x="T4" y="T5"/>
                  </a:cxn>
                  <a:cxn ang="0">
                    <a:pos x="T6" y="T7"/>
                  </a:cxn>
                  <a:cxn ang="0">
                    <a:pos x="T8" y="T9"/>
                  </a:cxn>
                  <a:cxn ang="0">
                    <a:pos x="T10" y="T11"/>
                  </a:cxn>
                  <a:cxn ang="0">
                    <a:pos x="T12" y="T13"/>
                  </a:cxn>
                </a:cxnLst>
                <a:rect l="0" t="0" r="r" b="b"/>
                <a:pathLst>
                  <a:path w="132" h="37">
                    <a:moveTo>
                      <a:pt x="0" y="34"/>
                    </a:moveTo>
                    <a:lnTo>
                      <a:pt x="0" y="34"/>
                    </a:lnTo>
                    <a:cubicBezTo>
                      <a:pt x="23" y="37"/>
                      <a:pt x="55" y="19"/>
                      <a:pt x="68" y="31"/>
                    </a:cubicBezTo>
                    <a:cubicBezTo>
                      <a:pt x="132" y="21"/>
                      <a:pt x="53" y="11"/>
                      <a:pt x="125" y="2"/>
                    </a:cubicBezTo>
                    <a:cubicBezTo>
                      <a:pt x="91" y="0"/>
                      <a:pt x="82" y="7"/>
                      <a:pt x="75" y="14"/>
                    </a:cubicBezTo>
                    <a:cubicBezTo>
                      <a:pt x="67" y="20"/>
                      <a:pt x="61" y="27"/>
                      <a:pt x="30" y="24"/>
                    </a:cubicBezTo>
                    <a:cubicBezTo>
                      <a:pt x="60" y="31"/>
                      <a:pt x="10" y="30"/>
                      <a:pt x="0" y="34"/>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0" name="Freeform 2636"/>
              <p:cNvSpPr>
                <a:spLocks/>
              </p:cNvSpPr>
              <p:nvPr/>
            </p:nvSpPr>
            <p:spPr bwMode="auto">
              <a:xfrm>
                <a:off x="2362201" y="4737100"/>
                <a:ext cx="17463" cy="6350"/>
              </a:xfrm>
              <a:custGeom>
                <a:avLst/>
                <a:gdLst>
                  <a:gd name="T0" fmla="*/ 4 w 38"/>
                  <a:gd name="T1" fmla="*/ 7 h 14"/>
                  <a:gd name="T2" fmla="*/ 4 w 38"/>
                  <a:gd name="T3" fmla="*/ 7 h 14"/>
                  <a:gd name="T4" fmla="*/ 38 w 38"/>
                  <a:gd name="T5" fmla="*/ 9 h 14"/>
                  <a:gd name="T6" fmla="*/ 4 w 38"/>
                  <a:gd name="T7" fmla="*/ 7 h 14"/>
                </a:gdLst>
                <a:ahLst/>
                <a:cxnLst>
                  <a:cxn ang="0">
                    <a:pos x="T0" y="T1"/>
                  </a:cxn>
                  <a:cxn ang="0">
                    <a:pos x="T2" y="T3"/>
                  </a:cxn>
                  <a:cxn ang="0">
                    <a:pos x="T4" y="T5"/>
                  </a:cxn>
                  <a:cxn ang="0">
                    <a:pos x="T6" y="T7"/>
                  </a:cxn>
                </a:cxnLst>
                <a:rect l="0" t="0" r="r" b="b"/>
                <a:pathLst>
                  <a:path w="38" h="14">
                    <a:moveTo>
                      <a:pt x="4" y="7"/>
                    </a:moveTo>
                    <a:lnTo>
                      <a:pt x="4" y="7"/>
                    </a:lnTo>
                    <a:cubicBezTo>
                      <a:pt x="0" y="14"/>
                      <a:pt x="29" y="14"/>
                      <a:pt x="38" y="9"/>
                    </a:cubicBezTo>
                    <a:cubicBezTo>
                      <a:pt x="29" y="9"/>
                      <a:pt x="15" y="0"/>
                      <a:pt x="4" y="7"/>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1" name="Freeform 2637"/>
              <p:cNvSpPr>
                <a:spLocks/>
              </p:cNvSpPr>
              <p:nvPr/>
            </p:nvSpPr>
            <p:spPr bwMode="auto">
              <a:xfrm>
                <a:off x="2427288" y="4745038"/>
                <a:ext cx="11113" cy="1588"/>
              </a:xfrm>
              <a:custGeom>
                <a:avLst/>
                <a:gdLst>
                  <a:gd name="T0" fmla="*/ 0 w 25"/>
                  <a:gd name="T1" fmla="*/ 1 h 5"/>
                  <a:gd name="T2" fmla="*/ 0 w 25"/>
                  <a:gd name="T3" fmla="*/ 1 h 5"/>
                  <a:gd name="T4" fmla="*/ 20 w 25"/>
                  <a:gd name="T5" fmla="*/ 5 h 5"/>
                  <a:gd name="T6" fmla="*/ 25 w 25"/>
                  <a:gd name="T7" fmla="*/ 0 h 5"/>
                  <a:gd name="T8" fmla="*/ 0 w 25"/>
                  <a:gd name="T9" fmla="*/ 1 h 5"/>
                </a:gdLst>
                <a:ahLst/>
                <a:cxnLst>
                  <a:cxn ang="0">
                    <a:pos x="T0" y="T1"/>
                  </a:cxn>
                  <a:cxn ang="0">
                    <a:pos x="T2" y="T3"/>
                  </a:cxn>
                  <a:cxn ang="0">
                    <a:pos x="T4" y="T5"/>
                  </a:cxn>
                  <a:cxn ang="0">
                    <a:pos x="T6" y="T7"/>
                  </a:cxn>
                  <a:cxn ang="0">
                    <a:pos x="T8" y="T9"/>
                  </a:cxn>
                </a:cxnLst>
                <a:rect l="0" t="0" r="r" b="b"/>
                <a:pathLst>
                  <a:path w="25" h="5">
                    <a:moveTo>
                      <a:pt x="0" y="1"/>
                    </a:moveTo>
                    <a:lnTo>
                      <a:pt x="0" y="1"/>
                    </a:lnTo>
                    <a:lnTo>
                      <a:pt x="20" y="5"/>
                    </a:lnTo>
                    <a:lnTo>
                      <a:pt x="25" y="0"/>
                    </a:lnTo>
                    <a:cubicBezTo>
                      <a:pt x="17" y="1"/>
                      <a:pt x="9" y="1"/>
                      <a:pt x="0"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2" name="Freeform 2638"/>
              <p:cNvSpPr>
                <a:spLocks/>
              </p:cNvSpPr>
              <p:nvPr/>
            </p:nvSpPr>
            <p:spPr bwMode="auto">
              <a:xfrm>
                <a:off x="2452688" y="4743450"/>
                <a:ext cx="15875" cy="4763"/>
              </a:xfrm>
              <a:custGeom>
                <a:avLst/>
                <a:gdLst>
                  <a:gd name="T0" fmla="*/ 19 w 35"/>
                  <a:gd name="T1" fmla="*/ 0 h 10"/>
                  <a:gd name="T2" fmla="*/ 19 w 35"/>
                  <a:gd name="T3" fmla="*/ 0 h 10"/>
                  <a:gd name="T4" fmla="*/ 0 w 35"/>
                  <a:gd name="T5" fmla="*/ 10 h 10"/>
                  <a:gd name="T6" fmla="*/ 19 w 35"/>
                  <a:gd name="T7" fmla="*/ 0 h 10"/>
                </a:gdLst>
                <a:ahLst/>
                <a:cxnLst>
                  <a:cxn ang="0">
                    <a:pos x="T0" y="T1"/>
                  </a:cxn>
                  <a:cxn ang="0">
                    <a:pos x="T2" y="T3"/>
                  </a:cxn>
                  <a:cxn ang="0">
                    <a:pos x="T4" y="T5"/>
                  </a:cxn>
                  <a:cxn ang="0">
                    <a:pos x="T6" y="T7"/>
                  </a:cxn>
                </a:cxnLst>
                <a:rect l="0" t="0" r="r" b="b"/>
                <a:pathLst>
                  <a:path w="35" h="10">
                    <a:moveTo>
                      <a:pt x="19" y="0"/>
                    </a:moveTo>
                    <a:lnTo>
                      <a:pt x="19" y="0"/>
                    </a:lnTo>
                    <a:lnTo>
                      <a:pt x="0" y="10"/>
                    </a:lnTo>
                    <a:cubicBezTo>
                      <a:pt x="6" y="6"/>
                      <a:pt x="35" y="4"/>
                      <a:pt x="19"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3" name="Freeform 2639"/>
              <p:cNvSpPr>
                <a:spLocks/>
              </p:cNvSpPr>
              <p:nvPr/>
            </p:nvSpPr>
            <p:spPr bwMode="auto">
              <a:xfrm>
                <a:off x="2506663" y="4732338"/>
                <a:ext cx="17463" cy="9525"/>
              </a:xfrm>
              <a:custGeom>
                <a:avLst/>
                <a:gdLst>
                  <a:gd name="T0" fmla="*/ 5 w 37"/>
                  <a:gd name="T1" fmla="*/ 20 h 20"/>
                  <a:gd name="T2" fmla="*/ 5 w 37"/>
                  <a:gd name="T3" fmla="*/ 20 h 20"/>
                  <a:gd name="T4" fmla="*/ 0 w 37"/>
                  <a:gd name="T5" fmla="*/ 10 h 20"/>
                  <a:gd name="T6" fmla="*/ 9 w 37"/>
                  <a:gd name="T7" fmla="*/ 9 h 20"/>
                  <a:gd name="T8" fmla="*/ 5 w 37"/>
                  <a:gd name="T9" fmla="*/ 20 h 20"/>
                </a:gdLst>
                <a:ahLst/>
                <a:cxnLst>
                  <a:cxn ang="0">
                    <a:pos x="T0" y="T1"/>
                  </a:cxn>
                  <a:cxn ang="0">
                    <a:pos x="T2" y="T3"/>
                  </a:cxn>
                  <a:cxn ang="0">
                    <a:pos x="T4" y="T5"/>
                  </a:cxn>
                  <a:cxn ang="0">
                    <a:pos x="T6" y="T7"/>
                  </a:cxn>
                  <a:cxn ang="0">
                    <a:pos x="T8" y="T9"/>
                  </a:cxn>
                </a:cxnLst>
                <a:rect l="0" t="0" r="r" b="b"/>
                <a:pathLst>
                  <a:path w="37" h="20">
                    <a:moveTo>
                      <a:pt x="5" y="20"/>
                    </a:moveTo>
                    <a:lnTo>
                      <a:pt x="5" y="20"/>
                    </a:lnTo>
                    <a:cubicBezTo>
                      <a:pt x="24" y="20"/>
                      <a:pt x="37" y="0"/>
                      <a:pt x="0" y="10"/>
                    </a:cubicBezTo>
                    <a:lnTo>
                      <a:pt x="9" y="9"/>
                    </a:lnTo>
                    <a:cubicBezTo>
                      <a:pt x="7" y="12"/>
                      <a:pt x="28" y="15"/>
                      <a:pt x="5" y="2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4" name="Freeform 2640"/>
              <p:cNvSpPr>
                <a:spLocks/>
              </p:cNvSpPr>
              <p:nvPr/>
            </p:nvSpPr>
            <p:spPr bwMode="auto">
              <a:xfrm>
                <a:off x="2603501" y="4706938"/>
                <a:ext cx="15875" cy="4763"/>
              </a:xfrm>
              <a:custGeom>
                <a:avLst/>
                <a:gdLst>
                  <a:gd name="T0" fmla="*/ 25 w 35"/>
                  <a:gd name="T1" fmla="*/ 1 h 12"/>
                  <a:gd name="T2" fmla="*/ 25 w 35"/>
                  <a:gd name="T3" fmla="*/ 1 h 12"/>
                  <a:gd name="T4" fmla="*/ 3 w 35"/>
                  <a:gd name="T5" fmla="*/ 12 h 12"/>
                  <a:gd name="T6" fmla="*/ 35 w 35"/>
                  <a:gd name="T7" fmla="*/ 0 h 12"/>
                  <a:gd name="T8" fmla="*/ 25 w 35"/>
                  <a:gd name="T9" fmla="*/ 1 h 12"/>
                </a:gdLst>
                <a:ahLst/>
                <a:cxnLst>
                  <a:cxn ang="0">
                    <a:pos x="T0" y="T1"/>
                  </a:cxn>
                  <a:cxn ang="0">
                    <a:pos x="T2" y="T3"/>
                  </a:cxn>
                  <a:cxn ang="0">
                    <a:pos x="T4" y="T5"/>
                  </a:cxn>
                  <a:cxn ang="0">
                    <a:pos x="T6" y="T7"/>
                  </a:cxn>
                  <a:cxn ang="0">
                    <a:pos x="T8" y="T9"/>
                  </a:cxn>
                </a:cxnLst>
                <a:rect l="0" t="0" r="r" b="b"/>
                <a:pathLst>
                  <a:path w="35" h="12">
                    <a:moveTo>
                      <a:pt x="25" y="1"/>
                    </a:moveTo>
                    <a:lnTo>
                      <a:pt x="25" y="1"/>
                    </a:lnTo>
                    <a:cubicBezTo>
                      <a:pt x="13" y="4"/>
                      <a:pt x="0" y="10"/>
                      <a:pt x="3" y="12"/>
                    </a:cubicBezTo>
                    <a:cubicBezTo>
                      <a:pt x="14" y="8"/>
                      <a:pt x="25" y="5"/>
                      <a:pt x="35" y="0"/>
                    </a:cubicBezTo>
                    <a:lnTo>
                      <a:pt x="25" y="1"/>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5" name="Freeform 2641"/>
              <p:cNvSpPr>
                <a:spLocks/>
              </p:cNvSpPr>
              <p:nvPr/>
            </p:nvSpPr>
            <p:spPr bwMode="auto">
              <a:xfrm>
                <a:off x="2584451" y="4684713"/>
                <a:ext cx="23813" cy="7938"/>
              </a:xfrm>
              <a:custGeom>
                <a:avLst/>
                <a:gdLst>
                  <a:gd name="T0" fmla="*/ 52 w 52"/>
                  <a:gd name="T1" fmla="*/ 8 h 18"/>
                  <a:gd name="T2" fmla="*/ 52 w 52"/>
                  <a:gd name="T3" fmla="*/ 8 h 18"/>
                  <a:gd name="T4" fmla="*/ 0 w 52"/>
                  <a:gd name="T5" fmla="*/ 18 h 18"/>
                  <a:gd name="T6" fmla="*/ 52 w 52"/>
                  <a:gd name="T7" fmla="*/ 8 h 18"/>
                </a:gdLst>
                <a:ahLst/>
                <a:cxnLst>
                  <a:cxn ang="0">
                    <a:pos x="T0" y="T1"/>
                  </a:cxn>
                  <a:cxn ang="0">
                    <a:pos x="T2" y="T3"/>
                  </a:cxn>
                  <a:cxn ang="0">
                    <a:pos x="T4" y="T5"/>
                  </a:cxn>
                  <a:cxn ang="0">
                    <a:pos x="T6" y="T7"/>
                  </a:cxn>
                </a:cxnLst>
                <a:rect l="0" t="0" r="r" b="b"/>
                <a:pathLst>
                  <a:path w="52" h="18">
                    <a:moveTo>
                      <a:pt x="52" y="8"/>
                    </a:moveTo>
                    <a:lnTo>
                      <a:pt x="52" y="8"/>
                    </a:lnTo>
                    <a:cubicBezTo>
                      <a:pt x="38" y="0"/>
                      <a:pt x="22" y="16"/>
                      <a:pt x="0" y="18"/>
                    </a:cubicBezTo>
                    <a:cubicBezTo>
                      <a:pt x="24" y="14"/>
                      <a:pt x="22" y="16"/>
                      <a:pt x="52" y="8"/>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6" name="Freeform 2642"/>
              <p:cNvSpPr>
                <a:spLocks/>
              </p:cNvSpPr>
              <p:nvPr/>
            </p:nvSpPr>
            <p:spPr bwMode="auto">
              <a:xfrm>
                <a:off x="2620963" y="4708525"/>
                <a:ext cx="14288" cy="6350"/>
              </a:xfrm>
              <a:custGeom>
                <a:avLst/>
                <a:gdLst>
                  <a:gd name="T0" fmla="*/ 31 w 31"/>
                  <a:gd name="T1" fmla="*/ 0 h 14"/>
                  <a:gd name="T2" fmla="*/ 31 w 31"/>
                  <a:gd name="T3" fmla="*/ 0 h 14"/>
                  <a:gd name="T4" fmla="*/ 0 w 31"/>
                  <a:gd name="T5" fmla="*/ 10 h 14"/>
                  <a:gd name="T6" fmla="*/ 31 w 31"/>
                  <a:gd name="T7" fmla="*/ 0 h 14"/>
                </a:gdLst>
                <a:ahLst/>
                <a:cxnLst>
                  <a:cxn ang="0">
                    <a:pos x="T0" y="T1"/>
                  </a:cxn>
                  <a:cxn ang="0">
                    <a:pos x="T2" y="T3"/>
                  </a:cxn>
                  <a:cxn ang="0">
                    <a:pos x="T4" y="T5"/>
                  </a:cxn>
                  <a:cxn ang="0">
                    <a:pos x="T6" y="T7"/>
                  </a:cxn>
                </a:cxnLst>
                <a:rect l="0" t="0" r="r" b="b"/>
                <a:pathLst>
                  <a:path w="31" h="14">
                    <a:moveTo>
                      <a:pt x="31" y="0"/>
                    </a:moveTo>
                    <a:lnTo>
                      <a:pt x="31" y="0"/>
                    </a:lnTo>
                    <a:cubicBezTo>
                      <a:pt x="23" y="7"/>
                      <a:pt x="9" y="8"/>
                      <a:pt x="0" y="10"/>
                    </a:cubicBezTo>
                    <a:cubicBezTo>
                      <a:pt x="6" y="14"/>
                      <a:pt x="28" y="6"/>
                      <a:pt x="31"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7" name="Freeform 2643"/>
              <p:cNvSpPr>
                <a:spLocks/>
              </p:cNvSpPr>
              <p:nvPr/>
            </p:nvSpPr>
            <p:spPr bwMode="auto">
              <a:xfrm>
                <a:off x="2640013" y="4683125"/>
                <a:ext cx="49213" cy="26988"/>
              </a:xfrm>
              <a:custGeom>
                <a:avLst/>
                <a:gdLst>
                  <a:gd name="T0" fmla="*/ 39 w 106"/>
                  <a:gd name="T1" fmla="*/ 35 h 59"/>
                  <a:gd name="T2" fmla="*/ 39 w 106"/>
                  <a:gd name="T3" fmla="*/ 35 h 59"/>
                  <a:gd name="T4" fmla="*/ 48 w 106"/>
                  <a:gd name="T5" fmla="*/ 41 h 59"/>
                  <a:gd name="T6" fmla="*/ 106 w 106"/>
                  <a:gd name="T7" fmla="*/ 19 h 59"/>
                  <a:gd name="T8" fmla="*/ 94 w 106"/>
                  <a:gd name="T9" fmla="*/ 0 h 59"/>
                  <a:gd name="T10" fmla="*/ 25 w 106"/>
                  <a:gd name="T11" fmla="*/ 32 h 59"/>
                  <a:gd name="T12" fmla="*/ 0 w 106"/>
                  <a:gd name="T13" fmla="*/ 59 h 59"/>
                  <a:gd name="T14" fmla="*/ 39 w 106"/>
                  <a:gd name="T15" fmla="*/ 35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59">
                    <a:moveTo>
                      <a:pt x="39" y="35"/>
                    </a:moveTo>
                    <a:lnTo>
                      <a:pt x="39" y="35"/>
                    </a:lnTo>
                    <a:cubicBezTo>
                      <a:pt x="51" y="35"/>
                      <a:pt x="39" y="41"/>
                      <a:pt x="48" y="41"/>
                    </a:cubicBezTo>
                    <a:cubicBezTo>
                      <a:pt x="72" y="38"/>
                      <a:pt x="96" y="30"/>
                      <a:pt x="106" y="19"/>
                    </a:cubicBezTo>
                    <a:cubicBezTo>
                      <a:pt x="99" y="17"/>
                      <a:pt x="87" y="9"/>
                      <a:pt x="94" y="0"/>
                    </a:cubicBezTo>
                    <a:cubicBezTo>
                      <a:pt x="60" y="16"/>
                      <a:pt x="47" y="41"/>
                      <a:pt x="25" y="32"/>
                    </a:cubicBezTo>
                    <a:cubicBezTo>
                      <a:pt x="17" y="41"/>
                      <a:pt x="9" y="50"/>
                      <a:pt x="0" y="59"/>
                    </a:cubicBezTo>
                    <a:cubicBezTo>
                      <a:pt x="30" y="53"/>
                      <a:pt x="19" y="40"/>
                      <a:pt x="39" y="35"/>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8" name="Freeform 2644"/>
              <p:cNvSpPr>
                <a:spLocks/>
              </p:cNvSpPr>
              <p:nvPr/>
            </p:nvSpPr>
            <p:spPr bwMode="auto">
              <a:xfrm>
                <a:off x="2619376" y="4681538"/>
                <a:ext cx="19050" cy="12700"/>
              </a:xfrm>
              <a:custGeom>
                <a:avLst/>
                <a:gdLst>
                  <a:gd name="T0" fmla="*/ 0 w 40"/>
                  <a:gd name="T1" fmla="*/ 26 h 26"/>
                  <a:gd name="T2" fmla="*/ 0 w 40"/>
                  <a:gd name="T3" fmla="*/ 26 h 26"/>
                  <a:gd name="T4" fmla="*/ 21 w 40"/>
                  <a:gd name="T5" fmla="*/ 26 h 26"/>
                  <a:gd name="T6" fmla="*/ 40 w 40"/>
                  <a:gd name="T7" fmla="*/ 12 h 26"/>
                  <a:gd name="T8" fmla="*/ 0 w 40"/>
                  <a:gd name="T9" fmla="*/ 26 h 26"/>
                </a:gdLst>
                <a:ahLst/>
                <a:cxnLst>
                  <a:cxn ang="0">
                    <a:pos x="T0" y="T1"/>
                  </a:cxn>
                  <a:cxn ang="0">
                    <a:pos x="T2" y="T3"/>
                  </a:cxn>
                  <a:cxn ang="0">
                    <a:pos x="T4" y="T5"/>
                  </a:cxn>
                  <a:cxn ang="0">
                    <a:pos x="T6" y="T7"/>
                  </a:cxn>
                  <a:cxn ang="0">
                    <a:pos x="T8" y="T9"/>
                  </a:cxn>
                </a:cxnLst>
                <a:rect l="0" t="0" r="r" b="b"/>
                <a:pathLst>
                  <a:path w="40" h="26">
                    <a:moveTo>
                      <a:pt x="0" y="26"/>
                    </a:moveTo>
                    <a:lnTo>
                      <a:pt x="0" y="26"/>
                    </a:lnTo>
                    <a:lnTo>
                      <a:pt x="21" y="26"/>
                    </a:lnTo>
                    <a:cubicBezTo>
                      <a:pt x="16" y="22"/>
                      <a:pt x="30" y="17"/>
                      <a:pt x="40" y="12"/>
                    </a:cubicBezTo>
                    <a:cubicBezTo>
                      <a:pt x="31" y="0"/>
                      <a:pt x="11" y="22"/>
                      <a:pt x="0" y="26"/>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69" name="Freeform 2645"/>
              <p:cNvSpPr>
                <a:spLocks/>
              </p:cNvSpPr>
              <p:nvPr/>
            </p:nvSpPr>
            <p:spPr bwMode="auto">
              <a:xfrm>
                <a:off x="2747963" y="4651375"/>
                <a:ext cx="17463" cy="9525"/>
              </a:xfrm>
              <a:custGeom>
                <a:avLst/>
                <a:gdLst>
                  <a:gd name="T0" fmla="*/ 0 w 38"/>
                  <a:gd name="T1" fmla="*/ 21 h 21"/>
                  <a:gd name="T2" fmla="*/ 0 w 38"/>
                  <a:gd name="T3" fmla="*/ 21 h 21"/>
                  <a:gd name="T4" fmla="*/ 38 w 38"/>
                  <a:gd name="T5" fmla="*/ 0 h 21"/>
                  <a:gd name="T6" fmla="*/ 25 w 38"/>
                  <a:gd name="T7" fmla="*/ 6 h 21"/>
                  <a:gd name="T8" fmla="*/ 0 w 38"/>
                  <a:gd name="T9" fmla="*/ 21 h 21"/>
                </a:gdLst>
                <a:ahLst/>
                <a:cxnLst>
                  <a:cxn ang="0">
                    <a:pos x="T0" y="T1"/>
                  </a:cxn>
                  <a:cxn ang="0">
                    <a:pos x="T2" y="T3"/>
                  </a:cxn>
                  <a:cxn ang="0">
                    <a:pos x="T4" y="T5"/>
                  </a:cxn>
                  <a:cxn ang="0">
                    <a:pos x="T6" y="T7"/>
                  </a:cxn>
                  <a:cxn ang="0">
                    <a:pos x="T8" y="T9"/>
                  </a:cxn>
                </a:cxnLst>
                <a:rect l="0" t="0" r="r" b="b"/>
                <a:pathLst>
                  <a:path w="38" h="21">
                    <a:moveTo>
                      <a:pt x="0" y="21"/>
                    </a:moveTo>
                    <a:lnTo>
                      <a:pt x="0" y="21"/>
                    </a:lnTo>
                    <a:lnTo>
                      <a:pt x="38" y="0"/>
                    </a:lnTo>
                    <a:lnTo>
                      <a:pt x="25" y="6"/>
                    </a:lnTo>
                    <a:lnTo>
                      <a:pt x="0" y="21"/>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0" name="Freeform 2646"/>
              <p:cNvSpPr>
                <a:spLocks/>
              </p:cNvSpPr>
              <p:nvPr/>
            </p:nvSpPr>
            <p:spPr bwMode="auto">
              <a:xfrm>
                <a:off x="2759076" y="4649788"/>
                <a:ext cx="14288" cy="9525"/>
              </a:xfrm>
              <a:custGeom>
                <a:avLst/>
                <a:gdLst>
                  <a:gd name="T0" fmla="*/ 0 w 30"/>
                  <a:gd name="T1" fmla="*/ 18 h 21"/>
                  <a:gd name="T2" fmla="*/ 0 w 30"/>
                  <a:gd name="T3" fmla="*/ 18 h 21"/>
                  <a:gd name="T4" fmla="*/ 3 w 30"/>
                  <a:gd name="T5" fmla="*/ 21 h 21"/>
                  <a:gd name="T6" fmla="*/ 30 w 30"/>
                  <a:gd name="T7" fmla="*/ 0 h 21"/>
                  <a:gd name="T8" fmla="*/ 0 w 30"/>
                  <a:gd name="T9" fmla="*/ 18 h 21"/>
                </a:gdLst>
                <a:ahLst/>
                <a:cxnLst>
                  <a:cxn ang="0">
                    <a:pos x="T0" y="T1"/>
                  </a:cxn>
                  <a:cxn ang="0">
                    <a:pos x="T2" y="T3"/>
                  </a:cxn>
                  <a:cxn ang="0">
                    <a:pos x="T4" y="T5"/>
                  </a:cxn>
                  <a:cxn ang="0">
                    <a:pos x="T6" y="T7"/>
                  </a:cxn>
                  <a:cxn ang="0">
                    <a:pos x="T8" y="T9"/>
                  </a:cxn>
                </a:cxnLst>
                <a:rect l="0" t="0" r="r" b="b"/>
                <a:pathLst>
                  <a:path w="30" h="21">
                    <a:moveTo>
                      <a:pt x="0" y="18"/>
                    </a:moveTo>
                    <a:lnTo>
                      <a:pt x="0" y="18"/>
                    </a:lnTo>
                    <a:lnTo>
                      <a:pt x="3" y="21"/>
                    </a:lnTo>
                    <a:lnTo>
                      <a:pt x="30" y="0"/>
                    </a:lnTo>
                    <a:lnTo>
                      <a:pt x="0" y="18"/>
                    </a:ln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1" name="Freeform 2647"/>
              <p:cNvSpPr>
                <a:spLocks/>
              </p:cNvSpPr>
              <p:nvPr/>
            </p:nvSpPr>
            <p:spPr bwMode="auto">
              <a:xfrm>
                <a:off x="2767013" y="4651375"/>
                <a:ext cx="12700" cy="6350"/>
              </a:xfrm>
              <a:custGeom>
                <a:avLst/>
                <a:gdLst>
                  <a:gd name="T0" fmla="*/ 26 w 26"/>
                  <a:gd name="T1" fmla="*/ 0 h 16"/>
                  <a:gd name="T2" fmla="*/ 26 w 26"/>
                  <a:gd name="T3" fmla="*/ 0 h 16"/>
                  <a:gd name="T4" fmla="*/ 21 w 26"/>
                  <a:gd name="T5" fmla="*/ 2 h 16"/>
                  <a:gd name="T6" fmla="*/ 0 w 26"/>
                  <a:gd name="T7" fmla="*/ 16 h 16"/>
                  <a:gd name="T8" fmla="*/ 26 w 26"/>
                  <a:gd name="T9" fmla="*/ 0 h 16"/>
                </a:gdLst>
                <a:ahLst/>
                <a:cxnLst>
                  <a:cxn ang="0">
                    <a:pos x="T0" y="T1"/>
                  </a:cxn>
                  <a:cxn ang="0">
                    <a:pos x="T2" y="T3"/>
                  </a:cxn>
                  <a:cxn ang="0">
                    <a:pos x="T4" y="T5"/>
                  </a:cxn>
                  <a:cxn ang="0">
                    <a:pos x="T6" y="T7"/>
                  </a:cxn>
                  <a:cxn ang="0">
                    <a:pos x="T8" y="T9"/>
                  </a:cxn>
                </a:cxnLst>
                <a:rect l="0" t="0" r="r" b="b"/>
                <a:pathLst>
                  <a:path w="26" h="16">
                    <a:moveTo>
                      <a:pt x="26" y="0"/>
                    </a:moveTo>
                    <a:lnTo>
                      <a:pt x="26" y="0"/>
                    </a:lnTo>
                    <a:lnTo>
                      <a:pt x="21" y="2"/>
                    </a:lnTo>
                    <a:cubicBezTo>
                      <a:pt x="14" y="7"/>
                      <a:pt x="7" y="11"/>
                      <a:pt x="0" y="16"/>
                    </a:cubicBezTo>
                    <a:cubicBezTo>
                      <a:pt x="8" y="11"/>
                      <a:pt x="17" y="6"/>
                      <a:pt x="26" y="0"/>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2" name="Freeform 2648"/>
              <p:cNvSpPr>
                <a:spLocks/>
              </p:cNvSpPr>
              <p:nvPr/>
            </p:nvSpPr>
            <p:spPr bwMode="auto">
              <a:xfrm>
                <a:off x="2797176" y="4632325"/>
                <a:ext cx="19050" cy="7938"/>
              </a:xfrm>
              <a:custGeom>
                <a:avLst/>
                <a:gdLst>
                  <a:gd name="T0" fmla="*/ 41 w 41"/>
                  <a:gd name="T1" fmla="*/ 1 h 18"/>
                  <a:gd name="T2" fmla="*/ 41 w 41"/>
                  <a:gd name="T3" fmla="*/ 1 h 18"/>
                  <a:gd name="T4" fmla="*/ 31 w 41"/>
                  <a:gd name="T5" fmla="*/ 0 h 18"/>
                  <a:gd name="T6" fmla="*/ 6 w 41"/>
                  <a:gd name="T7" fmla="*/ 18 h 18"/>
                  <a:gd name="T8" fmla="*/ 41 w 41"/>
                  <a:gd name="T9" fmla="*/ 1 h 18"/>
                </a:gdLst>
                <a:ahLst/>
                <a:cxnLst>
                  <a:cxn ang="0">
                    <a:pos x="T0" y="T1"/>
                  </a:cxn>
                  <a:cxn ang="0">
                    <a:pos x="T2" y="T3"/>
                  </a:cxn>
                  <a:cxn ang="0">
                    <a:pos x="T4" y="T5"/>
                  </a:cxn>
                  <a:cxn ang="0">
                    <a:pos x="T6" y="T7"/>
                  </a:cxn>
                  <a:cxn ang="0">
                    <a:pos x="T8" y="T9"/>
                  </a:cxn>
                </a:cxnLst>
                <a:rect l="0" t="0" r="r" b="b"/>
                <a:pathLst>
                  <a:path w="41" h="18">
                    <a:moveTo>
                      <a:pt x="41" y="1"/>
                    </a:moveTo>
                    <a:lnTo>
                      <a:pt x="41" y="1"/>
                    </a:lnTo>
                    <a:lnTo>
                      <a:pt x="31" y="0"/>
                    </a:lnTo>
                    <a:cubicBezTo>
                      <a:pt x="23" y="7"/>
                      <a:pt x="0" y="12"/>
                      <a:pt x="6" y="18"/>
                    </a:cubicBezTo>
                    <a:cubicBezTo>
                      <a:pt x="13" y="11"/>
                      <a:pt x="33" y="1"/>
                      <a:pt x="41" y="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3" name="Freeform 2649"/>
              <p:cNvSpPr>
                <a:spLocks/>
              </p:cNvSpPr>
              <p:nvPr/>
            </p:nvSpPr>
            <p:spPr bwMode="auto">
              <a:xfrm>
                <a:off x="2887663" y="4498975"/>
                <a:ext cx="6350" cy="7938"/>
              </a:xfrm>
              <a:custGeom>
                <a:avLst/>
                <a:gdLst>
                  <a:gd name="T0" fmla="*/ 3 w 13"/>
                  <a:gd name="T1" fmla="*/ 8 h 15"/>
                  <a:gd name="T2" fmla="*/ 3 w 13"/>
                  <a:gd name="T3" fmla="*/ 8 h 15"/>
                  <a:gd name="T4" fmla="*/ 10 w 13"/>
                  <a:gd name="T5" fmla="*/ 15 h 15"/>
                  <a:gd name="T6" fmla="*/ 13 w 13"/>
                  <a:gd name="T7" fmla="*/ 0 h 15"/>
                  <a:gd name="T8" fmla="*/ 3 w 13"/>
                  <a:gd name="T9" fmla="*/ 8 h 15"/>
                </a:gdLst>
                <a:ahLst/>
                <a:cxnLst>
                  <a:cxn ang="0">
                    <a:pos x="T0" y="T1"/>
                  </a:cxn>
                  <a:cxn ang="0">
                    <a:pos x="T2" y="T3"/>
                  </a:cxn>
                  <a:cxn ang="0">
                    <a:pos x="T4" y="T5"/>
                  </a:cxn>
                  <a:cxn ang="0">
                    <a:pos x="T6" y="T7"/>
                  </a:cxn>
                  <a:cxn ang="0">
                    <a:pos x="T8" y="T9"/>
                  </a:cxn>
                </a:cxnLst>
                <a:rect l="0" t="0" r="r" b="b"/>
                <a:pathLst>
                  <a:path w="13" h="15">
                    <a:moveTo>
                      <a:pt x="3" y="8"/>
                    </a:moveTo>
                    <a:lnTo>
                      <a:pt x="3" y="8"/>
                    </a:lnTo>
                    <a:cubicBezTo>
                      <a:pt x="0" y="15"/>
                      <a:pt x="5" y="15"/>
                      <a:pt x="10" y="15"/>
                    </a:cubicBezTo>
                    <a:lnTo>
                      <a:pt x="13" y="0"/>
                    </a:lnTo>
                    <a:cubicBezTo>
                      <a:pt x="11" y="3"/>
                      <a:pt x="6" y="8"/>
                      <a:pt x="3" y="8"/>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4" name="Freeform 2650"/>
              <p:cNvSpPr>
                <a:spLocks/>
              </p:cNvSpPr>
              <p:nvPr/>
            </p:nvSpPr>
            <p:spPr bwMode="auto">
              <a:xfrm>
                <a:off x="2895601" y="4481513"/>
                <a:ext cx="20638" cy="23813"/>
              </a:xfrm>
              <a:custGeom>
                <a:avLst/>
                <a:gdLst>
                  <a:gd name="T0" fmla="*/ 31 w 45"/>
                  <a:gd name="T1" fmla="*/ 28 h 52"/>
                  <a:gd name="T2" fmla="*/ 31 w 45"/>
                  <a:gd name="T3" fmla="*/ 28 h 52"/>
                  <a:gd name="T4" fmla="*/ 45 w 45"/>
                  <a:gd name="T5" fmla="*/ 0 h 52"/>
                  <a:gd name="T6" fmla="*/ 0 w 45"/>
                  <a:gd name="T7" fmla="*/ 52 h 52"/>
                  <a:gd name="T8" fmla="*/ 34 w 45"/>
                  <a:gd name="T9" fmla="*/ 21 h 52"/>
                  <a:gd name="T10" fmla="*/ 31 w 45"/>
                  <a:gd name="T11" fmla="*/ 28 h 52"/>
                </a:gdLst>
                <a:ahLst/>
                <a:cxnLst>
                  <a:cxn ang="0">
                    <a:pos x="T0" y="T1"/>
                  </a:cxn>
                  <a:cxn ang="0">
                    <a:pos x="T2" y="T3"/>
                  </a:cxn>
                  <a:cxn ang="0">
                    <a:pos x="T4" y="T5"/>
                  </a:cxn>
                  <a:cxn ang="0">
                    <a:pos x="T6" y="T7"/>
                  </a:cxn>
                  <a:cxn ang="0">
                    <a:pos x="T8" y="T9"/>
                  </a:cxn>
                  <a:cxn ang="0">
                    <a:pos x="T10" y="T11"/>
                  </a:cxn>
                </a:cxnLst>
                <a:rect l="0" t="0" r="r" b="b"/>
                <a:pathLst>
                  <a:path w="45" h="52">
                    <a:moveTo>
                      <a:pt x="31" y="28"/>
                    </a:moveTo>
                    <a:lnTo>
                      <a:pt x="31" y="28"/>
                    </a:lnTo>
                    <a:lnTo>
                      <a:pt x="45" y="0"/>
                    </a:lnTo>
                    <a:cubicBezTo>
                      <a:pt x="20" y="22"/>
                      <a:pt x="21" y="31"/>
                      <a:pt x="0" y="52"/>
                    </a:cubicBezTo>
                    <a:cubicBezTo>
                      <a:pt x="12" y="46"/>
                      <a:pt x="20" y="29"/>
                      <a:pt x="34" y="21"/>
                    </a:cubicBezTo>
                    <a:cubicBezTo>
                      <a:pt x="33" y="23"/>
                      <a:pt x="32" y="26"/>
                      <a:pt x="31" y="28"/>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5" name="Freeform 2651"/>
              <p:cNvSpPr>
                <a:spLocks/>
              </p:cNvSpPr>
              <p:nvPr/>
            </p:nvSpPr>
            <p:spPr bwMode="auto">
              <a:xfrm>
                <a:off x="3035301" y="4233863"/>
                <a:ext cx="11113" cy="44450"/>
              </a:xfrm>
              <a:custGeom>
                <a:avLst/>
                <a:gdLst>
                  <a:gd name="T0" fmla="*/ 14 w 24"/>
                  <a:gd name="T1" fmla="*/ 78 h 96"/>
                  <a:gd name="T2" fmla="*/ 14 w 24"/>
                  <a:gd name="T3" fmla="*/ 78 h 96"/>
                  <a:gd name="T4" fmla="*/ 24 w 24"/>
                  <a:gd name="T5" fmla="*/ 96 h 96"/>
                  <a:gd name="T6" fmla="*/ 23 w 24"/>
                  <a:gd name="T7" fmla="*/ 75 h 96"/>
                  <a:gd name="T8" fmla="*/ 22 w 24"/>
                  <a:gd name="T9" fmla="*/ 55 h 96"/>
                  <a:gd name="T10" fmla="*/ 20 w 24"/>
                  <a:gd name="T11" fmla="*/ 35 h 96"/>
                  <a:gd name="T12" fmla="*/ 17 w 24"/>
                  <a:gd name="T13" fmla="*/ 14 h 96"/>
                  <a:gd name="T14" fmla="*/ 5 w 24"/>
                  <a:gd name="T15" fmla="*/ 11 h 96"/>
                  <a:gd name="T16" fmla="*/ 10 w 24"/>
                  <a:gd name="T17" fmla="*/ 26 h 96"/>
                  <a:gd name="T18" fmla="*/ 15 w 24"/>
                  <a:gd name="T19" fmla="*/ 42 h 96"/>
                  <a:gd name="T20" fmla="*/ 10 w 24"/>
                  <a:gd name="T21" fmla="*/ 38 h 96"/>
                  <a:gd name="T22" fmla="*/ 14 w 24"/>
                  <a:gd name="T2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96">
                    <a:moveTo>
                      <a:pt x="14" y="78"/>
                    </a:moveTo>
                    <a:lnTo>
                      <a:pt x="14" y="78"/>
                    </a:lnTo>
                    <a:cubicBezTo>
                      <a:pt x="21" y="81"/>
                      <a:pt x="20" y="75"/>
                      <a:pt x="24" y="96"/>
                    </a:cubicBezTo>
                    <a:cubicBezTo>
                      <a:pt x="23" y="88"/>
                      <a:pt x="23" y="82"/>
                      <a:pt x="23" y="75"/>
                    </a:cubicBezTo>
                    <a:cubicBezTo>
                      <a:pt x="22" y="68"/>
                      <a:pt x="23" y="61"/>
                      <a:pt x="22" y="55"/>
                    </a:cubicBezTo>
                    <a:cubicBezTo>
                      <a:pt x="21" y="48"/>
                      <a:pt x="21" y="42"/>
                      <a:pt x="20" y="35"/>
                    </a:cubicBezTo>
                    <a:cubicBezTo>
                      <a:pt x="19" y="29"/>
                      <a:pt x="18" y="22"/>
                      <a:pt x="17" y="14"/>
                    </a:cubicBezTo>
                    <a:cubicBezTo>
                      <a:pt x="14" y="20"/>
                      <a:pt x="0" y="0"/>
                      <a:pt x="5" y="11"/>
                    </a:cubicBezTo>
                    <a:cubicBezTo>
                      <a:pt x="8" y="16"/>
                      <a:pt x="9" y="21"/>
                      <a:pt x="10" y="26"/>
                    </a:cubicBezTo>
                    <a:cubicBezTo>
                      <a:pt x="12" y="32"/>
                      <a:pt x="14" y="37"/>
                      <a:pt x="15" y="42"/>
                    </a:cubicBezTo>
                    <a:lnTo>
                      <a:pt x="10" y="38"/>
                    </a:lnTo>
                    <a:cubicBezTo>
                      <a:pt x="5" y="61"/>
                      <a:pt x="19" y="51"/>
                      <a:pt x="14" y="78"/>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176" name="Freeform 2652"/>
              <p:cNvSpPr>
                <a:spLocks/>
              </p:cNvSpPr>
              <p:nvPr/>
            </p:nvSpPr>
            <p:spPr bwMode="auto">
              <a:xfrm>
                <a:off x="2459038" y="3879850"/>
                <a:ext cx="15875" cy="4763"/>
              </a:xfrm>
              <a:custGeom>
                <a:avLst/>
                <a:gdLst>
                  <a:gd name="T0" fmla="*/ 29 w 34"/>
                  <a:gd name="T1" fmla="*/ 11 h 11"/>
                  <a:gd name="T2" fmla="*/ 29 w 34"/>
                  <a:gd name="T3" fmla="*/ 11 h 11"/>
                  <a:gd name="T4" fmla="*/ 24 w 34"/>
                  <a:gd name="T5" fmla="*/ 0 h 11"/>
                  <a:gd name="T6" fmla="*/ 29 w 34"/>
                  <a:gd name="T7" fmla="*/ 11 h 11"/>
                </a:gdLst>
                <a:ahLst/>
                <a:cxnLst>
                  <a:cxn ang="0">
                    <a:pos x="T0" y="T1"/>
                  </a:cxn>
                  <a:cxn ang="0">
                    <a:pos x="T2" y="T3"/>
                  </a:cxn>
                  <a:cxn ang="0">
                    <a:pos x="T4" y="T5"/>
                  </a:cxn>
                  <a:cxn ang="0">
                    <a:pos x="T6" y="T7"/>
                  </a:cxn>
                </a:cxnLst>
                <a:rect l="0" t="0" r="r" b="b"/>
                <a:pathLst>
                  <a:path w="34" h="11">
                    <a:moveTo>
                      <a:pt x="29" y="11"/>
                    </a:moveTo>
                    <a:lnTo>
                      <a:pt x="29" y="11"/>
                    </a:lnTo>
                    <a:cubicBezTo>
                      <a:pt x="34" y="8"/>
                      <a:pt x="29" y="4"/>
                      <a:pt x="24" y="0"/>
                    </a:cubicBezTo>
                    <a:cubicBezTo>
                      <a:pt x="0" y="2"/>
                      <a:pt x="34" y="10"/>
                      <a:pt x="29" y="11"/>
                    </a:cubicBezTo>
                    <a:close/>
                  </a:path>
                </a:pathLst>
              </a:custGeom>
              <a:solidFill>
                <a:srgbClr val="D72137"/>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grpSp>
        <p:sp>
          <p:nvSpPr>
            <p:cNvPr id="19" name="Rectangle 18"/>
            <p:cNvSpPr/>
            <p:nvPr/>
          </p:nvSpPr>
          <p:spPr>
            <a:xfrm>
              <a:off x="1507157" y="5363988"/>
              <a:ext cx="4701974" cy="415732"/>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2194" b="1" dirty="0">
                  <a:solidFill>
                    <a:srgbClr val="575757"/>
                  </a:solidFill>
                  <a:latin typeface="MV Boli" panose="02000500030200090000" pitchFamily="2" charset="0"/>
                  <a:cs typeface="MV Boli" panose="02000500030200090000" pitchFamily="2" charset="0"/>
                </a:rPr>
                <a:t>NEED FOR COORDINATION</a:t>
              </a:r>
            </a:p>
          </p:txBody>
        </p:sp>
        <p:sp>
          <p:nvSpPr>
            <p:cNvPr id="20" name="Rectangle 19"/>
            <p:cNvSpPr/>
            <p:nvPr/>
          </p:nvSpPr>
          <p:spPr>
            <a:xfrm>
              <a:off x="1852375" y="5357340"/>
              <a:ext cx="658806" cy="3759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1646" dirty="0">
                  <a:solidFill>
                    <a:schemeClr val="bg1">
                      <a:lumMod val="65000"/>
                    </a:schemeClr>
                  </a:solidFill>
                  <a:latin typeface="MV Boli" panose="02000500030200090000" pitchFamily="2" charset="0"/>
                  <a:cs typeface="MV Boli" panose="02000500030200090000" pitchFamily="2" charset="0"/>
                </a:rPr>
                <a:t>low</a:t>
              </a:r>
            </a:p>
          </p:txBody>
        </p:sp>
        <p:sp>
          <p:nvSpPr>
            <p:cNvPr id="21" name="Rectangle 20"/>
            <p:cNvSpPr/>
            <p:nvPr/>
          </p:nvSpPr>
          <p:spPr>
            <a:xfrm>
              <a:off x="5186125" y="5357340"/>
              <a:ext cx="658806" cy="3759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5296" tIns="62649" rIns="125296" bIns="62649" numCol="1" spcCol="0" rtlCol="0" fromWordArt="0" anchor="ctr" anchorCtr="0" forceAA="0" compatLnSpc="1">
              <a:prstTxWarp prst="textNoShape">
                <a:avLst/>
              </a:prstTxWarp>
              <a:noAutofit/>
            </a:bodyPr>
            <a:lstStyle/>
            <a:p>
              <a:pPr algn="ctr"/>
              <a:r>
                <a:rPr lang="en-US" sz="1646" dirty="0">
                  <a:solidFill>
                    <a:schemeClr val="bg1">
                      <a:lumMod val="65000"/>
                    </a:schemeClr>
                  </a:solidFill>
                  <a:latin typeface="MV Boli" panose="02000500030200090000" pitchFamily="2" charset="0"/>
                  <a:cs typeface="MV Boli" panose="02000500030200090000" pitchFamily="2" charset="0"/>
                </a:rPr>
                <a:t>high</a:t>
              </a:r>
            </a:p>
          </p:txBody>
        </p:sp>
        <p:sp>
          <p:nvSpPr>
            <p:cNvPr id="22" name="Freeform 91"/>
            <p:cNvSpPr>
              <a:spLocks/>
            </p:cNvSpPr>
            <p:nvPr/>
          </p:nvSpPr>
          <p:spPr bwMode="auto">
            <a:xfrm rot="5400000" flipH="1">
              <a:off x="4758334" y="5596060"/>
              <a:ext cx="1078" cy="0"/>
            </a:xfrm>
            <a:custGeom>
              <a:avLst/>
              <a:gdLst>
                <a:gd name="T0" fmla="*/ 2 w 2"/>
                <a:gd name="T1" fmla="*/ 1 h 1"/>
                <a:gd name="T2" fmla="*/ 2 w 2"/>
                <a:gd name="T3" fmla="*/ 1 h 1"/>
                <a:gd name="T4" fmla="*/ 0 w 2"/>
                <a:gd name="T5" fmla="*/ 1 h 1"/>
                <a:gd name="T6" fmla="*/ 2 w 2"/>
                <a:gd name="T7" fmla="*/ 1 h 1"/>
              </a:gdLst>
              <a:ahLst/>
              <a:cxnLst>
                <a:cxn ang="0">
                  <a:pos x="T0" y="T1"/>
                </a:cxn>
                <a:cxn ang="0">
                  <a:pos x="T2" y="T3"/>
                </a:cxn>
                <a:cxn ang="0">
                  <a:pos x="T4" y="T5"/>
                </a:cxn>
                <a:cxn ang="0">
                  <a:pos x="T6" y="T7"/>
                </a:cxn>
              </a:cxnLst>
              <a:rect l="0" t="0" r="r" b="b"/>
              <a:pathLst>
                <a:path w="2" h="1">
                  <a:moveTo>
                    <a:pt x="2" y="1"/>
                  </a:moveTo>
                  <a:lnTo>
                    <a:pt x="2" y="1"/>
                  </a:lnTo>
                  <a:cubicBezTo>
                    <a:pt x="2" y="1"/>
                    <a:pt x="1" y="0"/>
                    <a:pt x="0" y="1"/>
                  </a:cubicBezTo>
                  <a:cubicBezTo>
                    <a:pt x="1" y="1"/>
                    <a:pt x="2" y="1"/>
                    <a:pt x="2"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3" name="Freeform 92"/>
            <p:cNvSpPr>
              <a:spLocks/>
            </p:cNvSpPr>
            <p:nvPr/>
          </p:nvSpPr>
          <p:spPr bwMode="auto">
            <a:xfrm rot="5400000" flipH="1">
              <a:off x="4728686" y="5594443"/>
              <a:ext cx="0" cy="0"/>
            </a:xfrm>
            <a:custGeom>
              <a:avLst/>
              <a:gdLst>
                <a:gd name="T0" fmla="*/ 1 w 1"/>
                <a:gd name="T1" fmla="*/ 2 h 2"/>
                <a:gd name="T2" fmla="*/ 1 w 1"/>
                <a:gd name="T3" fmla="*/ 2 h 2"/>
                <a:gd name="T4" fmla="*/ 0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lnTo>
                    <a:pt x="0" y="0"/>
                  </a:lnTo>
                  <a:cubicBezTo>
                    <a:pt x="0" y="1"/>
                    <a:pt x="0" y="2"/>
                    <a:pt x="1" y="2"/>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4" name="Freeform 93"/>
            <p:cNvSpPr>
              <a:spLocks/>
            </p:cNvSpPr>
            <p:nvPr/>
          </p:nvSpPr>
          <p:spPr bwMode="auto">
            <a:xfrm rot="5400000" flipH="1">
              <a:off x="4777741" y="5597138"/>
              <a:ext cx="0" cy="1078"/>
            </a:xfrm>
            <a:custGeom>
              <a:avLst/>
              <a:gdLst>
                <a:gd name="T0" fmla="*/ 5 h 5"/>
                <a:gd name="T1" fmla="*/ 5 h 5"/>
                <a:gd name="T2" fmla="*/ 5 h 5"/>
                <a:gd name="T3" fmla="*/ 0 h 5"/>
                <a:gd name="T4" fmla="*/ 5 h 5"/>
              </a:gdLst>
              <a:ahLst/>
              <a:cxnLst>
                <a:cxn ang="0">
                  <a:pos x="0" y="T0"/>
                </a:cxn>
                <a:cxn ang="0">
                  <a:pos x="0" y="T1"/>
                </a:cxn>
                <a:cxn ang="0">
                  <a:pos x="0" y="T2"/>
                </a:cxn>
                <a:cxn ang="0">
                  <a:pos x="0" y="T3"/>
                </a:cxn>
                <a:cxn ang="0">
                  <a:pos x="0" y="T4"/>
                </a:cxn>
              </a:cxnLst>
              <a:rect l="0" t="0" r="r" b="b"/>
              <a:pathLst>
                <a:path h="5">
                  <a:moveTo>
                    <a:pt x="0" y="5"/>
                  </a:moveTo>
                  <a:lnTo>
                    <a:pt x="0" y="5"/>
                  </a:lnTo>
                  <a:cubicBezTo>
                    <a:pt x="0" y="5"/>
                    <a:pt x="0" y="5"/>
                    <a:pt x="0" y="5"/>
                  </a:cubicBezTo>
                  <a:cubicBezTo>
                    <a:pt x="0" y="4"/>
                    <a:pt x="0" y="2"/>
                    <a:pt x="0" y="0"/>
                  </a:cubicBezTo>
                  <a:lnTo>
                    <a:pt x="0" y="5"/>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5" name="Freeform 94"/>
            <p:cNvSpPr>
              <a:spLocks/>
            </p:cNvSpPr>
            <p:nvPr/>
          </p:nvSpPr>
          <p:spPr bwMode="auto">
            <a:xfrm rot="5400000" flipH="1">
              <a:off x="4663997" y="5593365"/>
              <a:ext cx="0" cy="0"/>
            </a:xfrm>
            <a:custGeom>
              <a:avLst/>
              <a:gdLst>
                <a:gd name="T0" fmla="*/ 1 w 1"/>
                <a:gd name="T1" fmla="*/ 2 h 2"/>
                <a:gd name="T2" fmla="*/ 1 w 1"/>
                <a:gd name="T3" fmla="*/ 2 h 2"/>
                <a:gd name="T4" fmla="*/ 1 w 1"/>
                <a:gd name="T5" fmla="*/ 0 h 2"/>
                <a:gd name="T6" fmla="*/ 1 w 1"/>
                <a:gd name="T7" fmla="*/ 2 h 2"/>
              </a:gdLst>
              <a:ahLst/>
              <a:cxnLst>
                <a:cxn ang="0">
                  <a:pos x="T0" y="T1"/>
                </a:cxn>
                <a:cxn ang="0">
                  <a:pos x="T2" y="T3"/>
                </a:cxn>
                <a:cxn ang="0">
                  <a:pos x="T4" y="T5"/>
                </a:cxn>
                <a:cxn ang="0">
                  <a:pos x="T6" y="T7"/>
                </a:cxn>
              </a:cxnLst>
              <a:rect l="0" t="0" r="r" b="b"/>
              <a:pathLst>
                <a:path w="1" h="2">
                  <a:moveTo>
                    <a:pt x="1" y="2"/>
                  </a:moveTo>
                  <a:lnTo>
                    <a:pt x="1" y="2"/>
                  </a:lnTo>
                  <a:lnTo>
                    <a:pt x="1" y="0"/>
                  </a:lnTo>
                  <a:cubicBezTo>
                    <a:pt x="1" y="1"/>
                    <a:pt x="0" y="2"/>
                    <a:pt x="1" y="2"/>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6" name="Freeform 95"/>
            <p:cNvSpPr>
              <a:spLocks/>
            </p:cNvSpPr>
            <p:nvPr/>
          </p:nvSpPr>
          <p:spPr bwMode="auto">
            <a:xfrm rot="5400000" flipH="1">
              <a:off x="4701732" y="5593365"/>
              <a:ext cx="0" cy="0"/>
            </a:xfrm>
            <a:custGeom>
              <a:avLst/>
              <a:gdLst>
                <a:gd name="T0" fmla="*/ 0 w 1"/>
                <a:gd name="T1" fmla="*/ 0 h 3"/>
                <a:gd name="T2" fmla="*/ 0 w 1"/>
                <a:gd name="T3" fmla="*/ 0 h 3"/>
                <a:gd name="T4" fmla="*/ 1 w 1"/>
                <a:gd name="T5" fmla="*/ 3 h 3"/>
                <a:gd name="T6" fmla="*/ 0 w 1"/>
                <a:gd name="T7" fmla="*/ 0 h 3"/>
              </a:gdLst>
              <a:ahLst/>
              <a:cxnLst>
                <a:cxn ang="0">
                  <a:pos x="T0" y="T1"/>
                </a:cxn>
                <a:cxn ang="0">
                  <a:pos x="T2" y="T3"/>
                </a:cxn>
                <a:cxn ang="0">
                  <a:pos x="T4" y="T5"/>
                </a:cxn>
                <a:cxn ang="0">
                  <a:pos x="T6" y="T7"/>
                </a:cxn>
              </a:cxnLst>
              <a:rect l="0" t="0" r="r" b="b"/>
              <a:pathLst>
                <a:path w="1" h="3">
                  <a:moveTo>
                    <a:pt x="0" y="0"/>
                  </a:moveTo>
                  <a:lnTo>
                    <a:pt x="0" y="0"/>
                  </a:lnTo>
                  <a:cubicBezTo>
                    <a:pt x="1" y="1"/>
                    <a:pt x="1" y="2"/>
                    <a:pt x="1" y="3"/>
                  </a:cubicBezTo>
                  <a:cubicBezTo>
                    <a:pt x="1" y="1"/>
                    <a:pt x="1"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7" name="Freeform 96"/>
            <p:cNvSpPr>
              <a:spLocks/>
            </p:cNvSpPr>
            <p:nvPr/>
          </p:nvSpPr>
          <p:spPr bwMode="auto">
            <a:xfrm rot="5400000" flipH="1">
              <a:off x="4786905" y="5590130"/>
              <a:ext cx="1078" cy="1078"/>
            </a:xfrm>
            <a:custGeom>
              <a:avLst/>
              <a:gdLst>
                <a:gd name="T0" fmla="*/ 2 w 2"/>
                <a:gd name="T1" fmla="*/ 0 h 2"/>
                <a:gd name="T2" fmla="*/ 2 w 2"/>
                <a:gd name="T3" fmla="*/ 0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2" y="0"/>
                  </a:lnTo>
                  <a:lnTo>
                    <a:pt x="0" y="2"/>
                  </a:lnTo>
                  <a:cubicBezTo>
                    <a:pt x="1" y="2"/>
                    <a:pt x="2" y="1"/>
                    <a:pt x="2"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8" name="Freeform 97"/>
            <p:cNvSpPr>
              <a:spLocks/>
            </p:cNvSpPr>
            <p:nvPr/>
          </p:nvSpPr>
          <p:spPr bwMode="auto">
            <a:xfrm rot="5400000" flipH="1">
              <a:off x="4805234" y="5596599"/>
              <a:ext cx="0" cy="0"/>
            </a:xfrm>
            <a:custGeom>
              <a:avLst/>
              <a:gdLst/>
              <a:ahLst/>
              <a:cxnLst>
                <a:cxn ang="0">
                  <a:pos x="0" y="0"/>
                </a:cxn>
                <a:cxn ang="0">
                  <a:pos x="0" y="0"/>
                </a:cxn>
                <a:cxn ang="0">
                  <a:pos x="0" y="0"/>
                </a:cxn>
                <a:cxn ang="0">
                  <a:pos x="0" y="0"/>
                </a:cxn>
              </a:cxnLst>
              <a:rect l="0" t="0" r="r" b="b"/>
              <a:pathLst>
                <a:path>
                  <a:moveTo>
                    <a:pt x="0" y="0"/>
                  </a:moveTo>
                  <a:lnTo>
                    <a:pt x="0" y="0"/>
                  </a:lnTo>
                  <a:cubicBezTo>
                    <a:pt x="0" y="0"/>
                    <a:pt x="0" y="0"/>
                    <a:pt x="0" y="0"/>
                  </a:cubicBezTo>
                  <a:cubicBezTo>
                    <a:pt x="0" y="0"/>
                    <a:pt x="0"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29" name="Freeform 98"/>
            <p:cNvSpPr>
              <a:spLocks/>
            </p:cNvSpPr>
            <p:nvPr/>
          </p:nvSpPr>
          <p:spPr bwMode="auto">
            <a:xfrm rot="5400000" flipH="1">
              <a:off x="4797148" y="5597138"/>
              <a:ext cx="1078" cy="0"/>
            </a:xfrm>
            <a:custGeom>
              <a:avLst/>
              <a:gdLst>
                <a:gd name="T0" fmla="*/ 0 w 2"/>
                <a:gd name="T1" fmla="*/ 0 h 2"/>
                <a:gd name="T2" fmla="*/ 0 w 2"/>
                <a:gd name="T3" fmla="*/ 0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0"/>
                  </a:lnTo>
                  <a:cubicBezTo>
                    <a:pt x="1" y="0"/>
                    <a:pt x="1" y="1"/>
                    <a:pt x="2" y="2"/>
                  </a:cubicBezTo>
                  <a:cubicBezTo>
                    <a:pt x="1" y="1"/>
                    <a:pt x="1"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0" name="Freeform 99"/>
            <p:cNvSpPr>
              <a:spLocks/>
            </p:cNvSpPr>
            <p:nvPr/>
          </p:nvSpPr>
          <p:spPr bwMode="auto">
            <a:xfrm rot="5400000" flipH="1">
              <a:off x="4797687" y="5596599"/>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lnTo>
                    <a:pt x="0" y="0"/>
                  </a:lnTo>
                  <a:cubicBezTo>
                    <a:pt x="0" y="0"/>
                    <a:pt x="0" y="1"/>
                    <a:pt x="1"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1" name="Freeform 100"/>
            <p:cNvSpPr>
              <a:spLocks/>
            </p:cNvSpPr>
            <p:nvPr/>
          </p:nvSpPr>
          <p:spPr bwMode="auto">
            <a:xfrm rot="5400000" flipH="1">
              <a:off x="4426805" y="5597677"/>
              <a:ext cx="1078" cy="1078"/>
            </a:xfrm>
            <a:custGeom>
              <a:avLst/>
              <a:gdLst>
                <a:gd name="T0" fmla="*/ 0 w 3"/>
                <a:gd name="T1" fmla="*/ 0 h 6"/>
                <a:gd name="T2" fmla="*/ 0 w 3"/>
                <a:gd name="T3" fmla="*/ 0 h 6"/>
                <a:gd name="T4" fmla="*/ 3 w 3"/>
                <a:gd name="T5" fmla="*/ 6 h 6"/>
                <a:gd name="T6" fmla="*/ 0 w 3"/>
                <a:gd name="T7" fmla="*/ 0 h 6"/>
              </a:gdLst>
              <a:ahLst/>
              <a:cxnLst>
                <a:cxn ang="0">
                  <a:pos x="T0" y="T1"/>
                </a:cxn>
                <a:cxn ang="0">
                  <a:pos x="T2" y="T3"/>
                </a:cxn>
                <a:cxn ang="0">
                  <a:pos x="T4" y="T5"/>
                </a:cxn>
                <a:cxn ang="0">
                  <a:pos x="T6" y="T7"/>
                </a:cxn>
              </a:cxnLst>
              <a:rect l="0" t="0" r="r" b="b"/>
              <a:pathLst>
                <a:path w="3" h="6">
                  <a:moveTo>
                    <a:pt x="0" y="0"/>
                  </a:moveTo>
                  <a:lnTo>
                    <a:pt x="0" y="0"/>
                  </a:lnTo>
                  <a:cubicBezTo>
                    <a:pt x="0" y="2"/>
                    <a:pt x="2" y="4"/>
                    <a:pt x="3" y="6"/>
                  </a:cubicBezTo>
                  <a:lnTo>
                    <a:pt x="0" y="0"/>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2" name="Freeform 101"/>
            <p:cNvSpPr>
              <a:spLocks/>
            </p:cNvSpPr>
            <p:nvPr/>
          </p:nvSpPr>
          <p:spPr bwMode="auto">
            <a:xfrm rot="5400000" flipH="1">
              <a:off x="4605777" y="5595521"/>
              <a:ext cx="0"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lnTo>
                    <a:pt x="0" y="0"/>
                  </a:lnTo>
                  <a:cubicBezTo>
                    <a:pt x="0" y="1"/>
                    <a:pt x="0" y="1"/>
                    <a:pt x="1"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3" name="Freeform 102"/>
            <p:cNvSpPr>
              <a:spLocks/>
            </p:cNvSpPr>
            <p:nvPr/>
          </p:nvSpPr>
          <p:spPr bwMode="auto">
            <a:xfrm rot="5400000" flipH="1">
              <a:off x="4427344" y="5592825"/>
              <a:ext cx="0" cy="1078"/>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4" name="Freeform 103"/>
            <p:cNvSpPr>
              <a:spLocks/>
            </p:cNvSpPr>
            <p:nvPr/>
          </p:nvSpPr>
          <p:spPr bwMode="auto">
            <a:xfrm rot="5400000" flipH="1">
              <a:off x="4777741" y="5586357"/>
              <a:ext cx="0" cy="1078"/>
            </a:xfrm>
            <a:custGeom>
              <a:avLst/>
              <a:gdLst>
                <a:gd name="T0" fmla="*/ 0 w 4"/>
                <a:gd name="T1" fmla="*/ 0 h 7"/>
                <a:gd name="T2" fmla="*/ 0 w 4"/>
                <a:gd name="T3" fmla="*/ 0 h 7"/>
                <a:gd name="T4" fmla="*/ 3 w 4"/>
                <a:gd name="T5" fmla="*/ 7 h 7"/>
                <a:gd name="T6" fmla="*/ 0 w 4"/>
                <a:gd name="T7" fmla="*/ 0 h 7"/>
              </a:gdLst>
              <a:ahLst/>
              <a:cxnLst>
                <a:cxn ang="0">
                  <a:pos x="T0" y="T1"/>
                </a:cxn>
                <a:cxn ang="0">
                  <a:pos x="T2" y="T3"/>
                </a:cxn>
                <a:cxn ang="0">
                  <a:pos x="T4" y="T5"/>
                </a:cxn>
                <a:cxn ang="0">
                  <a:pos x="T6" y="T7"/>
                </a:cxn>
              </a:cxnLst>
              <a:rect l="0" t="0" r="r" b="b"/>
              <a:pathLst>
                <a:path w="4" h="7">
                  <a:moveTo>
                    <a:pt x="0" y="0"/>
                  </a:moveTo>
                  <a:lnTo>
                    <a:pt x="0" y="0"/>
                  </a:lnTo>
                  <a:cubicBezTo>
                    <a:pt x="3" y="2"/>
                    <a:pt x="1" y="7"/>
                    <a:pt x="3" y="7"/>
                  </a:cubicBezTo>
                  <a:cubicBezTo>
                    <a:pt x="2" y="4"/>
                    <a:pt x="4"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5" name="Freeform 104"/>
            <p:cNvSpPr>
              <a:spLocks/>
            </p:cNvSpPr>
            <p:nvPr/>
          </p:nvSpPr>
          <p:spPr bwMode="auto">
            <a:xfrm rot="5400000" flipH="1">
              <a:off x="4592300" y="5573419"/>
              <a:ext cx="0" cy="1078"/>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cubicBezTo>
                    <a:pt x="0" y="1"/>
                    <a:pt x="0"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6" name="Freeform 105"/>
            <p:cNvSpPr>
              <a:spLocks/>
            </p:cNvSpPr>
            <p:nvPr/>
          </p:nvSpPr>
          <p:spPr bwMode="auto">
            <a:xfrm rot="5400000" flipH="1">
              <a:off x="4427884" y="5593365"/>
              <a:ext cx="0" cy="0"/>
            </a:xfrm>
            <a:custGeom>
              <a:avLst/>
              <a:gdLst>
                <a:gd name="T0" fmla="*/ 0 w 1"/>
                <a:gd name="T1" fmla="*/ 1 h 1"/>
                <a:gd name="T2" fmla="*/ 0 w 1"/>
                <a:gd name="T3" fmla="*/ 1 h 1"/>
                <a:gd name="T4" fmla="*/ 1 w 1"/>
                <a:gd name="T5" fmla="*/ 0 h 1"/>
                <a:gd name="T6" fmla="*/ 0 w 1"/>
                <a:gd name="T7" fmla="*/ 0 h 1"/>
                <a:gd name="T8" fmla="*/ 0 w 1"/>
                <a:gd name="T9" fmla="*/ 1 h 1"/>
              </a:gdLst>
              <a:ahLst/>
              <a:cxnLst>
                <a:cxn ang="0">
                  <a:pos x="T0" y="T1"/>
                </a:cxn>
                <a:cxn ang="0">
                  <a:pos x="T2" y="T3"/>
                </a:cxn>
                <a:cxn ang="0">
                  <a:pos x="T4" y="T5"/>
                </a:cxn>
                <a:cxn ang="0">
                  <a:pos x="T6" y="T7"/>
                </a:cxn>
                <a:cxn ang="0">
                  <a:pos x="T8" y="T9"/>
                </a:cxn>
              </a:cxnLst>
              <a:rect l="0" t="0" r="r" b="b"/>
              <a:pathLst>
                <a:path w="1" h="1">
                  <a:moveTo>
                    <a:pt x="0" y="1"/>
                  </a:moveTo>
                  <a:lnTo>
                    <a:pt x="0" y="1"/>
                  </a:lnTo>
                  <a:lnTo>
                    <a:pt x="1" y="0"/>
                  </a:lnTo>
                  <a:cubicBezTo>
                    <a:pt x="0" y="0"/>
                    <a:pt x="0" y="0"/>
                    <a:pt x="0" y="0"/>
                  </a:cubicBezTo>
                  <a:cubicBezTo>
                    <a:pt x="0" y="1"/>
                    <a:pt x="0" y="1"/>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7" name="Freeform 106"/>
            <p:cNvSpPr>
              <a:spLocks/>
            </p:cNvSpPr>
            <p:nvPr/>
          </p:nvSpPr>
          <p:spPr bwMode="auto">
            <a:xfrm rot="5400000" flipH="1">
              <a:off x="4544323" y="5597677"/>
              <a:ext cx="0" cy="0"/>
            </a:xfrm>
            <a:custGeom>
              <a:avLst/>
              <a:gdLst>
                <a:gd name="T0" fmla="*/ 1 h 1"/>
                <a:gd name="T1" fmla="*/ 1 h 1"/>
                <a:gd name="T2" fmla="*/ 1 h 1"/>
                <a:gd name="T3" fmla="*/ 0 h 1"/>
                <a:gd name="T4" fmla="*/ 1 h 1"/>
              </a:gdLst>
              <a:ahLst/>
              <a:cxnLst>
                <a:cxn ang="0">
                  <a:pos x="0" y="T0"/>
                </a:cxn>
                <a:cxn ang="0">
                  <a:pos x="0" y="T1"/>
                </a:cxn>
                <a:cxn ang="0">
                  <a:pos x="0" y="T2"/>
                </a:cxn>
                <a:cxn ang="0">
                  <a:pos x="0" y="T3"/>
                </a:cxn>
                <a:cxn ang="0">
                  <a:pos x="0" y="T4"/>
                </a:cxn>
              </a:cxnLst>
              <a:rect l="0" t="0" r="r" b="b"/>
              <a:pathLst>
                <a:path h="1">
                  <a:moveTo>
                    <a:pt x="0" y="1"/>
                  </a:moveTo>
                  <a:lnTo>
                    <a:pt x="0" y="1"/>
                  </a:lnTo>
                  <a:lnTo>
                    <a:pt x="0" y="1"/>
                  </a:lnTo>
                  <a:cubicBezTo>
                    <a:pt x="0" y="1"/>
                    <a:pt x="0" y="1"/>
                    <a:pt x="0" y="0"/>
                  </a:cubicBezTo>
                  <a:lnTo>
                    <a:pt x="0" y="1"/>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8" name="Freeform 107"/>
            <p:cNvSpPr>
              <a:spLocks/>
            </p:cNvSpPr>
            <p:nvPr/>
          </p:nvSpPr>
          <p:spPr bwMode="auto">
            <a:xfrm rot="5400000" flipH="1">
              <a:off x="4541628" y="5598217"/>
              <a:ext cx="0" cy="1078"/>
            </a:xfrm>
            <a:custGeom>
              <a:avLst/>
              <a:gdLst>
                <a:gd name="T0" fmla="*/ 1 w 1"/>
                <a:gd name="T1" fmla="*/ 3 h 3"/>
                <a:gd name="T2" fmla="*/ 1 w 1"/>
                <a:gd name="T3" fmla="*/ 3 h 3"/>
                <a:gd name="T4" fmla="*/ 0 w 1"/>
                <a:gd name="T5" fmla="*/ 0 h 3"/>
                <a:gd name="T6" fmla="*/ 1 w 1"/>
                <a:gd name="T7" fmla="*/ 3 h 3"/>
              </a:gdLst>
              <a:ahLst/>
              <a:cxnLst>
                <a:cxn ang="0">
                  <a:pos x="T0" y="T1"/>
                </a:cxn>
                <a:cxn ang="0">
                  <a:pos x="T2" y="T3"/>
                </a:cxn>
                <a:cxn ang="0">
                  <a:pos x="T4" y="T5"/>
                </a:cxn>
                <a:cxn ang="0">
                  <a:pos x="T6" y="T7"/>
                </a:cxn>
              </a:cxnLst>
              <a:rect l="0" t="0" r="r" b="b"/>
              <a:pathLst>
                <a:path w="1" h="3">
                  <a:moveTo>
                    <a:pt x="1" y="3"/>
                  </a:moveTo>
                  <a:lnTo>
                    <a:pt x="1" y="3"/>
                  </a:lnTo>
                  <a:cubicBezTo>
                    <a:pt x="0" y="2"/>
                    <a:pt x="0" y="2"/>
                    <a:pt x="0" y="0"/>
                  </a:cubicBezTo>
                  <a:cubicBezTo>
                    <a:pt x="0" y="2"/>
                    <a:pt x="0" y="3"/>
                    <a:pt x="1" y="3"/>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39" name="Freeform 108"/>
            <p:cNvSpPr>
              <a:spLocks/>
            </p:cNvSpPr>
            <p:nvPr/>
          </p:nvSpPr>
          <p:spPr bwMode="auto">
            <a:xfrm rot="5400000" flipH="1">
              <a:off x="4426266" y="5597138"/>
              <a:ext cx="0" cy="1078"/>
            </a:xfrm>
            <a:custGeom>
              <a:avLst/>
              <a:gdLst>
                <a:gd name="T0" fmla="*/ 0 w 2"/>
                <a:gd name="T1" fmla="*/ 0 h 4"/>
                <a:gd name="T2" fmla="*/ 0 w 2"/>
                <a:gd name="T3" fmla="*/ 0 h 4"/>
                <a:gd name="T4" fmla="*/ 2 w 2"/>
                <a:gd name="T5" fmla="*/ 4 h 4"/>
                <a:gd name="T6" fmla="*/ 0 w 2"/>
                <a:gd name="T7" fmla="*/ 0 h 4"/>
              </a:gdLst>
              <a:ahLst/>
              <a:cxnLst>
                <a:cxn ang="0">
                  <a:pos x="T0" y="T1"/>
                </a:cxn>
                <a:cxn ang="0">
                  <a:pos x="T2" y="T3"/>
                </a:cxn>
                <a:cxn ang="0">
                  <a:pos x="T4" y="T5"/>
                </a:cxn>
                <a:cxn ang="0">
                  <a:pos x="T6" y="T7"/>
                </a:cxn>
              </a:cxnLst>
              <a:rect l="0" t="0" r="r" b="b"/>
              <a:pathLst>
                <a:path w="2" h="4">
                  <a:moveTo>
                    <a:pt x="0" y="0"/>
                  </a:moveTo>
                  <a:lnTo>
                    <a:pt x="0" y="0"/>
                  </a:lnTo>
                  <a:lnTo>
                    <a:pt x="2" y="4"/>
                  </a:lnTo>
                  <a:cubicBezTo>
                    <a:pt x="2" y="2"/>
                    <a:pt x="1"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0" name="Freeform 109"/>
            <p:cNvSpPr>
              <a:spLocks/>
            </p:cNvSpPr>
            <p:nvPr/>
          </p:nvSpPr>
          <p:spPr bwMode="auto">
            <a:xfrm rot="5400000" flipH="1">
              <a:off x="4506049" y="5599294"/>
              <a:ext cx="1078"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0" y="1"/>
                    <a:pt x="0" y="0"/>
                    <a:pt x="0" y="0"/>
                  </a:cubicBezTo>
                  <a:cubicBezTo>
                    <a:pt x="0" y="0"/>
                    <a:pt x="0" y="1"/>
                    <a:pt x="1"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1" name="Freeform 110"/>
            <p:cNvSpPr>
              <a:spLocks/>
            </p:cNvSpPr>
            <p:nvPr/>
          </p:nvSpPr>
          <p:spPr bwMode="auto">
            <a:xfrm rot="5400000" flipH="1">
              <a:off x="4704966" y="5593365"/>
              <a:ext cx="0" cy="0"/>
            </a:xfrm>
            <a:custGeom>
              <a:avLst/>
              <a:gdLst>
                <a:gd name="T0" fmla="*/ 1 w 1"/>
                <a:gd name="T1" fmla="*/ 1 h 1"/>
                <a:gd name="T2" fmla="*/ 1 w 1"/>
                <a:gd name="T3" fmla="*/ 1 h 1"/>
                <a:gd name="T4" fmla="*/ 1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cubicBezTo>
                    <a:pt x="1" y="1"/>
                    <a:pt x="1" y="0"/>
                    <a:pt x="1" y="0"/>
                  </a:cubicBezTo>
                  <a:cubicBezTo>
                    <a:pt x="1" y="0"/>
                    <a:pt x="0" y="0"/>
                    <a:pt x="1"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2" name="Rectangle 111"/>
            <p:cNvSpPr>
              <a:spLocks noChangeArrowheads="1"/>
            </p:cNvSpPr>
            <p:nvPr/>
          </p:nvSpPr>
          <p:spPr bwMode="auto">
            <a:xfrm rot="5400000" flipH="1">
              <a:off x="4680169" y="5575036"/>
              <a:ext cx="1078" cy="1078"/>
            </a:xfrm>
            <a:prstGeom prst="rect">
              <a:avLst/>
            </a:prstGeom>
            <a:solidFill>
              <a:srgbClr val="C8C8C8"/>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3" name="Freeform 112"/>
            <p:cNvSpPr>
              <a:spLocks/>
            </p:cNvSpPr>
            <p:nvPr/>
          </p:nvSpPr>
          <p:spPr bwMode="auto">
            <a:xfrm rot="5400000" flipH="1">
              <a:off x="4681247" y="5576114"/>
              <a:ext cx="1078" cy="1078"/>
            </a:xfrm>
            <a:custGeom>
              <a:avLst/>
              <a:gdLst>
                <a:gd name="T0" fmla="*/ 1 w 4"/>
                <a:gd name="T1" fmla="*/ 0 h 5"/>
                <a:gd name="T2" fmla="*/ 1 w 4"/>
                <a:gd name="T3" fmla="*/ 0 h 5"/>
                <a:gd name="T4" fmla="*/ 4 w 4"/>
                <a:gd name="T5" fmla="*/ 5 h 5"/>
                <a:gd name="T6" fmla="*/ 1 w 4"/>
                <a:gd name="T7" fmla="*/ 0 h 5"/>
              </a:gdLst>
              <a:ahLst/>
              <a:cxnLst>
                <a:cxn ang="0">
                  <a:pos x="T0" y="T1"/>
                </a:cxn>
                <a:cxn ang="0">
                  <a:pos x="T2" y="T3"/>
                </a:cxn>
                <a:cxn ang="0">
                  <a:pos x="T4" y="T5"/>
                </a:cxn>
                <a:cxn ang="0">
                  <a:pos x="T6" y="T7"/>
                </a:cxn>
              </a:cxnLst>
              <a:rect l="0" t="0" r="r" b="b"/>
              <a:pathLst>
                <a:path w="4" h="5">
                  <a:moveTo>
                    <a:pt x="1" y="0"/>
                  </a:moveTo>
                  <a:lnTo>
                    <a:pt x="1" y="0"/>
                  </a:lnTo>
                  <a:cubicBezTo>
                    <a:pt x="0" y="1"/>
                    <a:pt x="2" y="4"/>
                    <a:pt x="4" y="5"/>
                  </a:cubicBezTo>
                  <a:cubicBezTo>
                    <a:pt x="4" y="3"/>
                    <a:pt x="3" y="2"/>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4" name="Freeform 113"/>
            <p:cNvSpPr>
              <a:spLocks/>
            </p:cNvSpPr>
            <p:nvPr/>
          </p:nvSpPr>
          <p:spPr bwMode="auto">
            <a:xfrm rot="5400000" flipH="1">
              <a:off x="4678552" y="5576654"/>
              <a:ext cx="0" cy="1078"/>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lnTo>
                    <a:pt x="0" y="1"/>
                  </a:lnTo>
                  <a:cubicBezTo>
                    <a:pt x="0" y="0"/>
                    <a:pt x="0" y="0"/>
                    <a:pt x="0" y="0"/>
                  </a:cubicBezTo>
                  <a:cubicBezTo>
                    <a:pt x="0" y="0"/>
                    <a:pt x="0" y="0"/>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5" name="Rectangle 114"/>
            <p:cNvSpPr>
              <a:spLocks noChangeArrowheads="1"/>
            </p:cNvSpPr>
            <p:nvPr/>
          </p:nvSpPr>
          <p:spPr bwMode="auto">
            <a:xfrm rot="5400000" flipH="1">
              <a:off x="4703888" y="5576114"/>
              <a:ext cx="1078" cy="1078"/>
            </a:xfrm>
            <a:prstGeom prst="rect">
              <a:avLst/>
            </a:prstGeom>
            <a:solidFill>
              <a:srgbClr val="C8C8C8"/>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6" name="Freeform 115"/>
            <p:cNvSpPr>
              <a:spLocks/>
            </p:cNvSpPr>
            <p:nvPr/>
          </p:nvSpPr>
          <p:spPr bwMode="auto">
            <a:xfrm rot="5400000" flipH="1">
              <a:off x="4699037" y="5576654"/>
              <a:ext cx="1078" cy="0"/>
            </a:xfrm>
            <a:custGeom>
              <a:avLst/>
              <a:gdLst>
                <a:gd name="T0" fmla="*/ 1 w 1"/>
                <a:gd name="T1" fmla="*/ 0 h 2"/>
                <a:gd name="T2" fmla="*/ 1 w 1"/>
                <a:gd name="T3" fmla="*/ 0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lnTo>
                    <a:pt x="1" y="0"/>
                  </a:lnTo>
                  <a:cubicBezTo>
                    <a:pt x="0" y="1"/>
                    <a:pt x="0" y="1"/>
                    <a:pt x="0" y="2"/>
                  </a:cubicBezTo>
                  <a:cubicBezTo>
                    <a:pt x="0" y="1"/>
                    <a:pt x="1" y="1"/>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7" name="Rectangle 116"/>
            <p:cNvSpPr>
              <a:spLocks noChangeArrowheads="1"/>
            </p:cNvSpPr>
            <p:nvPr/>
          </p:nvSpPr>
          <p:spPr bwMode="auto">
            <a:xfrm rot="5400000" flipH="1">
              <a:off x="4663997" y="5573958"/>
              <a:ext cx="1078" cy="1078"/>
            </a:xfrm>
            <a:prstGeom prst="rect">
              <a:avLst/>
            </a:prstGeom>
            <a:solidFill>
              <a:srgbClr val="C8C8C8"/>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8" name="Freeform 118"/>
            <p:cNvSpPr>
              <a:spLocks/>
            </p:cNvSpPr>
            <p:nvPr/>
          </p:nvSpPr>
          <p:spPr bwMode="auto">
            <a:xfrm rot="5400000" flipH="1">
              <a:off x="4703888" y="5576114"/>
              <a:ext cx="1078" cy="1078"/>
            </a:xfrm>
            <a:custGeom>
              <a:avLst/>
              <a:gdLst>
                <a:gd name="T0" fmla="*/ 0 w 3"/>
                <a:gd name="T1" fmla="*/ 0 h 4"/>
                <a:gd name="T2" fmla="*/ 0 w 3"/>
                <a:gd name="T3" fmla="*/ 0 h 4"/>
                <a:gd name="T4" fmla="*/ 0 w 3"/>
                <a:gd name="T5" fmla="*/ 2 h 4"/>
                <a:gd name="T6" fmla="*/ 3 w 3"/>
                <a:gd name="T7" fmla="*/ 4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lnTo>
                    <a:pt x="0" y="0"/>
                  </a:lnTo>
                  <a:lnTo>
                    <a:pt x="0" y="2"/>
                  </a:lnTo>
                  <a:cubicBezTo>
                    <a:pt x="1" y="2"/>
                    <a:pt x="2" y="3"/>
                    <a:pt x="3" y="4"/>
                  </a:cubicBezTo>
                  <a:lnTo>
                    <a:pt x="0" y="0"/>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49" name="Freeform 119"/>
            <p:cNvSpPr>
              <a:spLocks/>
            </p:cNvSpPr>
            <p:nvPr/>
          </p:nvSpPr>
          <p:spPr bwMode="auto">
            <a:xfrm rot="5400000" flipH="1">
              <a:off x="4673161" y="5575575"/>
              <a:ext cx="1078"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1"/>
                    <a:pt x="0" y="1"/>
                    <a:pt x="1" y="1"/>
                  </a:cubicBezTo>
                  <a:cubicBezTo>
                    <a:pt x="0" y="1"/>
                    <a:pt x="0"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0" name="Freeform 120"/>
            <p:cNvSpPr>
              <a:spLocks/>
            </p:cNvSpPr>
            <p:nvPr/>
          </p:nvSpPr>
          <p:spPr bwMode="auto">
            <a:xfrm rot="5400000" flipH="1">
              <a:off x="4665075" y="5573958"/>
              <a:ext cx="1078" cy="1078"/>
            </a:xfrm>
            <a:custGeom>
              <a:avLst/>
              <a:gdLst>
                <a:gd name="T0" fmla="*/ 3 w 3"/>
                <a:gd name="T1" fmla="*/ 2 h 3"/>
                <a:gd name="T2" fmla="*/ 3 w 3"/>
                <a:gd name="T3" fmla="*/ 2 h 3"/>
                <a:gd name="T4" fmla="*/ 0 w 3"/>
                <a:gd name="T5" fmla="*/ 3 h 3"/>
                <a:gd name="T6" fmla="*/ 3 w 3"/>
                <a:gd name="T7" fmla="*/ 2 h 3"/>
              </a:gdLst>
              <a:ahLst/>
              <a:cxnLst>
                <a:cxn ang="0">
                  <a:pos x="T0" y="T1"/>
                </a:cxn>
                <a:cxn ang="0">
                  <a:pos x="T2" y="T3"/>
                </a:cxn>
                <a:cxn ang="0">
                  <a:pos x="T4" y="T5"/>
                </a:cxn>
                <a:cxn ang="0">
                  <a:pos x="T6" y="T7"/>
                </a:cxn>
              </a:cxnLst>
              <a:rect l="0" t="0" r="r" b="b"/>
              <a:pathLst>
                <a:path w="3" h="3">
                  <a:moveTo>
                    <a:pt x="3" y="2"/>
                  </a:moveTo>
                  <a:lnTo>
                    <a:pt x="3" y="2"/>
                  </a:lnTo>
                  <a:cubicBezTo>
                    <a:pt x="2" y="0"/>
                    <a:pt x="1" y="2"/>
                    <a:pt x="0" y="3"/>
                  </a:cubicBezTo>
                  <a:cubicBezTo>
                    <a:pt x="1" y="3"/>
                    <a:pt x="2" y="3"/>
                    <a:pt x="3" y="2"/>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1" name="Freeform 121"/>
            <p:cNvSpPr>
              <a:spLocks/>
            </p:cNvSpPr>
            <p:nvPr/>
          </p:nvSpPr>
          <p:spPr bwMode="auto">
            <a:xfrm rot="5400000" flipH="1">
              <a:off x="4723295" y="5580427"/>
              <a:ext cx="0" cy="0"/>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lnTo>
                    <a:pt x="0" y="0"/>
                  </a:lnTo>
                  <a:cubicBezTo>
                    <a:pt x="1" y="0"/>
                    <a:pt x="1" y="1"/>
                    <a:pt x="2" y="1"/>
                  </a:cubicBezTo>
                  <a:cubicBezTo>
                    <a:pt x="1" y="0"/>
                    <a:pt x="1"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2" name="Freeform 122"/>
            <p:cNvSpPr>
              <a:spLocks/>
            </p:cNvSpPr>
            <p:nvPr/>
          </p:nvSpPr>
          <p:spPr bwMode="auto">
            <a:xfrm rot="5400000" flipH="1">
              <a:off x="4772890" y="5586896"/>
              <a:ext cx="0" cy="0"/>
            </a:xfrm>
            <a:custGeom>
              <a:avLst/>
              <a:gdLst>
                <a:gd name="T0" fmla="*/ 1 w 1"/>
                <a:gd name="T1" fmla="*/ 0 h 1"/>
                <a:gd name="T2" fmla="*/ 1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lnTo>
                    <a:pt x="1" y="0"/>
                  </a:lnTo>
                  <a:cubicBezTo>
                    <a:pt x="1" y="0"/>
                    <a:pt x="1" y="1"/>
                    <a:pt x="0" y="1"/>
                  </a:cubicBezTo>
                  <a:cubicBezTo>
                    <a:pt x="1" y="1"/>
                    <a:pt x="1" y="1"/>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3" name="Freeform 123"/>
            <p:cNvSpPr>
              <a:spLocks/>
            </p:cNvSpPr>
            <p:nvPr/>
          </p:nvSpPr>
          <p:spPr bwMode="auto">
            <a:xfrm rot="5400000" flipH="1">
              <a:off x="4769655" y="5586896"/>
              <a:ext cx="0" cy="0"/>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0"/>
                    <a:pt x="0" y="1"/>
                    <a:pt x="1" y="2"/>
                  </a:cubicBezTo>
                  <a:cubicBezTo>
                    <a:pt x="1" y="1"/>
                    <a:pt x="0"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4" name="Freeform 124"/>
            <p:cNvSpPr>
              <a:spLocks/>
            </p:cNvSpPr>
            <p:nvPr/>
          </p:nvSpPr>
          <p:spPr bwMode="auto">
            <a:xfrm rot="5400000" flipH="1">
              <a:off x="4710896" y="5578810"/>
              <a:ext cx="0" cy="1078"/>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1"/>
                    <a:pt x="0" y="2"/>
                    <a:pt x="1" y="2"/>
                  </a:cubicBezTo>
                  <a:cubicBezTo>
                    <a:pt x="1" y="1"/>
                    <a:pt x="1"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5" name="Freeform 125"/>
            <p:cNvSpPr>
              <a:spLocks/>
            </p:cNvSpPr>
            <p:nvPr/>
          </p:nvSpPr>
          <p:spPr bwMode="auto">
            <a:xfrm rot="5400000" flipH="1">
              <a:off x="4768577" y="5586896"/>
              <a:ext cx="0" cy="0"/>
            </a:xfrm>
            <a:custGeom>
              <a:avLst/>
              <a:gdLst>
                <a:gd name="T0" fmla="*/ 0 w 1"/>
                <a:gd name="T1" fmla="*/ 0 h 3"/>
                <a:gd name="T2" fmla="*/ 0 w 1"/>
                <a:gd name="T3" fmla="*/ 0 h 3"/>
                <a:gd name="T4" fmla="*/ 0 w 1"/>
                <a:gd name="T5" fmla="*/ 3 h 3"/>
                <a:gd name="T6" fmla="*/ 1 w 1"/>
                <a:gd name="T7" fmla="*/ 3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lnTo>
                    <a:pt x="0" y="0"/>
                  </a:lnTo>
                  <a:lnTo>
                    <a:pt x="0" y="3"/>
                  </a:lnTo>
                  <a:cubicBezTo>
                    <a:pt x="0" y="3"/>
                    <a:pt x="0" y="3"/>
                    <a:pt x="1" y="3"/>
                  </a:cubicBezTo>
                  <a:lnTo>
                    <a:pt x="0" y="0"/>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6" name="Freeform 126"/>
            <p:cNvSpPr>
              <a:spLocks/>
            </p:cNvSpPr>
            <p:nvPr/>
          </p:nvSpPr>
          <p:spPr bwMode="auto">
            <a:xfrm rot="5400000" flipH="1">
              <a:off x="4772889" y="5585817"/>
              <a:ext cx="1078" cy="1078"/>
            </a:xfrm>
            <a:custGeom>
              <a:avLst/>
              <a:gdLst>
                <a:gd name="T0" fmla="*/ 0 w 1"/>
                <a:gd name="T1" fmla="*/ 0 h 4"/>
                <a:gd name="T2" fmla="*/ 0 w 1"/>
                <a:gd name="T3" fmla="*/ 0 h 4"/>
                <a:gd name="T4" fmla="*/ 0 w 1"/>
                <a:gd name="T5" fmla="*/ 4 h 4"/>
                <a:gd name="T6" fmla="*/ 0 w 1"/>
                <a:gd name="T7" fmla="*/ 0 h 4"/>
              </a:gdLst>
              <a:ahLst/>
              <a:cxnLst>
                <a:cxn ang="0">
                  <a:pos x="T0" y="T1"/>
                </a:cxn>
                <a:cxn ang="0">
                  <a:pos x="T2" y="T3"/>
                </a:cxn>
                <a:cxn ang="0">
                  <a:pos x="T4" y="T5"/>
                </a:cxn>
                <a:cxn ang="0">
                  <a:pos x="T6" y="T7"/>
                </a:cxn>
              </a:cxnLst>
              <a:rect l="0" t="0" r="r" b="b"/>
              <a:pathLst>
                <a:path w="1" h="4">
                  <a:moveTo>
                    <a:pt x="0" y="0"/>
                  </a:moveTo>
                  <a:lnTo>
                    <a:pt x="0" y="0"/>
                  </a:lnTo>
                  <a:cubicBezTo>
                    <a:pt x="0" y="2"/>
                    <a:pt x="0" y="3"/>
                    <a:pt x="0" y="4"/>
                  </a:cubicBezTo>
                  <a:cubicBezTo>
                    <a:pt x="1" y="3"/>
                    <a:pt x="0"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7" name="Freeform 127"/>
            <p:cNvSpPr>
              <a:spLocks/>
            </p:cNvSpPr>
            <p:nvPr/>
          </p:nvSpPr>
          <p:spPr bwMode="auto">
            <a:xfrm rot="5400000" flipH="1">
              <a:off x="4741084" y="5583123"/>
              <a:ext cx="0" cy="1078"/>
            </a:xfrm>
            <a:custGeom>
              <a:avLst/>
              <a:gdLst>
                <a:gd name="T0" fmla="*/ 0 w 1"/>
                <a:gd name="T1" fmla="*/ 0 h 3"/>
                <a:gd name="T2" fmla="*/ 0 w 1"/>
                <a:gd name="T3" fmla="*/ 0 h 3"/>
                <a:gd name="T4" fmla="*/ 0 w 1"/>
                <a:gd name="T5" fmla="*/ 1 h 3"/>
                <a:gd name="T6" fmla="*/ 0 w 1"/>
                <a:gd name="T7" fmla="*/ 0 h 3"/>
              </a:gdLst>
              <a:ahLst/>
              <a:cxnLst>
                <a:cxn ang="0">
                  <a:pos x="T0" y="T1"/>
                </a:cxn>
                <a:cxn ang="0">
                  <a:pos x="T2" y="T3"/>
                </a:cxn>
                <a:cxn ang="0">
                  <a:pos x="T4" y="T5"/>
                </a:cxn>
                <a:cxn ang="0">
                  <a:pos x="T6" y="T7"/>
                </a:cxn>
              </a:cxnLst>
              <a:rect l="0" t="0" r="r" b="b"/>
              <a:pathLst>
                <a:path w="1" h="3">
                  <a:moveTo>
                    <a:pt x="0" y="0"/>
                  </a:moveTo>
                  <a:lnTo>
                    <a:pt x="0" y="0"/>
                  </a:lnTo>
                  <a:cubicBezTo>
                    <a:pt x="0" y="0"/>
                    <a:pt x="0" y="0"/>
                    <a:pt x="0" y="1"/>
                  </a:cubicBezTo>
                  <a:cubicBezTo>
                    <a:pt x="1" y="3"/>
                    <a:pt x="1"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8" name="Freeform 128"/>
            <p:cNvSpPr>
              <a:spLocks/>
            </p:cNvSpPr>
            <p:nvPr/>
          </p:nvSpPr>
          <p:spPr bwMode="auto">
            <a:xfrm rot="5400000" flipH="1">
              <a:off x="4765882" y="5584200"/>
              <a:ext cx="0" cy="1078"/>
            </a:xfrm>
            <a:custGeom>
              <a:avLst/>
              <a:gdLst>
                <a:gd name="T0" fmla="*/ 0 w 1"/>
                <a:gd name="T1" fmla="*/ 0 h 1"/>
                <a:gd name="T2" fmla="*/ 0 w 1"/>
                <a:gd name="T3" fmla="*/ 0 h 1"/>
                <a:gd name="T4" fmla="*/ 0 w 1"/>
                <a:gd name="T5" fmla="*/ 0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lnTo>
                    <a:pt x="0" y="0"/>
                  </a:lnTo>
                  <a:lnTo>
                    <a:pt x="1" y="1"/>
                  </a:lnTo>
                  <a:lnTo>
                    <a:pt x="0" y="0"/>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59" name="Freeform 129"/>
            <p:cNvSpPr>
              <a:spLocks/>
            </p:cNvSpPr>
            <p:nvPr/>
          </p:nvSpPr>
          <p:spPr bwMode="auto">
            <a:xfrm rot="5400000" flipH="1">
              <a:off x="4776663" y="5586357"/>
              <a:ext cx="0" cy="1078"/>
            </a:xfrm>
            <a:custGeom>
              <a:avLst/>
              <a:gdLst>
                <a:gd name="T0" fmla="*/ 0 w 1"/>
                <a:gd name="T1" fmla="*/ 1 h 2"/>
                <a:gd name="T2" fmla="*/ 0 w 1"/>
                <a:gd name="T3" fmla="*/ 1 h 2"/>
                <a:gd name="T4" fmla="*/ 1 w 1"/>
                <a:gd name="T5" fmla="*/ 2 h 2"/>
                <a:gd name="T6" fmla="*/ 1 w 1"/>
                <a:gd name="T7" fmla="*/ 0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lnTo>
                    <a:pt x="0" y="1"/>
                  </a:lnTo>
                  <a:cubicBezTo>
                    <a:pt x="0" y="1"/>
                    <a:pt x="0" y="2"/>
                    <a:pt x="1" y="2"/>
                  </a:cubicBezTo>
                  <a:cubicBezTo>
                    <a:pt x="1" y="2"/>
                    <a:pt x="1" y="1"/>
                    <a:pt x="1" y="0"/>
                  </a:cubicBezTo>
                  <a:cubicBezTo>
                    <a:pt x="1" y="1"/>
                    <a:pt x="0" y="1"/>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0" name="Freeform 130"/>
            <p:cNvSpPr>
              <a:spLocks/>
            </p:cNvSpPr>
            <p:nvPr/>
          </p:nvSpPr>
          <p:spPr bwMode="auto">
            <a:xfrm rot="5400000" flipH="1">
              <a:off x="4751326" y="5583661"/>
              <a:ext cx="1078" cy="1078"/>
            </a:xfrm>
            <a:custGeom>
              <a:avLst/>
              <a:gdLst>
                <a:gd name="T0" fmla="*/ 3 w 3"/>
                <a:gd name="T1" fmla="*/ 1 h 2"/>
                <a:gd name="T2" fmla="*/ 3 w 3"/>
                <a:gd name="T3" fmla="*/ 1 h 2"/>
                <a:gd name="T4" fmla="*/ 0 w 3"/>
                <a:gd name="T5" fmla="*/ 0 h 2"/>
                <a:gd name="T6" fmla="*/ 3 w 3"/>
                <a:gd name="T7" fmla="*/ 1 h 2"/>
              </a:gdLst>
              <a:ahLst/>
              <a:cxnLst>
                <a:cxn ang="0">
                  <a:pos x="T0" y="T1"/>
                </a:cxn>
                <a:cxn ang="0">
                  <a:pos x="T2" y="T3"/>
                </a:cxn>
                <a:cxn ang="0">
                  <a:pos x="T4" y="T5"/>
                </a:cxn>
                <a:cxn ang="0">
                  <a:pos x="T6" y="T7"/>
                </a:cxn>
              </a:cxnLst>
              <a:rect l="0" t="0" r="r" b="b"/>
              <a:pathLst>
                <a:path w="3" h="2">
                  <a:moveTo>
                    <a:pt x="3" y="1"/>
                  </a:moveTo>
                  <a:lnTo>
                    <a:pt x="3" y="1"/>
                  </a:lnTo>
                  <a:cubicBezTo>
                    <a:pt x="1" y="1"/>
                    <a:pt x="0" y="0"/>
                    <a:pt x="0" y="0"/>
                  </a:cubicBezTo>
                  <a:cubicBezTo>
                    <a:pt x="0" y="1"/>
                    <a:pt x="1" y="2"/>
                    <a:pt x="3"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1" name="Freeform 131"/>
            <p:cNvSpPr>
              <a:spLocks/>
            </p:cNvSpPr>
            <p:nvPr/>
          </p:nvSpPr>
          <p:spPr bwMode="auto">
            <a:xfrm rot="5400000" flipH="1">
              <a:off x="4466697" y="5541614"/>
              <a:ext cx="0"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cubicBezTo>
                    <a:pt x="1" y="0"/>
                    <a:pt x="0" y="0"/>
                    <a:pt x="0" y="0"/>
                  </a:cubicBezTo>
                  <a:cubicBezTo>
                    <a:pt x="0" y="0"/>
                    <a:pt x="1" y="0"/>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2" name="Freeform 132"/>
            <p:cNvSpPr>
              <a:spLocks/>
            </p:cNvSpPr>
            <p:nvPr/>
          </p:nvSpPr>
          <p:spPr bwMode="auto">
            <a:xfrm rot="5400000" flipH="1">
              <a:off x="4448368" y="5552395"/>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lnTo>
                    <a:pt x="0" y="1"/>
                  </a:lnTo>
                  <a:lnTo>
                    <a:pt x="0" y="0"/>
                  </a:lnTo>
                  <a:cubicBezTo>
                    <a:pt x="0" y="1"/>
                    <a:pt x="0" y="1"/>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3" name="Freeform 133"/>
            <p:cNvSpPr>
              <a:spLocks/>
            </p:cNvSpPr>
            <p:nvPr/>
          </p:nvSpPr>
          <p:spPr bwMode="auto">
            <a:xfrm rot="5400000" flipH="1">
              <a:off x="4477478" y="5536224"/>
              <a:ext cx="0" cy="0"/>
            </a:xfrm>
            <a:custGeom>
              <a:avLst/>
              <a:gdLst>
                <a:gd name="T0" fmla="*/ 0 w 1"/>
                <a:gd name="T1" fmla="*/ 3 h 3"/>
                <a:gd name="T2" fmla="*/ 0 w 1"/>
                <a:gd name="T3" fmla="*/ 3 h 3"/>
                <a:gd name="T4" fmla="*/ 0 w 1"/>
                <a:gd name="T5" fmla="*/ 3 h 3"/>
                <a:gd name="T6" fmla="*/ 1 w 1"/>
                <a:gd name="T7" fmla="*/ 0 h 3"/>
                <a:gd name="T8" fmla="*/ 0 w 1"/>
                <a:gd name="T9" fmla="*/ 3 h 3"/>
              </a:gdLst>
              <a:ahLst/>
              <a:cxnLst>
                <a:cxn ang="0">
                  <a:pos x="T0" y="T1"/>
                </a:cxn>
                <a:cxn ang="0">
                  <a:pos x="T2" y="T3"/>
                </a:cxn>
                <a:cxn ang="0">
                  <a:pos x="T4" y="T5"/>
                </a:cxn>
                <a:cxn ang="0">
                  <a:pos x="T6" y="T7"/>
                </a:cxn>
                <a:cxn ang="0">
                  <a:pos x="T8" y="T9"/>
                </a:cxn>
              </a:cxnLst>
              <a:rect l="0" t="0" r="r" b="b"/>
              <a:pathLst>
                <a:path w="1" h="3">
                  <a:moveTo>
                    <a:pt x="0" y="3"/>
                  </a:moveTo>
                  <a:lnTo>
                    <a:pt x="0" y="3"/>
                  </a:lnTo>
                  <a:cubicBezTo>
                    <a:pt x="0" y="3"/>
                    <a:pt x="0" y="3"/>
                    <a:pt x="0" y="3"/>
                  </a:cubicBezTo>
                  <a:cubicBezTo>
                    <a:pt x="0" y="2"/>
                    <a:pt x="1" y="1"/>
                    <a:pt x="1" y="0"/>
                  </a:cubicBezTo>
                  <a:lnTo>
                    <a:pt x="0" y="3"/>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4" name="Freeform 134"/>
            <p:cNvSpPr>
              <a:spLocks/>
            </p:cNvSpPr>
            <p:nvPr/>
          </p:nvSpPr>
          <p:spPr bwMode="auto">
            <a:xfrm rot="5400000" flipH="1">
              <a:off x="4411711" y="5575037"/>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lnTo>
                    <a:pt x="1" y="0"/>
                  </a:lnTo>
                  <a:cubicBezTo>
                    <a:pt x="0" y="0"/>
                    <a:pt x="0" y="1"/>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5" name="Freeform 135"/>
            <p:cNvSpPr>
              <a:spLocks/>
            </p:cNvSpPr>
            <p:nvPr/>
          </p:nvSpPr>
          <p:spPr bwMode="auto">
            <a:xfrm rot="5400000" flipH="1">
              <a:off x="4432735" y="5560481"/>
              <a:ext cx="0" cy="1078"/>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1" y="1"/>
                    <a:pt x="1" y="1"/>
                    <a:pt x="1" y="2"/>
                  </a:cubicBezTo>
                  <a:cubicBezTo>
                    <a:pt x="1" y="1"/>
                    <a:pt x="1"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6" name="Freeform 136"/>
            <p:cNvSpPr>
              <a:spLocks/>
            </p:cNvSpPr>
            <p:nvPr/>
          </p:nvSpPr>
          <p:spPr bwMode="auto">
            <a:xfrm rot="5400000" flipH="1">
              <a:off x="4480712" y="5527598"/>
              <a:ext cx="0" cy="0"/>
            </a:xfrm>
            <a:custGeom>
              <a:avLst/>
              <a:gdLst>
                <a:gd name="T0" fmla="*/ 2 w 2"/>
                <a:gd name="T1" fmla="*/ 0 h 1"/>
                <a:gd name="T2" fmla="*/ 2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lnTo>
                    <a:pt x="2" y="0"/>
                  </a:lnTo>
                  <a:lnTo>
                    <a:pt x="0" y="1"/>
                  </a:lnTo>
                  <a:cubicBezTo>
                    <a:pt x="1" y="1"/>
                    <a:pt x="2" y="1"/>
                    <a:pt x="2"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7" name="Freeform 137"/>
            <p:cNvSpPr>
              <a:spLocks/>
            </p:cNvSpPr>
            <p:nvPr/>
          </p:nvSpPr>
          <p:spPr bwMode="auto">
            <a:xfrm rot="5400000" flipH="1">
              <a:off x="4493650" y="5525442"/>
              <a:ext cx="0" cy="0"/>
            </a:xfrm>
            <a:custGeom>
              <a:avLst/>
              <a:gdLst>
                <a:gd name="T0" fmla="*/ 0 h 1"/>
                <a:gd name="T1" fmla="*/ 0 h 1"/>
                <a:gd name="T2" fmla="*/ 0 h 1"/>
                <a:gd name="T3" fmla="*/ 0 h 1"/>
              </a:gdLst>
              <a:ahLst/>
              <a:cxnLst>
                <a:cxn ang="0">
                  <a:pos x="0" y="T0"/>
                </a:cxn>
                <a:cxn ang="0">
                  <a:pos x="0" y="T1"/>
                </a:cxn>
                <a:cxn ang="0">
                  <a:pos x="0" y="T2"/>
                </a:cxn>
                <a:cxn ang="0">
                  <a:pos x="0" y="T3"/>
                </a:cxn>
              </a:cxnLst>
              <a:rect l="0" t="0" r="r" b="b"/>
              <a:pathLst>
                <a:path h="1">
                  <a:moveTo>
                    <a:pt x="0" y="0"/>
                  </a:moveTo>
                  <a:lnTo>
                    <a:pt x="0" y="0"/>
                  </a:lnTo>
                  <a:cubicBezTo>
                    <a:pt x="0" y="0"/>
                    <a:pt x="0" y="0"/>
                    <a:pt x="0" y="0"/>
                  </a:cubicBezTo>
                  <a:cubicBezTo>
                    <a:pt x="0" y="1"/>
                    <a:pt x="0"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8" name="Freeform 138"/>
            <p:cNvSpPr>
              <a:spLocks/>
            </p:cNvSpPr>
            <p:nvPr/>
          </p:nvSpPr>
          <p:spPr bwMode="auto">
            <a:xfrm rot="5400000" flipH="1">
              <a:off x="4488798" y="5528137"/>
              <a:ext cx="1078" cy="0"/>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1"/>
                    <a:pt x="0" y="1"/>
                    <a:pt x="0" y="2"/>
                  </a:cubicBezTo>
                  <a:cubicBezTo>
                    <a:pt x="0" y="1"/>
                    <a:pt x="1"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69" name="Freeform 139"/>
            <p:cNvSpPr>
              <a:spLocks/>
            </p:cNvSpPr>
            <p:nvPr/>
          </p:nvSpPr>
          <p:spPr bwMode="auto">
            <a:xfrm rot="5400000" flipH="1">
              <a:off x="4488798" y="5528137"/>
              <a:ext cx="0" cy="1078"/>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lnTo>
                    <a:pt x="0" y="1"/>
                  </a:lnTo>
                  <a:lnTo>
                    <a:pt x="0" y="0"/>
                  </a:lnTo>
                  <a:cubicBezTo>
                    <a:pt x="0" y="0"/>
                    <a:pt x="0" y="1"/>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0" name="Freeform 140"/>
            <p:cNvSpPr>
              <a:spLocks/>
            </p:cNvSpPr>
            <p:nvPr/>
          </p:nvSpPr>
          <p:spPr bwMode="auto">
            <a:xfrm rot="5400000" flipH="1">
              <a:off x="4478017" y="5670452"/>
              <a:ext cx="1078" cy="0"/>
            </a:xfrm>
            <a:custGeom>
              <a:avLst/>
              <a:gdLst>
                <a:gd name="T0" fmla="*/ 5 w 5"/>
                <a:gd name="T1" fmla="*/ 1 h 1"/>
                <a:gd name="T2" fmla="*/ 5 w 5"/>
                <a:gd name="T3" fmla="*/ 1 h 1"/>
                <a:gd name="T4" fmla="*/ 0 w 5"/>
                <a:gd name="T5" fmla="*/ 0 h 1"/>
                <a:gd name="T6" fmla="*/ 5 w 5"/>
                <a:gd name="T7" fmla="*/ 1 h 1"/>
              </a:gdLst>
              <a:ahLst/>
              <a:cxnLst>
                <a:cxn ang="0">
                  <a:pos x="T0" y="T1"/>
                </a:cxn>
                <a:cxn ang="0">
                  <a:pos x="T2" y="T3"/>
                </a:cxn>
                <a:cxn ang="0">
                  <a:pos x="T4" y="T5"/>
                </a:cxn>
                <a:cxn ang="0">
                  <a:pos x="T6" y="T7"/>
                </a:cxn>
              </a:cxnLst>
              <a:rect l="0" t="0" r="r" b="b"/>
              <a:pathLst>
                <a:path w="5" h="1">
                  <a:moveTo>
                    <a:pt x="5" y="1"/>
                  </a:moveTo>
                  <a:lnTo>
                    <a:pt x="5" y="1"/>
                  </a:lnTo>
                  <a:cubicBezTo>
                    <a:pt x="4" y="0"/>
                    <a:pt x="2" y="0"/>
                    <a:pt x="0" y="0"/>
                  </a:cubicBezTo>
                  <a:lnTo>
                    <a:pt x="5" y="1"/>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1" name="Freeform 141"/>
            <p:cNvSpPr>
              <a:spLocks/>
            </p:cNvSpPr>
            <p:nvPr/>
          </p:nvSpPr>
          <p:spPr bwMode="auto">
            <a:xfrm rot="5400000" flipH="1">
              <a:off x="4393383" y="5592287"/>
              <a:ext cx="0" cy="0"/>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lnTo>
                    <a:pt x="0" y="1"/>
                  </a:lnTo>
                  <a:lnTo>
                    <a:pt x="1" y="0"/>
                  </a:lnTo>
                  <a:cubicBezTo>
                    <a:pt x="0" y="0"/>
                    <a:pt x="0" y="1"/>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2" name="Freeform 142"/>
            <p:cNvSpPr>
              <a:spLocks/>
            </p:cNvSpPr>
            <p:nvPr/>
          </p:nvSpPr>
          <p:spPr bwMode="auto">
            <a:xfrm rot="5400000" flipH="1">
              <a:off x="4476400" y="5673147"/>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lnTo>
                    <a:pt x="0" y="1"/>
                  </a:lnTo>
                  <a:lnTo>
                    <a:pt x="0" y="0"/>
                  </a:lnTo>
                  <a:cubicBezTo>
                    <a:pt x="0" y="1"/>
                    <a:pt x="0" y="1"/>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3" name="Freeform 143"/>
            <p:cNvSpPr>
              <a:spLocks/>
            </p:cNvSpPr>
            <p:nvPr/>
          </p:nvSpPr>
          <p:spPr bwMode="auto">
            <a:xfrm rot="5400000" flipH="1">
              <a:off x="4473165" y="5527598"/>
              <a:ext cx="1078" cy="1078"/>
            </a:xfrm>
            <a:custGeom>
              <a:avLst/>
              <a:gdLst>
                <a:gd name="T0" fmla="*/ 2 w 4"/>
                <a:gd name="T1" fmla="*/ 0 h 5"/>
                <a:gd name="T2" fmla="*/ 2 w 4"/>
                <a:gd name="T3" fmla="*/ 0 h 5"/>
                <a:gd name="T4" fmla="*/ 1 w 4"/>
                <a:gd name="T5" fmla="*/ 5 h 5"/>
                <a:gd name="T6" fmla="*/ 2 w 4"/>
                <a:gd name="T7" fmla="*/ 0 h 5"/>
              </a:gdLst>
              <a:ahLst/>
              <a:cxnLst>
                <a:cxn ang="0">
                  <a:pos x="T0" y="T1"/>
                </a:cxn>
                <a:cxn ang="0">
                  <a:pos x="T2" y="T3"/>
                </a:cxn>
                <a:cxn ang="0">
                  <a:pos x="T4" y="T5"/>
                </a:cxn>
                <a:cxn ang="0">
                  <a:pos x="T6" y="T7"/>
                </a:cxn>
              </a:cxnLst>
              <a:rect l="0" t="0" r="r" b="b"/>
              <a:pathLst>
                <a:path w="4" h="5">
                  <a:moveTo>
                    <a:pt x="2" y="0"/>
                  </a:moveTo>
                  <a:lnTo>
                    <a:pt x="2" y="0"/>
                  </a:lnTo>
                  <a:cubicBezTo>
                    <a:pt x="3" y="2"/>
                    <a:pt x="0" y="4"/>
                    <a:pt x="1" y="5"/>
                  </a:cubicBezTo>
                  <a:cubicBezTo>
                    <a:pt x="2" y="3"/>
                    <a:pt x="4" y="2"/>
                    <a:pt x="2"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4" name="Freeform 144"/>
            <p:cNvSpPr>
              <a:spLocks/>
            </p:cNvSpPr>
            <p:nvPr/>
          </p:nvSpPr>
          <p:spPr bwMode="auto">
            <a:xfrm rot="5400000" flipH="1">
              <a:off x="4384219" y="5608998"/>
              <a:ext cx="1078" cy="0"/>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lnTo>
                    <a:pt x="1" y="1"/>
                  </a:lnTo>
                  <a:lnTo>
                    <a:pt x="0" y="0"/>
                  </a:lnTo>
                  <a:cubicBezTo>
                    <a:pt x="1" y="0"/>
                    <a:pt x="1" y="1"/>
                    <a:pt x="1"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5" name="Freeform 145"/>
            <p:cNvSpPr>
              <a:spLocks/>
            </p:cNvSpPr>
            <p:nvPr/>
          </p:nvSpPr>
          <p:spPr bwMode="auto">
            <a:xfrm rot="5400000" flipH="1">
              <a:off x="4475861" y="5672608"/>
              <a:ext cx="0" cy="1078"/>
            </a:xfrm>
            <a:custGeom>
              <a:avLst/>
              <a:gdLst>
                <a:gd name="T0" fmla="*/ 0 w 1"/>
                <a:gd name="T1" fmla="*/ 0 h 2"/>
                <a:gd name="T2" fmla="*/ 0 w 1"/>
                <a:gd name="T3" fmla="*/ 0 h 2"/>
                <a:gd name="T4" fmla="*/ 1 w 1"/>
                <a:gd name="T5" fmla="*/ 2 h 2"/>
                <a:gd name="T6" fmla="*/ 1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1" y="2"/>
                  </a:lnTo>
                  <a:cubicBezTo>
                    <a:pt x="1" y="1"/>
                    <a:pt x="1" y="1"/>
                    <a:pt x="1" y="1"/>
                  </a:cubicBezTo>
                  <a:cubicBezTo>
                    <a:pt x="1" y="1"/>
                    <a:pt x="1"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6" name="Freeform 146"/>
            <p:cNvSpPr>
              <a:spLocks/>
            </p:cNvSpPr>
            <p:nvPr/>
          </p:nvSpPr>
          <p:spPr bwMode="auto">
            <a:xfrm rot="5400000" flipH="1">
              <a:off x="4422493" y="5612771"/>
              <a:ext cx="0" cy="0"/>
            </a:xfrm>
            <a:custGeom>
              <a:avLst/>
              <a:gdLst>
                <a:gd name="T0" fmla="*/ 0 w 1"/>
                <a:gd name="T1" fmla="*/ 0 w 1"/>
                <a:gd name="T2" fmla="*/ 0 w 1"/>
                <a:gd name="T3" fmla="*/ 1 w 1"/>
                <a:gd name="T4" fmla="*/ 0 w 1"/>
              </a:gdLst>
              <a:ahLst/>
              <a:cxnLst>
                <a:cxn ang="0">
                  <a:pos x="T0" y="0"/>
                </a:cxn>
                <a:cxn ang="0">
                  <a:pos x="T1" y="0"/>
                </a:cxn>
                <a:cxn ang="0">
                  <a:pos x="T2" y="0"/>
                </a:cxn>
                <a:cxn ang="0">
                  <a:pos x="T3" y="0"/>
                </a:cxn>
                <a:cxn ang="0">
                  <a:pos x="T4" y="0"/>
                </a:cxn>
              </a:cxnLst>
              <a:rect l="0" t="0" r="r" b="b"/>
              <a:pathLst>
                <a:path w="1">
                  <a:moveTo>
                    <a:pt x="0" y="0"/>
                  </a:moveTo>
                  <a:lnTo>
                    <a:pt x="0" y="0"/>
                  </a:lnTo>
                  <a:lnTo>
                    <a:pt x="0" y="0"/>
                  </a:lnTo>
                  <a:cubicBezTo>
                    <a:pt x="1" y="0"/>
                    <a:pt x="1" y="0"/>
                    <a:pt x="1" y="0"/>
                  </a:cubicBezTo>
                  <a:lnTo>
                    <a:pt x="0" y="0"/>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7" name="Freeform 147"/>
            <p:cNvSpPr>
              <a:spLocks/>
            </p:cNvSpPr>
            <p:nvPr/>
          </p:nvSpPr>
          <p:spPr bwMode="auto">
            <a:xfrm rot="5400000" flipH="1">
              <a:off x="4424110" y="5613311"/>
              <a:ext cx="1078" cy="0"/>
            </a:xfrm>
            <a:custGeom>
              <a:avLst/>
              <a:gdLst>
                <a:gd name="T0" fmla="*/ 0 w 2"/>
                <a:gd name="T1" fmla="*/ 0 h 1"/>
                <a:gd name="T2" fmla="*/ 0 w 2"/>
                <a:gd name="T3" fmla="*/ 0 h 1"/>
                <a:gd name="T4" fmla="*/ 2 w 2"/>
                <a:gd name="T5" fmla="*/ 1 h 1"/>
                <a:gd name="T6" fmla="*/ 0 w 2"/>
                <a:gd name="T7" fmla="*/ 0 h 1"/>
              </a:gdLst>
              <a:ahLst/>
              <a:cxnLst>
                <a:cxn ang="0">
                  <a:pos x="T0" y="T1"/>
                </a:cxn>
                <a:cxn ang="0">
                  <a:pos x="T2" y="T3"/>
                </a:cxn>
                <a:cxn ang="0">
                  <a:pos x="T4" y="T5"/>
                </a:cxn>
                <a:cxn ang="0">
                  <a:pos x="T6" y="T7"/>
                </a:cxn>
              </a:cxnLst>
              <a:rect l="0" t="0" r="r" b="b"/>
              <a:pathLst>
                <a:path w="2" h="1">
                  <a:moveTo>
                    <a:pt x="0" y="0"/>
                  </a:moveTo>
                  <a:lnTo>
                    <a:pt x="0" y="0"/>
                  </a:lnTo>
                  <a:cubicBezTo>
                    <a:pt x="1" y="0"/>
                    <a:pt x="1" y="0"/>
                    <a:pt x="2" y="1"/>
                  </a:cubicBezTo>
                  <a:cubicBezTo>
                    <a:pt x="2" y="0"/>
                    <a:pt x="1"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8" name="Freeform 148"/>
            <p:cNvSpPr>
              <a:spLocks/>
            </p:cNvSpPr>
            <p:nvPr/>
          </p:nvSpPr>
          <p:spPr bwMode="auto">
            <a:xfrm rot="5400000" flipH="1">
              <a:off x="4478017" y="5671530"/>
              <a:ext cx="1078"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cubicBezTo>
                    <a:pt x="1" y="0"/>
                    <a:pt x="2" y="0"/>
                    <a:pt x="3"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79" name="Freeform 149"/>
            <p:cNvSpPr>
              <a:spLocks/>
            </p:cNvSpPr>
            <p:nvPr/>
          </p:nvSpPr>
          <p:spPr bwMode="auto">
            <a:xfrm rot="5400000" flipH="1">
              <a:off x="4442438" y="5630561"/>
              <a:ext cx="1078"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1" y="1"/>
                    <a:pt x="1" y="1"/>
                    <a:pt x="1" y="1"/>
                  </a:cubicBezTo>
                  <a:cubicBezTo>
                    <a:pt x="1" y="1"/>
                    <a:pt x="1"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0" name="Freeform 150"/>
            <p:cNvSpPr>
              <a:spLocks/>
            </p:cNvSpPr>
            <p:nvPr/>
          </p:nvSpPr>
          <p:spPr bwMode="auto">
            <a:xfrm rot="5400000" flipH="1">
              <a:off x="4434352" y="5559943"/>
              <a:ext cx="0" cy="0"/>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lnTo>
                    <a:pt x="0" y="1"/>
                  </a:lnTo>
                  <a:cubicBezTo>
                    <a:pt x="0" y="1"/>
                    <a:pt x="0" y="0"/>
                    <a:pt x="0" y="0"/>
                  </a:cubicBezTo>
                  <a:cubicBezTo>
                    <a:pt x="0" y="0"/>
                    <a:pt x="0" y="0"/>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1" name="Rectangle 151"/>
            <p:cNvSpPr>
              <a:spLocks noChangeArrowheads="1"/>
            </p:cNvSpPr>
            <p:nvPr/>
          </p:nvSpPr>
          <p:spPr bwMode="auto">
            <a:xfrm rot="5400000" flipH="1">
              <a:off x="4412789" y="5555629"/>
              <a:ext cx="1078" cy="1078"/>
            </a:xfrm>
            <a:prstGeom prst="rect">
              <a:avLst/>
            </a:prstGeom>
            <a:solidFill>
              <a:srgbClr val="C8C8C8"/>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2" name="Freeform 152"/>
            <p:cNvSpPr>
              <a:spLocks/>
            </p:cNvSpPr>
            <p:nvPr/>
          </p:nvSpPr>
          <p:spPr bwMode="auto">
            <a:xfrm rot="5400000" flipH="1">
              <a:off x="4414407" y="5556169"/>
              <a:ext cx="0" cy="1078"/>
            </a:xfrm>
            <a:custGeom>
              <a:avLst/>
              <a:gdLst>
                <a:gd name="T0" fmla="*/ 1 w 2"/>
                <a:gd name="T1" fmla="*/ 0 h 4"/>
                <a:gd name="T2" fmla="*/ 1 w 2"/>
                <a:gd name="T3" fmla="*/ 0 h 4"/>
                <a:gd name="T4" fmla="*/ 2 w 2"/>
                <a:gd name="T5" fmla="*/ 4 h 4"/>
                <a:gd name="T6" fmla="*/ 1 w 2"/>
                <a:gd name="T7" fmla="*/ 0 h 4"/>
              </a:gdLst>
              <a:ahLst/>
              <a:cxnLst>
                <a:cxn ang="0">
                  <a:pos x="T0" y="T1"/>
                </a:cxn>
                <a:cxn ang="0">
                  <a:pos x="T2" y="T3"/>
                </a:cxn>
                <a:cxn ang="0">
                  <a:pos x="T4" y="T5"/>
                </a:cxn>
                <a:cxn ang="0">
                  <a:pos x="T6" y="T7"/>
                </a:cxn>
              </a:cxnLst>
              <a:rect l="0" t="0" r="r" b="b"/>
              <a:pathLst>
                <a:path w="2" h="4">
                  <a:moveTo>
                    <a:pt x="1" y="0"/>
                  </a:moveTo>
                  <a:lnTo>
                    <a:pt x="1" y="0"/>
                  </a:lnTo>
                  <a:cubicBezTo>
                    <a:pt x="0" y="1"/>
                    <a:pt x="1" y="3"/>
                    <a:pt x="2" y="4"/>
                  </a:cubicBezTo>
                  <a:cubicBezTo>
                    <a:pt x="2" y="3"/>
                    <a:pt x="2" y="2"/>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3" name="Freeform 153"/>
            <p:cNvSpPr>
              <a:spLocks/>
            </p:cNvSpPr>
            <p:nvPr/>
          </p:nvSpPr>
          <p:spPr bwMode="auto">
            <a:xfrm rot="5400000" flipH="1">
              <a:off x="4412250" y="5557247"/>
              <a:ext cx="0" cy="1078"/>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lnTo>
                    <a:pt x="0" y="1"/>
                  </a:lnTo>
                  <a:cubicBezTo>
                    <a:pt x="0" y="0"/>
                    <a:pt x="0" y="0"/>
                    <a:pt x="0" y="0"/>
                  </a:cubicBezTo>
                  <a:cubicBezTo>
                    <a:pt x="0" y="0"/>
                    <a:pt x="0" y="0"/>
                    <a:pt x="0"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4" name="Rectangle 154"/>
            <p:cNvSpPr>
              <a:spLocks noChangeArrowheads="1"/>
            </p:cNvSpPr>
            <p:nvPr/>
          </p:nvSpPr>
          <p:spPr bwMode="auto">
            <a:xfrm rot="5400000" flipH="1">
              <a:off x="4425727" y="5547004"/>
              <a:ext cx="1078" cy="1078"/>
            </a:xfrm>
            <a:prstGeom prst="rect">
              <a:avLst/>
            </a:prstGeom>
            <a:solidFill>
              <a:srgbClr val="C8C8C8"/>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5" name="Freeform 155"/>
            <p:cNvSpPr>
              <a:spLocks/>
            </p:cNvSpPr>
            <p:nvPr/>
          </p:nvSpPr>
          <p:spPr bwMode="auto">
            <a:xfrm rot="5400000" flipH="1">
              <a:off x="4424110" y="5549700"/>
              <a:ext cx="0" cy="1078"/>
            </a:xfrm>
            <a:custGeom>
              <a:avLst/>
              <a:gdLst>
                <a:gd name="T0" fmla="*/ 1 w 1"/>
                <a:gd name="T1" fmla="*/ 0 h 1"/>
                <a:gd name="T2" fmla="*/ 1 w 1"/>
                <a:gd name="T3" fmla="*/ 0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lnTo>
                    <a:pt x="1" y="0"/>
                  </a:lnTo>
                  <a:cubicBezTo>
                    <a:pt x="1" y="0"/>
                    <a:pt x="0" y="1"/>
                    <a:pt x="0" y="1"/>
                  </a:cubicBezTo>
                  <a:cubicBezTo>
                    <a:pt x="0" y="1"/>
                    <a:pt x="1" y="1"/>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6" name="Rectangle 156"/>
            <p:cNvSpPr>
              <a:spLocks noChangeArrowheads="1"/>
            </p:cNvSpPr>
            <p:nvPr/>
          </p:nvSpPr>
          <p:spPr bwMode="auto">
            <a:xfrm rot="5400000" flipH="1">
              <a:off x="4403086" y="5559942"/>
              <a:ext cx="1078" cy="1078"/>
            </a:xfrm>
            <a:prstGeom prst="rect">
              <a:avLst/>
            </a:prstGeom>
            <a:solidFill>
              <a:srgbClr val="C8C8C8"/>
            </a:solidFill>
            <a:ln w="0">
              <a:noFill/>
              <a:prstDash val="solid"/>
              <a:miter lim="800000"/>
              <a:headEnd/>
              <a:tailEnd/>
            </a:ln>
            <a:extLst>
              <a:ext uri="{91240B29-F687-4F45-9708-019B960494DF}">
                <a14:hiddenLine xmlns:a14="http://schemas.microsoft.com/office/drawing/2010/main" w="0">
                  <a:solidFill>
                    <a:srgbClr val="000000"/>
                  </a:solidFill>
                  <a:prstDash val="solid"/>
                  <a:miter lim="800000"/>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7" name="Freeform 158"/>
            <p:cNvSpPr>
              <a:spLocks/>
            </p:cNvSpPr>
            <p:nvPr/>
          </p:nvSpPr>
          <p:spPr bwMode="auto">
            <a:xfrm rot="5400000" flipH="1">
              <a:off x="4427344" y="5547544"/>
              <a:ext cx="0" cy="1078"/>
            </a:xfrm>
            <a:custGeom>
              <a:avLst/>
              <a:gdLst>
                <a:gd name="T0" fmla="*/ 2 w 2"/>
                <a:gd name="T1" fmla="*/ 0 h 4"/>
                <a:gd name="T2" fmla="*/ 2 w 2"/>
                <a:gd name="T3" fmla="*/ 0 h 4"/>
                <a:gd name="T4" fmla="*/ 0 w 2"/>
                <a:gd name="T5" fmla="*/ 2 h 4"/>
                <a:gd name="T6" fmla="*/ 2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0"/>
                  </a:lnTo>
                  <a:lnTo>
                    <a:pt x="0" y="2"/>
                  </a:lnTo>
                  <a:cubicBezTo>
                    <a:pt x="1" y="2"/>
                    <a:pt x="2" y="3"/>
                    <a:pt x="2" y="4"/>
                  </a:cubicBezTo>
                  <a:lnTo>
                    <a:pt x="2" y="0"/>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8" name="Freeform 159"/>
            <p:cNvSpPr>
              <a:spLocks/>
            </p:cNvSpPr>
            <p:nvPr/>
          </p:nvSpPr>
          <p:spPr bwMode="auto">
            <a:xfrm rot="5400000" flipH="1">
              <a:off x="4409016" y="5558325"/>
              <a:ext cx="0" cy="1078"/>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lnTo>
                    <a:pt x="0" y="0"/>
                  </a:lnTo>
                  <a:cubicBezTo>
                    <a:pt x="0" y="0"/>
                    <a:pt x="0" y="0"/>
                    <a:pt x="0" y="1"/>
                  </a:cubicBezTo>
                  <a:cubicBezTo>
                    <a:pt x="0" y="0"/>
                    <a:pt x="0"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89" name="Freeform 160"/>
            <p:cNvSpPr>
              <a:spLocks/>
            </p:cNvSpPr>
            <p:nvPr/>
          </p:nvSpPr>
          <p:spPr bwMode="auto">
            <a:xfrm rot="5400000" flipH="1">
              <a:off x="4404164" y="5561020"/>
              <a:ext cx="0" cy="0"/>
            </a:xfrm>
            <a:custGeom>
              <a:avLst/>
              <a:gdLst>
                <a:gd name="T0" fmla="*/ 3 w 3"/>
                <a:gd name="T1" fmla="*/ 1 h 1"/>
                <a:gd name="T2" fmla="*/ 3 w 3"/>
                <a:gd name="T3" fmla="*/ 1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3" y="1"/>
                  </a:lnTo>
                  <a:cubicBezTo>
                    <a:pt x="3" y="0"/>
                    <a:pt x="2" y="0"/>
                    <a:pt x="0" y="1"/>
                  </a:cubicBezTo>
                  <a:cubicBezTo>
                    <a:pt x="1" y="1"/>
                    <a:pt x="2" y="1"/>
                    <a:pt x="3" y="1"/>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0" name="Freeform 161"/>
            <p:cNvSpPr>
              <a:spLocks/>
            </p:cNvSpPr>
            <p:nvPr/>
          </p:nvSpPr>
          <p:spPr bwMode="auto">
            <a:xfrm rot="5400000" flipH="1">
              <a:off x="4439743" y="5543770"/>
              <a:ext cx="0" cy="0"/>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lnTo>
                    <a:pt x="0" y="0"/>
                  </a:lnTo>
                  <a:cubicBezTo>
                    <a:pt x="0" y="1"/>
                    <a:pt x="0" y="1"/>
                    <a:pt x="1" y="1"/>
                  </a:cubicBezTo>
                  <a:cubicBezTo>
                    <a:pt x="1" y="1"/>
                    <a:pt x="0"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1" name="Freeform 162"/>
            <p:cNvSpPr>
              <a:spLocks/>
            </p:cNvSpPr>
            <p:nvPr/>
          </p:nvSpPr>
          <p:spPr bwMode="auto">
            <a:xfrm rot="5400000" flipH="1">
              <a:off x="4471009" y="5529755"/>
              <a:ext cx="0"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lnTo>
                    <a:pt x="1" y="0"/>
                  </a:lnTo>
                  <a:cubicBezTo>
                    <a:pt x="1" y="0"/>
                    <a:pt x="1" y="0"/>
                    <a:pt x="0" y="0"/>
                  </a:cubicBezTo>
                  <a:cubicBezTo>
                    <a:pt x="0" y="0"/>
                    <a:pt x="1" y="0"/>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2" name="Freeform 163"/>
            <p:cNvSpPr>
              <a:spLocks/>
            </p:cNvSpPr>
            <p:nvPr/>
          </p:nvSpPr>
          <p:spPr bwMode="auto">
            <a:xfrm rot="5400000" flipH="1">
              <a:off x="4468853" y="5531911"/>
              <a:ext cx="0" cy="0"/>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0"/>
                    <a:pt x="0" y="1"/>
                    <a:pt x="0" y="2"/>
                  </a:cubicBezTo>
                  <a:cubicBezTo>
                    <a:pt x="1" y="1"/>
                    <a:pt x="1"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3" name="Freeform 164"/>
            <p:cNvSpPr>
              <a:spLocks/>
            </p:cNvSpPr>
            <p:nvPr/>
          </p:nvSpPr>
          <p:spPr bwMode="auto">
            <a:xfrm rot="5400000" flipH="1">
              <a:off x="4431657" y="5546466"/>
              <a:ext cx="0" cy="1078"/>
            </a:xfrm>
            <a:custGeom>
              <a:avLst/>
              <a:gdLst>
                <a:gd name="T0" fmla="*/ 1 w 1"/>
                <a:gd name="T1" fmla="*/ 0 h 2"/>
                <a:gd name="T2" fmla="*/ 1 w 1"/>
                <a:gd name="T3" fmla="*/ 0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lnTo>
                    <a:pt x="1" y="0"/>
                  </a:lnTo>
                  <a:cubicBezTo>
                    <a:pt x="0" y="0"/>
                    <a:pt x="0" y="1"/>
                    <a:pt x="1" y="2"/>
                  </a:cubicBezTo>
                  <a:cubicBezTo>
                    <a:pt x="1" y="1"/>
                    <a:pt x="1" y="0"/>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4" name="Freeform 165"/>
            <p:cNvSpPr>
              <a:spLocks/>
            </p:cNvSpPr>
            <p:nvPr/>
          </p:nvSpPr>
          <p:spPr bwMode="auto">
            <a:xfrm rot="5400000" flipH="1">
              <a:off x="4468314" y="5531372"/>
              <a:ext cx="0" cy="1078"/>
            </a:xfrm>
            <a:custGeom>
              <a:avLst/>
              <a:gdLst>
                <a:gd name="T0" fmla="*/ 1 w 1"/>
                <a:gd name="T1" fmla="*/ 0 h 2"/>
                <a:gd name="T2" fmla="*/ 1 w 1"/>
                <a:gd name="T3" fmla="*/ 0 h 2"/>
                <a:gd name="T4" fmla="*/ 0 w 1"/>
                <a:gd name="T5" fmla="*/ 1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0"/>
                  </a:lnTo>
                  <a:lnTo>
                    <a:pt x="0" y="1"/>
                  </a:lnTo>
                  <a:cubicBezTo>
                    <a:pt x="1" y="1"/>
                    <a:pt x="1" y="1"/>
                    <a:pt x="1" y="2"/>
                  </a:cubicBezTo>
                  <a:lnTo>
                    <a:pt x="1" y="0"/>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5" name="Freeform 166"/>
            <p:cNvSpPr>
              <a:spLocks/>
            </p:cNvSpPr>
            <p:nvPr/>
          </p:nvSpPr>
          <p:spPr bwMode="auto">
            <a:xfrm rot="5400000" flipH="1">
              <a:off x="4471009" y="5529755"/>
              <a:ext cx="0" cy="0"/>
            </a:xfrm>
            <a:custGeom>
              <a:avLst/>
              <a:gdLst>
                <a:gd name="T0" fmla="*/ 1 w 1"/>
                <a:gd name="T1" fmla="*/ 0 h 3"/>
                <a:gd name="T2" fmla="*/ 1 w 1"/>
                <a:gd name="T3" fmla="*/ 0 h 3"/>
                <a:gd name="T4" fmla="*/ 0 w 1"/>
                <a:gd name="T5" fmla="*/ 3 h 3"/>
                <a:gd name="T6" fmla="*/ 1 w 1"/>
                <a:gd name="T7" fmla="*/ 0 h 3"/>
              </a:gdLst>
              <a:ahLst/>
              <a:cxnLst>
                <a:cxn ang="0">
                  <a:pos x="T0" y="T1"/>
                </a:cxn>
                <a:cxn ang="0">
                  <a:pos x="T2" y="T3"/>
                </a:cxn>
                <a:cxn ang="0">
                  <a:pos x="T4" y="T5"/>
                </a:cxn>
                <a:cxn ang="0">
                  <a:pos x="T6" y="T7"/>
                </a:cxn>
              </a:cxnLst>
              <a:rect l="0" t="0" r="r" b="b"/>
              <a:pathLst>
                <a:path w="1" h="3">
                  <a:moveTo>
                    <a:pt x="1" y="0"/>
                  </a:moveTo>
                  <a:lnTo>
                    <a:pt x="1" y="0"/>
                  </a:lnTo>
                  <a:cubicBezTo>
                    <a:pt x="1" y="1"/>
                    <a:pt x="0" y="2"/>
                    <a:pt x="0" y="3"/>
                  </a:cubicBezTo>
                  <a:cubicBezTo>
                    <a:pt x="1" y="2"/>
                    <a:pt x="1" y="1"/>
                    <a:pt x="1"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6" name="Freeform 167"/>
            <p:cNvSpPr>
              <a:spLocks/>
            </p:cNvSpPr>
            <p:nvPr/>
          </p:nvSpPr>
          <p:spPr bwMode="auto">
            <a:xfrm rot="5400000" flipH="1">
              <a:off x="4451064" y="5538918"/>
              <a:ext cx="0" cy="1078"/>
            </a:xfrm>
            <a:custGeom>
              <a:avLst/>
              <a:gdLst>
                <a:gd name="T0" fmla="*/ 0 w 1"/>
                <a:gd name="T1" fmla="*/ 0 h 2"/>
                <a:gd name="T2" fmla="*/ 0 w 1"/>
                <a:gd name="T3" fmla="*/ 0 h 2"/>
                <a:gd name="T4" fmla="*/ 0 w 1"/>
                <a:gd name="T5" fmla="*/ 0 h 2"/>
                <a:gd name="T6" fmla="*/ 0 w 1"/>
                <a:gd name="T7" fmla="*/ 0 h 2"/>
              </a:gdLst>
              <a:ahLst/>
              <a:cxnLst>
                <a:cxn ang="0">
                  <a:pos x="T0" y="T1"/>
                </a:cxn>
                <a:cxn ang="0">
                  <a:pos x="T2" y="T3"/>
                </a:cxn>
                <a:cxn ang="0">
                  <a:pos x="T4" y="T5"/>
                </a:cxn>
                <a:cxn ang="0">
                  <a:pos x="T6" y="T7"/>
                </a:cxn>
              </a:cxnLst>
              <a:rect l="0" t="0" r="r" b="b"/>
              <a:pathLst>
                <a:path w="1" h="2">
                  <a:moveTo>
                    <a:pt x="0" y="0"/>
                  </a:moveTo>
                  <a:lnTo>
                    <a:pt x="0" y="0"/>
                  </a:lnTo>
                  <a:cubicBezTo>
                    <a:pt x="0" y="0"/>
                    <a:pt x="0" y="0"/>
                    <a:pt x="0" y="0"/>
                  </a:cubicBezTo>
                  <a:cubicBezTo>
                    <a:pt x="1" y="2"/>
                    <a:pt x="1" y="1"/>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7" name="Freeform 168"/>
            <p:cNvSpPr>
              <a:spLocks/>
            </p:cNvSpPr>
            <p:nvPr/>
          </p:nvSpPr>
          <p:spPr bwMode="auto">
            <a:xfrm rot="5400000" flipH="1">
              <a:off x="4465618" y="5530832"/>
              <a:ext cx="0" cy="0"/>
            </a:xfrm>
            <a:custGeom>
              <a:avLst/>
              <a:gdLst>
                <a:gd name="T0" fmla="*/ 0 h 1"/>
                <a:gd name="T1" fmla="*/ 0 h 1"/>
                <a:gd name="T2" fmla="*/ 0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0"/>
                  </a:lnTo>
                  <a:lnTo>
                    <a:pt x="0" y="0"/>
                  </a:lnTo>
                  <a:lnTo>
                    <a:pt x="0" y="1"/>
                  </a:lnTo>
                  <a:lnTo>
                    <a:pt x="0" y="0"/>
                  </a:ln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8" name="Freeform 169"/>
            <p:cNvSpPr>
              <a:spLocks/>
            </p:cNvSpPr>
            <p:nvPr/>
          </p:nvSpPr>
          <p:spPr bwMode="auto">
            <a:xfrm rot="5400000" flipH="1">
              <a:off x="4473166" y="5528676"/>
              <a:ext cx="0" cy="0"/>
            </a:xfrm>
            <a:custGeom>
              <a:avLst/>
              <a:gdLst>
                <a:gd name="T0" fmla="*/ 0 w 1"/>
                <a:gd name="T1" fmla="*/ 0 h 1"/>
                <a:gd name="T2" fmla="*/ 0 w 1"/>
                <a:gd name="T3" fmla="*/ 0 h 1"/>
                <a:gd name="T4" fmla="*/ 0 w 1"/>
                <a:gd name="T5" fmla="*/ 1 h 1"/>
                <a:gd name="T6" fmla="*/ 1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lnTo>
                    <a:pt x="0" y="0"/>
                  </a:lnTo>
                  <a:cubicBezTo>
                    <a:pt x="0" y="0"/>
                    <a:pt x="0" y="1"/>
                    <a:pt x="0" y="1"/>
                  </a:cubicBezTo>
                  <a:cubicBezTo>
                    <a:pt x="1" y="1"/>
                    <a:pt x="1" y="0"/>
                    <a:pt x="1" y="0"/>
                  </a:cubicBezTo>
                  <a:cubicBezTo>
                    <a:pt x="1" y="0"/>
                    <a:pt x="1" y="0"/>
                    <a:pt x="0" y="0"/>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sp>
          <p:nvSpPr>
            <p:cNvPr id="99" name="Freeform 170"/>
            <p:cNvSpPr>
              <a:spLocks/>
            </p:cNvSpPr>
            <p:nvPr/>
          </p:nvSpPr>
          <p:spPr bwMode="auto">
            <a:xfrm rot="5400000" flipH="1">
              <a:off x="4456993" y="5535145"/>
              <a:ext cx="1078" cy="1078"/>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cubicBezTo>
                    <a:pt x="1" y="1"/>
                    <a:pt x="1" y="0"/>
                    <a:pt x="0" y="0"/>
                  </a:cubicBezTo>
                  <a:cubicBezTo>
                    <a:pt x="0" y="1"/>
                    <a:pt x="0" y="1"/>
                    <a:pt x="2" y="2"/>
                  </a:cubicBezTo>
                  <a:close/>
                </a:path>
              </a:pathLst>
            </a:custGeom>
            <a:solidFill>
              <a:srgbClr val="C8C8C8"/>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125296" tIns="62649" rIns="125296" bIns="62649" numCol="1" anchor="t" anchorCtr="0" compatLnSpc="1">
              <a:prstTxWarp prst="textNoShape">
                <a:avLst/>
              </a:prstTxWarp>
            </a:bodyPr>
            <a:lstStyle/>
            <a:p>
              <a:endParaRPr lang="en-GB" dirty="0"/>
            </a:p>
          </p:txBody>
        </p:sp>
      </p:grpSp>
      <p:sp>
        <p:nvSpPr>
          <p:cNvPr id="819" name="ee4pFootnotes"/>
          <p:cNvSpPr>
            <a:spLocks noChangeArrowheads="1"/>
          </p:cNvSpPr>
          <p:nvPr/>
        </p:nvSpPr>
        <p:spPr bwMode="auto">
          <a:xfrm>
            <a:off x="4344750" y="6546114"/>
            <a:ext cx="70154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575757">
                    <a:lumMod val="100000"/>
                  </a:srgbClr>
                </a:solidFill>
                <a:latin typeface="Trebuchet MS" panose="020B0603020202020204" pitchFamily="34" charset="0"/>
                <a:cs typeface="Arial" pitchFamily="34" charset="0"/>
              </a:rPr>
              <a:t>Source: "Do You Need a Business Ecosystem?," U. Pidun, M. Reeves, M. Schüssler (BCG, Sep. 2019) </a:t>
            </a:r>
          </a:p>
        </p:txBody>
      </p:sp>
    </p:spTree>
    <p:extLst>
      <p:ext uri="{BB962C8B-B14F-4D97-AF65-F5344CB8AC3E}">
        <p14:creationId xmlns:p14="http://schemas.microsoft.com/office/powerpoint/2010/main" val="3349366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41566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98" imgH="499" progId="TCLayout.ActiveDocument.1">
                  <p:embed/>
                </p:oleObj>
              </mc:Choice>
              <mc:Fallback>
                <p:oleObj name="think-cell Slide" r:id="rId5" imgW="498" imgH="49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rgbClr val="60C090"/>
          </a:solidFill>
          <a:ln w="9525" cap="rnd" cmpd="sng" algn="ctr">
            <a:solidFill>
              <a:srgbClr val="60C09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622800"/>
            <a:ext cx="10933200" cy="470898"/>
          </a:xfrm>
        </p:spPr>
        <p:txBody>
          <a:bodyPr/>
          <a:lstStyle/>
          <a:p>
            <a:r>
              <a:rPr lang="en-US" dirty="0"/>
              <a:t>How to </a:t>
            </a:r>
            <a:r>
              <a:rPr lang="en-US" i="1" dirty="0"/>
              <a:t>develop</a:t>
            </a:r>
            <a:r>
              <a:rPr lang="en-US" dirty="0"/>
              <a:t> an ecosystem?</a:t>
            </a:r>
          </a:p>
        </p:txBody>
      </p:sp>
      <p:sp>
        <p:nvSpPr>
          <p:cNvPr id="6" name="Freeform 5"/>
          <p:cNvSpPr/>
          <p:nvPr/>
        </p:nvSpPr>
        <p:spPr>
          <a:xfrm rot="1295391" flipV="1">
            <a:off x="7823553" y="3392861"/>
            <a:ext cx="1018119" cy="373551"/>
          </a:xfrm>
          <a:custGeom>
            <a:avLst/>
            <a:gdLst>
              <a:gd name="connsiteX0" fmla="*/ 0 w 864108"/>
              <a:gd name="connsiteY0" fmla="*/ 283464 h 294507"/>
              <a:gd name="connsiteX1" fmla="*/ 297180 w 864108"/>
              <a:gd name="connsiteY1" fmla="*/ 260604 h 294507"/>
              <a:gd name="connsiteX2" fmla="*/ 864108 w 864108"/>
              <a:gd name="connsiteY2" fmla="*/ 0 h 294507"/>
            </a:gdLst>
            <a:ahLst/>
            <a:cxnLst>
              <a:cxn ang="0">
                <a:pos x="connsiteX0" y="connsiteY0"/>
              </a:cxn>
              <a:cxn ang="0">
                <a:pos x="connsiteX1" y="connsiteY1"/>
              </a:cxn>
              <a:cxn ang="0">
                <a:pos x="connsiteX2" y="connsiteY2"/>
              </a:cxn>
            </a:cxnLst>
            <a:rect l="l" t="t" r="r" b="b"/>
            <a:pathLst>
              <a:path w="864108" h="294507">
                <a:moveTo>
                  <a:pt x="0" y="283464"/>
                </a:moveTo>
                <a:cubicBezTo>
                  <a:pt x="76581" y="295656"/>
                  <a:pt x="153162" y="307848"/>
                  <a:pt x="297180" y="260604"/>
                </a:cubicBezTo>
                <a:cubicBezTo>
                  <a:pt x="441198" y="213360"/>
                  <a:pt x="652653" y="106680"/>
                  <a:pt x="864108" y="0"/>
                </a:cubicBezTo>
              </a:path>
            </a:pathLst>
          </a:custGeom>
          <a:noFill/>
          <a:ln w="47625" cap="rnd" cmpd="sng" algn="ctr">
            <a:solidFill>
              <a:srgbClr val="797979"/>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endParaRPr lang="en-US"/>
          </a:p>
        </p:txBody>
      </p:sp>
      <p:cxnSp>
        <p:nvCxnSpPr>
          <p:cNvPr id="9" name="Straight Connector 8"/>
          <p:cNvCxnSpPr/>
          <p:nvPr/>
        </p:nvCxnSpPr>
        <p:spPr>
          <a:xfrm>
            <a:off x="1974188" y="2024226"/>
            <a:ext cx="0" cy="3309937"/>
          </a:xfrm>
          <a:prstGeom prst="line">
            <a:avLst/>
          </a:prstGeom>
          <a:ln w="11906" cap="rnd">
            <a:solidFill>
              <a:schemeClr val="tx1">
                <a:lumMod val="60000"/>
                <a:lumOff val="40000"/>
              </a:schemeClr>
            </a:solidFill>
            <a:prstDash val="solid"/>
            <a:round/>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1974188" y="5359152"/>
            <a:ext cx="7726220" cy="0"/>
          </a:xfrm>
          <a:prstGeom prst="line">
            <a:avLst/>
          </a:prstGeom>
          <a:ln w="11906" cap="rnd">
            <a:solidFill>
              <a:schemeClr val="tx1">
                <a:lumMod val="60000"/>
                <a:lumOff val="40000"/>
              </a:schemeClr>
            </a:solidFill>
            <a:prstDash val="solid"/>
            <a:round/>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Freeform 10"/>
          <p:cNvSpPr/>
          <p:nvPr/>
        </p:nvSpPr>
        <p:spPr>
          <a:xfrm>
            <a:off x="3267701" y="4606404"/>
            <a:ext cx="2503646" cy="690863"/>
          </a:xfrm>
          <a:custGeom>
            <a:avLst/>
            <a:gdLst>
              <a:gd name="connsiteX0" fmla="*/ 0 w 2924175"/>
              <a:gd name="connsiteY0" fmla="*/ 553183 h 582718"/>
              <a:gd name="connsiteX1" fmla="*/ 485775 w 2924175"/>
              <a:gd name="connsiteY1" fmla="*/ 562708 h 582718"/>
              <a:gd name="connsiteX2" fmla="*/ 971550 w 2924175"/>
              <a:gd name="connsiteY2" fmla="*/ 324583 h 582718"/>
              <a:gd name="connsiteX3" fmla="*/ 1571625 w 2924175"/>
              <a:gd name="connsiteY3" fmla="*/ 733 h 582718"/>
              <a:gd name="connsiteX4" fmla="*/ 2143125 w 2924175"/>
              <a:gd name="connsiteY4" fmla="*/ 419833 h 582718"/>
              <a:gd name="connsiteX5" fmla="*/ 2924175 w 2924175"/>
              <a:gd name="connsiteY5" fmla="*/ 553183 h 582718"/>
              <a:gd name="connsiteX0" fmla="*/ 0 w 2924175"/>
              <a:gd name="connsiteY0" fmla="*/ 552552 h 577930"/>
              <a:gd name="connsiteX1" fmla="*/ 485775 w 2924175"/>
              <a:gd name="connsiteY1" fmla="*/ 562077 h 577930"/>
              <a:gd name="connsiteX2" fmla="*/ 933450 w 2924175"/>
              <a:gd name="connsiteY2" fmla="*/ 381102 h 577930"/>
              <a:gd name="connsiteX3" fmla="*/ 1571625 w 2924175"/>
              <a:gd name="connsiteY3" fmla="*/ 102 h 577930"/>
              <a:gd name="connsiteX4" fmla="*/ 2143125 w 2924175"/>
              <a:gd name="connsiteY4" fmla="*/ 419202 h 577930"/>
              <a:gd name="connsiteX5" fmla="*/ 2924175 w 2924175"/>
              <a:gd name="connsiteY5" fmla="*/ 552552 h 577930"/>
              <a:gd name="connsiteX0" fmla="*/ 0 w 2924175"/>
              <a:gd name="connsiteY0" fmla="*/ 552552 h 577930"/>
              <a:gd name="connsiteX1" fmla="*/ 485775 w 2924175"/>
              <a:gd name="connsiteY1" fmla="*/ 562077 h 577930"/>
              <a:gd name="connsiteX2" fmla="*/ 933450 w 2924175"/>
              <a:gd name="connsiteY2" fmla="*/ 381102 h 577930"/>
              <a:gd name="connsiteX3" fmla="*/ 1571625 w 2924175"/>
              <a:gd name="connsiteY3" fmla="*/ 102 h 577930"/>
              <a:gd name="connsiteX4" fmla="*/ 2143125 w 2924175"/>
              <a:gd name="connsiteY4" fmla="*/ 419202 h 577930"/>
              <a:gd name="connsiteX5" fmla="*/ 2924175 w 2924175"/>
              <a:gd name="connsiteY5" fmla="*/ 552552 h 577930"/>
              <a:gd name="connsiteX0" fmla="*/ 0 w 2924175"/>
              <a:gd name="connsiteY0" fmla="*/ 552552 h 569880"/>
              <a:gd name="connsiteX1" fmla="*/ 485775 w 2924175"/>
              <a:gd name="connsiteY1" fmla="*/ 562077 h 569880"/>
              <a:gd name="connsiteX2" fmla="*/ 933450 w 2924175"/>
              <a:gd name="connsiteY2" fmla="*/ 381102 h 569880"/>
              <a:gd name="connsiteX3" fmla="*/ 1571625 w 2924175"/>
              <a:gd name="connsiteY3" fmla="*/ 102 h 569880"/>
              <a:gd name="connsiteX4" fmla="*/ 2143125 w 2924175"/>
              <a:gd name="connsiteY4" fmla="*/ 419202 h 569880"/>
              <a:gd name="connsiteX5" fmla="*/ 2924175 w 2924175"/>
              <a:gd name="connsiteY5" fmla="*/ 552552 h 569880"/>
              <a:gd name="connsiteX0" fmla="*/ 0 w 2924175"/>
              <a:gd name="connsiteY0" fmla="*/ 552552 h 568293"/>
              <a:gd name="connsiteX1" fmla="*/ 485775 w 2924175"/>
              <a:gd name="connsiteY1" fmla="*/ 562077 h 568293"/>
              <a:gd name="connsiteX2" fmla="*/ 933450 w 2924175"/>
              <a:gd name="connsiteY2" fmla="*/ 381102 h 568293"/>
              <a:gd name="connsiteX3" fmla="*/ 1571625 w 2924175"/>
              <a:gd name="connsiteY3" fmla="*/ 102 h 568293"/>
              <a:gd name="connsiteX4" fmla="*/ 2143125 w 2924175"/>
              <a:gd name="connsiteY4" fmla="*/ 419202 h 568293"/>
              <a:gd name="connsiteX5" fmla="*/ 2924175 w 2924175"/>
              <a:gd name="connsiteY5" fmla="*/ 552552 h 568293"/>
              <a:gd name="connsiteX0" fmla="*/ 0 w 2924175"/>
              <a:gd name="connsiteY0" fmla="*/ 552631 h 578892"/>
              <a:gd name="connsiteX1" fmla="*/ 485775 w 2924175"/>
              <a:gd name="connsiteY1" fmla="*/ 562156 h 578892"/>
              <a:gd name="connsiteX2" fmla="*/ 921258 w 2924175"/>
              <a:gd name="connsiteY2" fmla="*/ 368989 h 578892"/>
              <a:gd name="connsiteX3" fmla="*/ 1571625 w 2924175"/>
              <a:gd name="connsiteY3" fmla="*/ 181 h 578892"/>
              <a:gd name="connsiteX4" fmla="*/ 2143125 w 2924175"/>
              <a:gd name="connsiteY4" fmla="*/ 419281 h 578892"/>
              <a:gd name="connsiteX5" fmla="*/ 2924175 w 2924175"/>
              <a:gd name="connsiteY5" fmla="*/ 552631 h 578892"/>
              <a:gd name="connsiteX0" fmla="*/ 0 w 2924175"/>
              <a:gd name="connsiteY0" fmla="*/ 552631 h 552631"/>
              <a:gd name="connsiteX1" fmla="*/ 921258 w 2924175"/>
              <a:gd name="connsiteY1" fmla="*/ 368989 h 552631"/>
              <a:gd name="connsiteX2" fmla="*/ 1571625 w 2924175"/>
              <a:gd name="connsiteY2" fmla="*/ 181 h 552631"/>
              <a:gd name="connsiteX3" fmla="*/ 2143125 w 2924175"/>
              <a:gd name="connsiteY3" fmla="*/ 419281 h 552631"/>
              <a:gd name="connsiteX4" fmla="*/ 2924175 w 2924175"/>
              <a:gd name="connsiteY4" fmla="*/ 552631 h 552631"/>
              <a:gd name="connsiteX0" fmla="*/ 0 w 2002917"/>
              <a:gd name="connsiteY0" fmla="*/ 368989 h 552631"/>
              <a:gd name="connsiteX1" fmla="*/ 650367 w 2002917"/>
              <a:gd name="connsiteY1" fmla="*/ 181 h 552631"/>
              <a:gd name="connsiteX2" fmla="*/ 1221867 w 2002917"/>
              <a:gd name="connsiteY2" fmla="*/ 419281 h 552631"/>
              <a:gd name="connsiteX3" fmla="*/ 2002917 w 2002917"/>
              <a:gd name="connsiteY3" fmla="*/ 552631 h 552631"/>
              <a:gd name="connsiteX0" fmla="*/ 0 w 2002917"/>
              <a:gd name="connsiteY0" fmla="*/ 368989 h 552631"/>
              <a:gd name="connsiteX1" fmla="*/ 650367 w 2002917"/>
              <a:gd name="connsiteY1" fmla="*/ 181 h 552631"/>
              <a:gd name="connsiteX2" fmla="*/ 1221867 w 2002917"/>
              <a:gd name="connsiteY2" fmla="*/ 419281 h 552631"/>
              <a:gd name="connsiteX3" fmla="*/ 2002917 w 2002917"/>
              <a:gd name="connsiteY3" fmla="*/ 552631 h 552631"/>
              <a:gd name="connsiteX0" fmla="*/ 0 w 2002917"/>
              <a:gd name="connsiteY0" fmla="*/ 369048 h 552690"/>
              <a:gd name="connsiteX1" fmla="*/ 650367 w 2002917"/>
              <a:gd name="connsiteY1" fmla="*/ 240 h 552690"/>
              <a:gd name="connsiteX2" fmla="*/ 1221867 w 2002917"/>
              <a:gd name="connsiteY2" fmla="*/ 419340 h 552690"/>
              <a:gd name="connsiteX3" fmla="*/ 2002917 w 2002917"/>
              <a:gd name="connsiteY3" fmla="*/ 552690 h 552690"/>
            </a:gdLst>
            <a:ahLst/>
            <a:cxnLst>
              <a:cxn ang="0">
                <a:pos x="connsiteX0" y="connsiteY0"/>
              </a:cxn>
              <a:cxn ang="0">
                <a:pos x="connsiteX1" y="connsiteY1"/>
              </a:cxn>
              <a:cxn ang="0">
                <a:pos x="connsiteX2" y="connsiteY2"/>
              </a:cxn>
              <a:cxn ang="0">
                <a:pos x="connsiteX3" y="connsiteY3"/>
              </a:cxn>
            </a:cxnLst>
            <a:rect l="l" t="t" r="r" b="b"/>
            <a:pathLst>
              <a:path w="2002917" h="552690">
                <a:moveTo>
                  <a:pt x="0" y="369048"/>
                </a:moveTo>
                <a:cubicBezTo>
                  <a:pt x="222567" y="204584"/>
                  <a:pt x="446723" y="-8142"/>
                  <a:pt x="650367" y="240"/>
                </a:cubicBezTo>
                <a:cubicBezTo>
                  <a:pt x="854011" y="8622"/>
                  <a:pt x="996442" y="327265"/>
                  <a:pt x="1221867" y="419340"/>
                </a:cubicBezTo>
                <a:cubicBezTo>
                  <a:pt x="1447292" y="511415"/>
                  <a:pt x="1725104" y="532052"/>
                  <a:pt x="2002917" y="552690"/>
                </a:cubicBezTo>
              </a:path>
            </a:pathLst>
          </a:custGeom>
          <a:noFill/>
          <a:ln w="35719" cap="rnd" cmpd="sng" algn="ctr">
            <a:solidFill>
              <a:srgbClr val="92050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endParaRPr lang="en-US"/>
          </a:p>
        </p:txBody>
      </p:sp>
      <p:sp>
        <p:nvSpPr>
          <p:cNvPr id="12" name="Freeform 11"/>
          <p:cNvSpPr/>
          <p:nvPr/>
        </p:nvSpPr>
        <p:spPr>
          <a:xfrm>
            <a:off x="5497503" y="3107602"/>
            <a:ext cx="4054077" cy="2185246"/>
          </a:xfrm>
          <a:custGeom>
            <a:avLst/>
            <a:gdLst>
              <a:gd name="connsiteX0" fmla="*/ 0 w 5943600"/>
              <a:gd name="connsiteY0" fmla="*/ 1966615 h 1992312"/>
              <a:gd name="connsiteX1" fmla="*/ 704850 w 5943600"/>
              <a:gd name="connsiteY1" fmla="*/ 1928515 h 1992312"/>
              <a:gd name="connsiteX2" fmla="*/ 1219200 w 5943600"/>
              <a:gd name="connsiteY2" fmla="*/ 1414165 h 1992312"/>
              <a:gd name="connsiteX3" fmla="*/ 1485900 w 5943600"/>
              <a:gd name="connsiteY3" fmla="*/ 880765 h 1992312"/>
              <a:gd name="connsiteX4" fmla="*/ 1781175 w 5943600"/>
              <a:gd name="connsiteY4" fmla="*/ 537865 h 1992312"/>
              <a:gd name="connsiteX5" fmla="*/ 2638425 w 5943600"/>
              <a:gd name="connsiteY5" fmla="*/ 214015 h 1992312"/>
              <a:gd name="connsiteX6" fmla="*/ 3514725 w 5943600"/>
              <a:gd name="connsiteY6" fmla="*/ 23515 h 1992312"/>
              <a:gd name="connsiteX7" fmla="*/ 4705350 w 5943600"/>
              <a:gd name="connsiteY7" fmla="*/ 80665 h 1992312"/>
              <a:gd name="connsiteX8" fmla="*/ 5400675 w 5943600"/>
              <a:gd name="connsiteY8" fmla="*/ 718840 h 1992312"/>
              <a:gd name="connsiteX9" fmla="*/ 5743575 w 5943600"/>
              <a:gd name="connsiteY9" fmla="*/ 1757065 h 1992312"/>
              <a:gd name="connsiteX10" fmla="*/ 5943600 w 5943600"/>
              <a:gd name="connsiteY10" fmla="*/ 1899940 h 1992312"/>
              <a:gd name="connsiteX0" fmla="*/ 0 w 5943600"/>
              <a:gd name="connsiteY0" fmla="*/ 1966615 h 1992312"/>
              <a:gd name="connsiteX1" fmla="*/ 704850 w 5943600"/>
              <a:gd name="connsiteY1" fmla="*/ 1928515 h 1992312"/>
              <a:gd name="connsiteX2" fmla="*/ 1219200 w 5943600"/>
              <a:gd name="connsiteY2" fmla="*/ 1414165 h 1992312"/>
              <a:gd name="connsiteX3" fmla="*/ 1485900 w 5943600"/>
              <a:gd name="connsiteY3" fmla="*/ 880765 h 1992312"/>
              <a:gd name="connsiteX4" fmla="*/ 1781175 w 5943600"/>
              <a:gd name="connsiteY4" fmla="*/ 537865 h 1992312"/>
              <a:gd name="connsiteX5" fmla="*/ 2638425 w 5943600"/>
              <a:gd name="connsiteY5" fmla="*/ 214015 h 1992312"/>
              <a:gd name="connsiteX6" fmla="*/ 3514725 w 5943600"/>
              <a:gd name="connsiteY6" fmla="*/ 23515 h 1992312"/>
              <a:gd name="connsiteX7" fmla="*/ 4705350 w 5943600"/>
              <a:gd name="connsiteY7" fmla="*/ 80665 h 1992312"/>
              <a:gd name="connsiteX8" fmla="*/ 5400675 w 5943600"/>
              <a:gd name="connsiteY8" fmla="*/ 718840 h 1992312"/>
              <a:gd name="connsiteX9" fmla="*/ 5743575 w 5943600"/>
              <a:gd name="connsiteY9" fmla="*/ 1757065 h 1992312"/>
              <a:gd name="connsiteX10" fmla="*/ 5943600 w 5943600"/>
              <a:gd name="connsiteY10" fmla="*/ 1899940 h 1992312"/>
              <a:gd name="connsiteX0" fmla="*/ 0 w 5943600"/>
              <a:gd name="connsiteY0" fmla="*/ 1966615 h 1992312"/>
              <a:gd name="connsiteX1" fmla="*/ 704850 w 5943600"/>
              <a:gd name="connsiteY1" fmla="*/ 1928515 h 1992312"/>
              <a:gd name="connsiteX2" fmla="*/ 1219200 w 5943600"/>
              <a:gd name="connsiteY2" fmla="*/ 1414165 h 1992312"/>
              <a:gd name="connsiteX3" fmla="*/ 1485900 w 5943600"/>
              <a:gd name="connsiteY3" fmla="*/ 880765 h 1992312"/>
              <a:gd name="connsiteX4" fmla="*/ 1781175 w 5943600"/>
              <a:gd name="connsiteY4" fmla="*/ 537865 h 1992312"/>
              <a:gd name="connsiteX5" fmla="*/ 2638425 w 5943600"/>
              <a:gd name="connsiteY5" fmla="*/ 214015 h 1992312"/>
              <a:gd name="connsiteX6" fmla="*/ 3514725 w 5943600"/>
              <a:gd name="connsiteY6" fmla="*/ 23515 h 1992312"/>
              <a:gd name="connsiteX7" fmla="*/ 4705350 w 5943600"/>
              <a:gd name="connsiteY7" fmla="*/ 80665 h 1992312"/>
              <a:gd name="connsiteX8" fmla="*/ 5400675 w 5943600"/>
              <a:gd name="connsiteY8" fmla="*/ 718840 h 1992312"/>
              <a:gd name="connsiteX9" fmla="*/ 5743575 w 5943600"/>
              <a:gd name="connsiteY9" fmla="*/ 1757065 h 1992312"/>
              <a:gd name="connsiteX10" fmla="*/ 5943600 w 5943600"/>
              <a:gd name="connsiteY10" fmla="*/ 1899940 h 1992312"/>
              <a:gd name="connsiteX0" fmla="*/ 0 w 5943600"/>
              <a:gd name="connsiteY0" fmla="*/ 1966615 h 1991469"/>
              <a:gd name="connsiteX1" fmla="*/ 704850 w 5943600"/>
              <a:gd name="connsiteY1" fmla="*/ 1928515 h 1991469"/>
              <a:gd name="connsiteX2" fmla="*/ 1223963 w 5943600"/>
              <a:gd name="connsiteY2" fmla="*/ 1428452 h 1991469"/>
              <a:gd name="connsiteX3" fmla="*/ 1485900 w 5943600"/>
              <a:gd name="connsiteY3" fmla="*/ 880765 h 1991469"/>
              <a:gd name="connsiteX4" fmla="*/ 1781175 w 5943600"/>
              <a:gd name="connsiteY4" fmla="*/ 537865 h 1991469"/>
              <a:gd name="connsiteX5" fmla="*/ 2638425 w 5943600"/>
              <a:gd name="connsiteY5" fmla="*/ 214015 h 1991469"/>
              <a:gd name="connsiteX6" fmla="*/ 3514725 w 5943600"/>
              <a:gd name="connsiteY6" fmla="*/ 23515 h 1991469"/>
              <a:gd name="connsiteX7" fmla="*/ 4705350 w 5943600"/>
              <a:gd name="connsiteY7" fmla="*/ 80665 h 1991469"/>
              <a:gd name="connsiteX8" fmla="*/ 5400675 w 5943600"/>
              <a:gd name="connsiteY8" fmla="*/ 718840 h 1991469"/>
              <a:gd name="connsiteX9" fmla="*/ 5743575 w 5943600"/>
              <a:gd name="connsiteY9" fmla="*/ 1757065 h 1991469"/>
              <a:gd name="connsiteX10" fmla="*/ 5943600 w 5943600"/>
              <a:gd name="connsiteY10" fmla="*/ 1899940 h 1991469"/>
              <a:gd name="connsiteX0" fmla="*/ 0 w 5943600"/>
              <a:gd name="connsiteY0" fmla="*/ 1966615 h 1976484"/>
              <a:gd name="connsiteX1" fmla="*/ 800100 w 5943600"/>
              <a:gd name="connsiteY1" fmla="*/ 1876128 h 1976484"/>
              <a:gd name="connsiteX2" fmla="*/ 1223963 w 5943600"/>
              <a:gd name="connsiteY2" fmla="*/ 1428452 h 1976484"/>
              <a:gd name="connsiteX3" fmla="*/ 1485900 w 5943600"/>
              <a:gd name="connsiteY3" fmla="*/ 880765 h 1976484"/>
              <a:gd name="connsiteX4" fmla="*/ 1781175 w 5943600"/>
              <a:gd name="connsiteY4" fmla="*/ 537865 h 1976484"/>
              <a:gd name="connsiteX5" fmla="*/ 2638425 w 5943600"/>
              <a:gd name="connsiteY5" fmla="*/ 214015 h 1976484"/>
              <a:gd name="connsiteX6" fmla="*/ 3514725 w 5943600"/>
              <a:gd name="connsiteY6" fmla="*/ 23515 h 1976484"/>
              <a:gd name="connsiteX7" fmla="*/ 4705350 w 5943600"/>
              <a:gd name="connsiteY7" fmla="*/ 80665 h 1976484"/>
              <a:gd name="connsiteX8" fmla="*/ 5400675 w 5943600"/>
              <a:gd name="connsiteY8" fmla="*/ 718840 h 1976484"/>
              <a:gd name="connsiteX9" fmla="*/ 5743575 w 5943600"/>
              <a:gd name="connsiteY9" fmla="*/ 1757065 h 1976484"/>
              <a:gd name="connsiteX10" fmla="*/ 5943600 w 5943600"/>
              <a:gd name="connsiteY10" fmla="*/ 1899940 h 1976484"/>
              <a:gd name="connsiteX0" fmla="*/ 0 w 5943600"/>
              <a:gd name="connsiteY0" fmla="*/ 1888024 h 1897893"/>
              <a:gd name="connsiteX1" fmla="*/ 800100 w 5943600"/>
              <a:gd name="connsiteY1" fmla="*/ 1797537 h 1897893"/>
              <a:gd name="connsiteX2" fmla="*/ 1223963 w 5943600"/>
              <a:gd name="connsiteY2" fmla="*/ 1349861 h 1897893"/>
              <a:gd name="connsiteX3" fmla="*/ 1485900 w 5943600"/>
              <a:gd name="connsiteY3" fmla="*/ 802174 h 1897893"/>
              <a:gd name="connsiteX4" fmla="*/ 1781175 w 5943600"/>
              <a:gd name="connsiteY4" fmla="*/ 459274 h 1897893"/>
              <a:gd name="connsiteX5" fmla="*/ 2638425 w 5943600"/>
              <a:gd name="connsiteY5" fmla="*/ 135424 h 1897893"/>
              <a:gd name="connsiteX6" fmla="*/ 3581400 w 5943600"/>
              <a:gd name="connsiteY6" fmla="*/ 425936 h 1897893"/>
              <a:gd name="connsiteX7" fmla="*/ 4705350 w 5943600"/>
              <a:gd name="connsiteY7" fmla="*/ 2074 h 1897893"/>
              <a:gd name="connsiteX8" fmla="*/ 5400675 w 5943600"/>
              <a:gd name="connsiteY8" fmla="*/ 640249 h 1897893"/>
              <a:gd name="connsiteX9" fmla="*/ 5743575 w 5943600"/>
              <a:gd name="connsiteY9" fmla="*/ 1678474 h 1897893"/>
              <a:gd name="connsiteX10" fmla="*/ 5943600 w 5943600"/>
              <a:gd name="connsiteY10" fmla="*/ 1821349 h 1897893"/>
              <a:gd name="connsiteX0" fmla="*/ 0 w 5943600"/>
              <a:gd name="connsiteY0" fmla="*/ 1752716 h 1762585"/>
              <a:gd name="connsiteX1" fmla="*/ 800100 w 5943600"/>
              <a:gd name="connsiteY1" fmla="*/ 1662229 h 1762585"/>
              <a:gd name="connsiteX2" fmla="*/ 1223963 w 5943600"/>
              <a:gd name="connsiteY2" fmla="*/ 1214553 h 1762585"/>
              <a:gd name="connsiteX3" fmla="*/ 1485900 w 5943600"/>
              <a:gd name="connsiteY3" fmla="*/ 666866 h 1762585"/>
              <a:gd name="connsiteX4" fmla="*/ 1781175 w 5943600"/>
              <a:gd name="connsiteY4" fmla="*/ 323966 h 1762585"/>
              <a:gd name="connsiteX5" fmla="*/ 2638425 w 5943600"/>
              <a:gd name="connsiteY5" fmla="*/ 116 h 1762585"/>
              <a:gd name="connsiteX6" fmla="*/ 3581400 w 5943600"/>
              <a:gd name="connsiteY6" fmla="*/ 290628 h 1762585"/>
              <a:gd name="connsiteX7" fmla="*/ 4591050 w 5943600"/>
              <a:gd name="connsiteY7" fmla="*/ 600191 h 1762585"/>
              <a:gd name="connsiteX8" fmla="*/ 5400675 w 5943600"/>
              <a:gd name="connsiteY8" fmla="*/ 504941 h 1762585"/>
              <a:gd name="connsiteX9" fmla="*/ 5743575 w 5943600"/>
              <a:gd name="connsiteY9" fmla="*/ 1543166 h 1762585"/>
              <a:gd name="connsiteX10" fmla="*/ 5943600 w 5943600"/>
              <a:gd name="connsiteY10" fmla="*/ 1686041 h 1762585"/>
              <a:gd name="connsiteX0" fmla="*/ 0 w 5943600"/>
              <a:gd name="connsiteY0" fmla="*/ 1752716 h 1762585"/>
              <a:gd name="connsiteX1" fmla="*/ 800100 w 5943600"/>
              <a:gd name="connsiteY1" fmla="*/ 1662229 h 1762585"/>
              <a:gd name="connsiteX2" fmla="*/ 1223963 w 5943600"/>
              <a:gd name="connsiteY2" fmla="*/ 1214553 h 1762585"/>
              <a:gd name="connsiteX3" fmla="*/ 1485900 w 5943600"/>
              <a:gd name="connsiteY3" fmla="*/ 666866 h 1762585"/>
              <a:gd name="connsiteX4" fmla="*/ 1781175 w 5943600"/>
              <a:gd name="connsiteY4" fmla="*/ 323966 h 1762585"/>
              <a:gd name="connsiteX5" fmla="*/ 2638425 w 5943600"/>
              <a:gd name="connsiteY5" fmla="*/ 116 h 1762585"/>
              <a:gd name="connsiteX6" fmla="*/ 3581400 w 5943600"/>
              <a:gd name="connsiteY6" fmla="*/ 290628 h 1762585"/>
              <a:gd name="connsiteX7" fmla="*/ 4591050 w 5943600"/>
              <a:gd name="connsiteY7" fmla="*/ 600191 h 1762585"/>
              <a:gd name="connsiteX8" fmla="*/ 4933950 w 5943600"/>
              <a:gd name="connsiteY8" fmla="*/ 1400291 h 1762585"/>
              <a:gd name="connsiteX9" fmla="*/ 5743575 w 5943600"/>
              <a:gd name="connsiteY9" fmla="*/ 1543166 h 1762585"/>
              <a:gd name="connsiteX10" fmla="*/ 5943600 w 5943600"/>
              <a:gd name="connsiteY10" fmla="*/ 1686041 h 1762585"/>
              <a:gd name="connsiteX0" fmla="*/ 0 w 5943600"/>
              <a:gd name="connsiteY0" fmla="*/ 1752793 h 1762662"/>
              <a:gd name="connsiteX1" fmla="*/ 800100 w 5943600"/>
              <a:gd name="connsiteY1" fmla="*/ 1662306 h 1762662"/>
              <a:gd name="connsiteX2" fmla="*/ 1223963 w 5943600"/>
              <a:gd name="connsiteY2" fmla="*/ 1214630 h 1762662"/>
              <a:gd name="connsiteX3" fmla="*/ 1485900 w 5943600"/>
              <a:gd name="connsiteY3" fmla="*/ 666943 h 1762662"/>
              <a:gd name="connsiteX4" fmla="*/ 1781175 w 5943600"/>
              <a:gd name="connsiteY4" fmla="*/ 324043 h 1762662"/>
              <a:gd name="connsiteX5" fmla="*/ 2638425 w 5943600"/>
              <a:gd name="connsiteY5" fmla="*/ 193 h 1762662"/>
              <a:gd name="connsiteX6" fmla="*/ 3581400 w 5943600"/>
              <a:gd name="connsiteY6" fmla="*/ 290705 h 1762662"/>
              <a:gd name="connsiteX7" fmla="*/ 4019550 w 5943600"/>
              <a:gd name="connsiteY7" fmla="*/ 1090805 h 1762662"/>
              <a:gd name="connsiteX8" fmla="*/ 4933950 w 5943600"/>
              <a:gd name="connsiteY8" fmla="*/ 1400368 h 1762662"/>
              <a:gd name="connsiteX9" fmla="*/ 5743575 w 5943600"/>
              <a:gd name="connsiteY9" fmla="*/ 1543243 h 1762662"/>
              <a:gd name="connsiteX10" fmla="*/ 5943600 w 5943600"/>
              <a:gd name="connsiteY10" fmla="*/ 1686118 h 1762662"/>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933950 w 5943600"/>
              <a:gd name="connsiteY8" fmla="*/ 1395613 h 1757907"/>
              <a:gd name="connsiteX9" fmla="*/ 5743575 w 5943600"/>
              <a:gd name="connsiteY9" fmla="*/ 15384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933950 w 5943600"/>
              <a:gd name="connsiteY8" fmla="*/ 1395613 h 1757907"/>
              <a:gd name="connsiteX9" fmla="*/ 5743575 w 5943600"/>
              <a:gd name="connsiteY9" fmla="*/ 15384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933950 w 5943600"/>
              <a:gd name="connsiteY8" fmla="*/ 1395613 h 1757907"/>
              <a:gd name="connsiteX9" fmla="*/ 5743575 w 5943600"/>
              <a:gd name="connsiteY9" fmla="*/ 15384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933950 w 5943600"/>
              <a:gd name="connsiteY8" fmla="*/ 1395613 h 1757907"/>
              <a:gd name="connsiteX9" fmla="*/ 5743575 w 5943600"/>
              <a:gd name="connsiteY9" fmla="*/ 15384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933950 w 5943600"/>
              <a:gd name="connsiteY8" fmla="*/ 1395613 h 1757907"/>
              <a:gd name="connsiteX9" fmla="*/ 5743575 w 5943600"/>
              <a:gd name="connsiteY9" fmla="*/ 15384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933950 w 5943600"/>
              <a:gd name="connsiteY8" fmla="*/ 1395613 h 1757907"/>
              <a:gd name="connsiteX9" fmla="*/ 5467350 w 5943600"/>
              <a:gd name="connsiteY9" fmla="*/ 1609925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933950 w 5943600"/>
              <a:gd name="connsiteY8" fmla="*/ 1395613 h 1757907"/>
              <a:gd name="connsiteX9" fmla="*/ 5467350 w 5943600"/>
              <a:gd name="connsiteY9" fmla="*/ 1609925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933950 w 5943600"/>
              <a:gd name="connsiteY8" fmla="*/ 1395613 h 1757907"/>
              <a:gd name="connsiteX9" fmla="*/ 5443537 w 5943600"/>
              <a:gd name="connsiteY9" fmla="*/ 16527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657725 w 5943600"/>
              <a:gd name="connsiteY8" fmla="*/ 1548013 h 1757907"/>
              <a:gd name="connsiteX9" fmla="*/ 5443537 w 5943600"/>
              <a:gd name="connsiteY9" fmla="*/ 16527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657725 w 5943600"/>
              <a:gd name="connsiteY8" fmla="*/ 1548013 h 1757907"/>
              <a:gd name="connsiteX9" fmla="*/ 5443537 w 5943600"/>
              <a:gd name="connsiteY9" fmla="*/ 16527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657725 w 5943600"/>
              <a:gd name="connsiteY8" fmla="*/ 1548013 h 1757907"/>
              <a:gd name="connsiteX9" fmla="*/ 5443537 w 5943600"/>
              <a:gd name="connsiteY9" fmla="*/ 165278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657725 w 5943600"/>
              <a:gd name="connsiteY8" fmla="*/ 1548013 h 1757907"/>
              <a:gd name="connsiteX9" fmla="*/ 5372100 w 5943600"/>
              <a:gd name="connsiteY9" fmla="*/ 1671838 h 1757907"/>
              <a:gd name="connsiteX10" fmla="*/ 5943600 w 5943600"/>
              <a:gd name="connsiteY10" fmla="*/ 1681363 h 1757907"/>
              <a:gd name="connsiteX0" fmla="*/ 0 w 5943600"/>
              <a:gd name="connsiteY0" fmla="*/ 1748038 h 1757907"/>
              <a:gd name="connsiteX1" fmla="*/ 800100 w 5943600"/>
              <a:gd name="connsiteY1" fmla="*/ 1657551 h 1757907"/>
              <a:gd name="connsiteX2" fmla="*/ 1223963 w 5943600"/>
              <a:gd name="connsiteY2" fmla="*/ 1209875 h 1757907"/>
              <a:gd name="connsiteX3" fmla="*/ 1485900 w 5943600"/>
              <a:gd name="connsiteY3" fmla="*/ 662188 h 1757907"/>
              <a:gd name="connsiteX4" fmla="*/ 1781175 w 5943600"/>
              <a:gd name="connsiteY4" fmla="*/ 319288 h 1757907"/>
              <a:gd name="connsiteX5" fmla="*/ 2733675 w 5943600"/>
              <a:gd name="connsiteY5" fmla="*/ 201 h 1757907"/>
              <a:gd name="connsiteX6" fmla="*/ 3581400 w 5943600"/>
              <a:gd name="connsiteY6" fmla="*/ 285950 h 1757907"/>
              <a:gd name="connsiteX7" fmla="*/ 4019550 w 5943600"/>
              <a:gd name="connsiteY7" fmla="*/ 1086050 h 1757907"/>
              <a:gd name="connsiteX8" fmla="*/ 4657725 w 5943600"/>
              <a:gd name="connsiteY8" fmla="*/ 1548013 h 1757907"/>
              <a:gd name="connsiteX9" fmla="*/ 5372100 w 5943600"/>
              <a:gd name="connsiteY9" fmla="*/ 1671838 h 1757907"/>
              <a:gd name="connsiteX10" fmla="*/ 5943600 w 5943600"/>
              <a:gd name="connsiteY10" fmla="*/ 1681363 h 1757907"/>
              <a:gd name="connsiteX0" fmla="*/ 0 w 5976937"/>
              <a:gd name="connsiteY0" fmla="*/ 1748038 h 1757907"/>
              <a:gd name="connsiteX1" fmla="*/ 800100 w 5976937"/>
              <a:gd name="connsiteY1" fmla="*/ 1657551 h 1757907"/>
              <a:gd name="connsiteX2" fmla="*/ 1223963 w 5976937"/>
              <a:gd name="connsiteY2" fmla="*/ 1209875 h 1757907"/>
              <a:gd name="connsiteX3" fmla="*/ 1485900 w 5976937"/>
              <a:gd name="connsiteY3" fmla="*/ 662188 h 1757907"/>
              <a:gd name="connsiteX4" fmla="*/ 1781175 w 5976937"/>
              <a:gd name="connsiteY4" fmla="*/ 319288 h 1757907"/>
              <a:gd name="connsiteX5" fmla="*/ 2733675 w 5976937"/>
              <a:gd name="connsiteY5" fmla="*/ 201 h 1757907"/>
              <a:gd name="connsiteX6" fmla="*/ 3581400 w 5976937"/>
              <a:gd name="connsiteY6" fmla="*/ 285950 h 1757907"/>
              <a:gd name="connsiteX7" fmla="*/ 4019550 w 5976937"/>
              <a:gd name="connsiteY7" fmla="*/ 1086050 h 1757907"/>
              <a:gd name="connsiteX8" fmla="*/ 4657725 w 5976937"/>
              <a:gd name="connsiteY8" fmla="*/ 1548013 h 1757907"/>
              <a:gd name="connsiteX9" fmla="*/ 5372100 w 5976937"/>
              <a:gd name="connsiteY9" fmla="*/ 1671838 h 1757907"/>
              <a:gd name="connsiteX10" fmla="*/ 5976937 w 5976937"/>
              <a:gd name="connsiteY10" fmla="*/ 1733751 h 1757907"/>
              <a:gd name="connsiteX0" fmla="*/ 0 w 5976937"/>
              <a:gd name="connsiteY0" fmla="*/ 1748038 h 1757907"/>
              <a:gd name="connsiteX1" fmla="*/ 800100 w 5976937"/>
              <a:gd name="connsiteY1" fmla="*/ 1657551 h 1757907"/>
              <a:gd name="connsiteX2" fmla="*/ 1223963 w 5976937"/>
              <a:gd name="connsiteY2" fmla="*/ 1209875 h 1757907"/>
              <a:gd name="connsiteX3" fmla="*/ 1485900 w 5976937"/>
              <a:gd name="connsiteY3" fmla="*/ 662188 h 1757907"/>
              <a:gd name="connsiteX4" fmla="*/ 1781175 w 5976937"/>
              <a:gd name="connsiteY4" fmla="*/ 319288 h 1757907"/>
              <a:gd name="connsiteX5" fmla="*/ 2733675 w 5976937"/>
              <a:gd name="connsiteY5" fmla="*/ 201 h 1757907"/>
              <a:gd name="connsiteX6" fmla="*/ 3581400 w 5976937"/>
              <a:gd name="connsiteY6" fmla="*/ 285950 h 1757907"/>
              <a:gd name="connsiteX7" fmla="*/ 4019550 w 5976937"/>
              <a:gd name="connsiteY7" fmla="*/ 1086050 h 1757907"/>
              <a:gd name="connsiteX8" fmla="*/ 4657725 w 5976937"/>
              <a:gd name="connsiteY8" fmla="*/ 1548013 h 1757907"/>
              <a:gd name="connsiteX9" fmla="*/ 5110162 w 5976937"/>
              <a:gd name="connsiteY9" fmla="*/ 1709938 h 1757907"/>
              <a:gd name="connsiteX10" fmla="*/ 5976937 w 5976937"/>
              <a:gd name="connsiteY10" fmla="*/ 1733751 h 1757907"/>
              <a:gd name="connsiteX0" fmla="*/ 0 w 5976937"/>
              <a:gd name="connsiteY0" fmla="*/ 1748038 h 1757907"/>
              <a:gd name="connsiteX1" fmla="*/ 800100 w 5976937"/>
              <a:gd name="connsiteY1" fmla="*/ 1657551 h 1757907"/>
              <a:gd name="connsiteX2" fmla="*/ 1223963 w 5976937"/>
              <a:gd name="connsiteY2" fmla="*/ 1209875 h 1757907"/>
              <a:gd name="connsiteX3" fmla="*/ 1485900 w 5976937"/>
              <a:gd name="connsiteY3" fmla="*/ 662188 h 1757907"/>
              <a:gd name="connsiteX4" fmla="*/ 1781175 w 5976937"/>
              <a:gd name="connsiteY4" fmla="*/ 319288 h 1757907"/>
              <a:gd name="connsiteX5" fmla="*/ 2733675 w 5976937"/>
              <a:gd name="connsiteY5" fmla="*/ 201 h 1757907"/>
              <a:gd name="connsiteX6" fmla="*/ 3581400 w 5976937"/>
              <a:gd name="connsiteY6" fmla="*/ 285950 h 1757907"/>
              <a:gd name="connsiteX7" fmla="*/ 4019550 w 5976937"/>
              <a:gd name="connsiteY7" fmla="*/ 1086050 h 1757907"/>
              <a:gd name="connsiteX8" fmla="*/ 4315891 w 5976937"/>
              <a:gd name="connsiteY8" fmla="*/ 1561252 h 1757907"/>
              <a:gd name="connsiteX9" fmla="*/ 4657725 w 5976937"/>
              <a:gd name="connsiteY9" fmla="*/ 1548013 h 1757907"/>
              <a:gd name="connsiteX10" fmla="*/ 5110162 w 5976937"/>
              <a:gd name="connsiteY10" fmla="*/ 1709938 h 1757907"/>
              <a:gd name="connsiteX11" fmla="*/ 5976937 w 5976937"/>
              <a:gd name="connsiteY11" fmla="*/ 1733751 h 1757907"/>
              <a:gd name="connsiteX0" fmla="*/ 0 w 5976937"/>
              <a:gd name="connsiteY0" fmla="*/ 1748038 h 1757907"/>
              <a:gd name="connsiteX1" fmla="*/ 800100 w 5976937"/>
              <a:gd name="connsiteY1" fmla="*/ 1657551 h 1757907"/>
              <a:gd name="connsiteX2" fmla="*/ 1223963 w 5976937"/>
              <a:gd name="connsiteY2" fmla="*/ 1209875 h 1757907"/>
              <a:gd name="connsiteX3" fmla="*/ 1485900 w 5976937"/>
              <a:gd name="connsiteY3" fmla="*/ 662188 h 1757907"/>
              <a:gd name="connsiteX4" fmla="*/ 1781175 w 5976937"/>
              <a:gd name="connsiteY4" fmla="*/ 319288 h 1757907"/>
              <a:gd name="connsiteX5" fmla="*/ 2733675 w 5976937"/>
              <a:gd name="connsiteY5" fmla="*/ 201 h 1757907"/>
              <a:gd name="connsiteX6" fmla="*/ 3581400 w 5976937"/>
              <a:gd name="connsiteY6" fmla="*/ 285950 h 1757907"/>
              <a:gd name="connsiteX7" fmla="*/ 4019550 w 5976937"/>
              <a:gd name="connsiteY7" fmla="*/ 1086050 h 1757907"/>
              <a:gd name="connsiteX8" fmla="*/ 4315891 w 5976937"/>
              <a:gd name="connsiteY8" fmla="*/ 1561252 h 1757907"/>
              <a:gd name="connsiteX9" fmla="*/ 4643437 w 5976937"/>
              <a:gd name="connsiteY9" fmla="*/ 1671838 h 1757907"/>
              <a:gd name="connsiteX10" fmla="*/ 5110162 w 5976937"/>
              <a:gd name="connsiteY10" fmla="*/ 1709938 h 1757907"/>
              <a:gd name="connsiteX11" fmla="*/ 5976937 w 5976937"/>
              <a:gd name="connsiteY11" fmla="*/ 1733751 h 1757907"/>
              <a:gd name="connsiteX0" fmla="*/ 0 w 5976937"/>
              <a:gd name="connsiteY0" fmla="*/ 1748038 h 1748038"/>
              <a:gd name="connsiteX1" fmla="*/ 1223963 w 5976937"/>
              <a:gd name="connsiteY1" fmla="*/ 1209875 h 1748038"/>
              <a:gd name="connsiteX2" fmla="*/ 1485900 w 5976937"/>
              <a:gd name="connsiteY2" fmla="*/ 662188 h 1748038"/>
              <a:gd name="connsiteX3" fmla="*/ 1781175 w 5976937"/>
              <a:gd name="connsiteY3" fmla="*/ 319288 h 1748038"/>
              <a:gd name="connsiteX4" fmla="*/ 2733675 w 5976937"/>
              <a:gd name="connsiteY4" fmla="*/ 201 h 1748038"/>
              <a:gd name="connsiteX5" fmla="*/ 3581400 w 5976937"/>
              <a:gd name="connsiteY5" fmla="*/ 285950 h 1748038"/>
              <a:gd name="connsiteX6" fmla="*/ 4019550 w 5976937"/>
              <a:gd name="connsiteY6" fmla="*/ 1086050 h 1748038"/>
              <a:gd name="connsiteX7" fmla="*/ 4315891 w 5976937"/>
              <a:gd name="connsiteY7" fmla="*/ 1561252 h 1748038"/>
              <a:gd name="connsiteX8" fmla="*/ 4643437 w 5976937"/>
              <a:gd name="connsiteY8" fmla="*/ 1671838 h 1748038"/>
              <a:gd name="connsiteX9" fmla="*/ 5110162 w 5976937"/>
              <a:gd name="connsiteY9" fmla="*/ 1709938 h 1748038"/>
              <a:gd name="connsiteX10" fmla="*/ 5976937 w 5976937"/>
              <a:gd name="connsiteY10" fmla="*/ 1733751 h 1748038"/>
              <a:gd name="connsiteX0" fmla="*/ 0 w 4752974"/>
              <a:gd name="connsiteY0" fmla="*/ 1209875 h 1734978"/>
              <a:gd name="connsiteX1" fmla="*/ 261937 w 4752974"/>
              <a:gd name="connsiteY1" fmla="*/ 662188 h 1734978"/>
              <a:gd name="connsiteX2" fmla="*/ 557212 w 4752974"/>
              <a:gd name="connsiteY2" fmla="*/ 319288 h 1734978"/>
              <a:gd name="connsiteX3" fmla="*/ 1509712 w 4752974"/>
              <a:gd name="connsiteY3" fmla="*/ 201 h 1734978"/>
              <a:gd name="connsiteX4" fmla="*/ 2357437 w 4752974"/>
              <a:gd name="connsiteY4" fmla="*/ 285950 h 1734978"/>
              <a:gd name="connsiteX5" fmla="*/ 2795587 w 4752974"/>
              <a:gd name="connsiteY5" fmla="*/ 1086050 h 1734978"/>
              <a:gd name="connsiteX6" fmla="*/ 3091928 w 4752974"/>
              <a:gd name="connsiteY6" fmla="*/ 1561252 h 1734978"/>
              <a:gd name="connsiteX7" fmla="*/ 3419474 w 4752974"/>
              <a:gd name="connsiteY7" fmla="*/ 1671838 h 1734978"/>
              <a:gd name="connsiteX8" fmla="*/ 3886199 w 4752974"/>
              <a:gd name="connsiteY8" fmla="*/ 1709938 h 1734978"/>
              <a:gd name="connsiteX9" fmla="*/ 4752974 w 4752974"/>
              <a:gd name="connsiteY9" fmla="*/ 1733751 h 1734978"/>
              <a:gd name="connsiteX0" fmla="*/ 0 w 4491037"/>
              <a:gd name="connsiteY0" fmla="*/ 662188 h 1734978"/>
              <a:gd name="connsiteX1" fmla="*/ 295275 w 4491037"/>
              <a:gd name="connsiteY1" fmla="*/ 319288 h 1734978"/>
              <a:gd name="connsiteX2" fmla="*/ 1247775 w 4491037"/>
              <a:gd name="connsiteY2" fmla="*/ 201 h 1734978"/>
              <a:gd name="connsiteX3" fmla="*/ 2095500 w 4491037"/>
              <a:gd name="connsiteY3" fmla="*/ 285950 h 1734978"/>
              <a:gd name="connsiteX4" fmla="*/ 2533650 w 4491037"/>
              <a:gd name="connsiteY4" fmla="*/ 1086050 h 1734978"/>
              <a:gd name="connsiteX5" fmla="*/ 2829991 w 4491037"/>
              <a:gd name="connsiteY5" fmla="*/ 1561252 h 1734978"/>
              <a:gd name="connsiteX6" fmla="*/ 3157537 w 4491037"/>
              <a:gd name="connsiteY6" fmla="*/ 1671838 h 1734978"/>
              <a:gd name="connsiteX7" fmla="*/ 3624262 w 4491037"/>
              <a:gd name="connsiteY7" fmla="*/ 1709938 h 1734978"/>
              <a:gd name="connsiteX8" fmla="*/ 4491037 w 4491037"/>
              <a:gd name="connsiteY8" fmla="*/ 1733751 h 1734978"/>
              <a:gd name="connsiteX0" fmla="*/ 0 w 4491037"/>
              <a:gd name="connsiteY0" fmla="*/ 675406 h 1748196"/>
              <a:gd name="connsiteX1" fmla="*/ 1247775 w 4491037"/>
              <a:gd name="connsiteY1" fmla="*/ 13419 h 1748196"/>
              <a:gd name="connsiteX2" fmla="*/ 2095500 w 4491037"/>
              <a:gd name="connsiteY2" fmla="*/ 299168 h 1748196"/>
              <a:gd name="connsiteX3" fmla="*/ 2533650 w 4491037"/>
              <a:gd name="connsiteY3" fmla="*/ 1099268 h 1748196"/>
              <a:gd name="connsiteX4" fmla="*/ 2829991 w 4491037"/>
              <a:gd name="connsiteY4" fmla="*/ 1574470 h 1748196"/>
              <a:gd name="connsiteX5" fmla="*/ 3157537 w 4491037"/>
              <a:gd name="connsiteY5" fmla="*/ 1685056 h 1748196"/>
              <a:gd name="connsiteX6" fmla="*/ 3624262 w 4491037"/>
              <a:gd name="connsiteY6" fmla="*/ 1723156 h 1748196"/>
              <a:gd name="connsiteX7" fmla="*/ 4491037 w 4491037"/>
              <a:gd name="connsiteY7" fmla="*/ 1746969 h 1748196"/>
              <a:gd name="connsiteX0" fmla="*/ 0 w 3243262"/>
              <a:gd name="connsiteY0" fmla="*/ 13419 h 1748196"/>
              <a:gd name="connsiteX1" fmla="*/ 847725 w 3243262"/>
              <a:gd name="connsiteY1" fmla="*/ 299168 h 1748196"/>
              <a:gd name="connsiteX2" fmla="*/ 1285875 w 3243262"/>
              <a:gd name="connsiteY2" fmla="*/ 1099268 h 1748196"/>
              <a:gd name="connsiteX3" fmla="*/ 1582216 w 3243262"/>
              <a:gd name="connsiteY3" fmla="*/ 1574470 h 1748196"/>
              <a:gd name="connsiteX4" fmla="*/ 1909762 w 3243262"/>
              <a:gd name="connsiteY4" fmla="*/ 1685056 h 1748196"/>
              <a:gd name="connsiteX5" fmla="*/ 2376487 w 3243262"/>
              <a:gd name="connsiteY5" fmla="*/ 1723156 h 1748196"/>
              <a:gd name="connsiteX6" fmla="*/ 3243262 w 3243262"/>
              <a:gd name="connsiteY6" fmla="*/ 1746969 h 174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262" h="1748196">
                <a:moveTo>
                  <a:pt x="0" y="13419"/>
                </a:moveTo>
                <a:cubicBezTo>
                  <a:pt x="349250" y="-49287"/>
                  <a:pt x="633413" y="118193"/>
                  <a:pt x="847725" y="299168"/>
                </a:cubicBezTo>
                <a:cubicBezTo>
                  <a:pt x="1062037" y="480143"/>
                  <a:pt x="1163460" y="886718"/>
                  <a:pt x="1285875" y="1099268"/>
                </a:cubicBezTo>
                <a:cubicBezTo>
                  <a:pt x="1408290" y="1311818"/>
                  <a:pt x="1475854" y="1497476"/>
                  <a:pt x="1582216" y="1574470"/>
                </a:cubicBezTo>
                <a:cubicBezTo>
                  <a:pt x="1688578" y="1651464"/>
                  <a:pt x="1777384" y="1660275"/>
                  <a:pt x="1909762" y="1685056"/>
                </a:cubicBezTo>
                <a:cubicBezTo>
                  <a:pt x="2042140" y="1709837"/>
                  <a:pt x="2154237" y="1712837"/>
                  <a:pt x="2376487" y="1723156"/>
                </a:cubicBezTo>
                <a:cubicBezTo>
                  <a:pt x="2598737" y="1733475"/>
                  <a:pt x="2909888" y="1753319"/>
                  <a:pt x="3243262" y="1746969"/>
                </a:cubicBezTo>
              </a:path>
            </a:pathLst>
          </a:custGeom>
          <a:noFill/>
          <a:ln w="35719" cap="rnd" cmpd="sng" algn="ctr">
            <a:solidFill>
              <a:srgbClr val="EE1C2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endParaRPr lang="en-US"/>
          </a:p>
        </p:txBody>
      </p:sp>
      <p:sp>
        <p:nvSpPr>
          <p:cNvPr id="13" name="Freeform 12"/>
          <p:cNvSpPr/>
          <p:nvPr/>
        </p:nvSpPr>
        <p:spPr>
          <a:xfrm>
            <a:off x="7890237" y="2621154"/>
            <a:ext cx="1478809" cy="572350"/>
          </a:xfrm>
          <a:custGeom>
            <a:avLst/>
            <a:gdLst>
              <a:gd name="connsiteX0" fmla="*/ 0 w 5629275"/>
              <a:gd name="connsiteY0" fmla="*/ 2238375 h 2238375"/>
              <a:gd name="connsiteX1" fmla="*/ 781050 w 5629275"/>
              <a:gd name="connsiteY1" fmla="*/ 2171700 h 2238375"/>
              <a:gd name="connsiteX2" fmla="*/ 1123950 w 5629275"/>
              <a:gd name="connsiteY2" fmla="*/ 1933575 h 2238375"/>
              <a:gd name="connsiteX3" fmla="*/ 2171700 w 5629275"/>
              <a:gd name="connsiteY3" fmla="*/ 628650 h 2238375"/>
              <a:gd name="connsiteX4" fmla="*/ 5629275 w 5629275"/>
              <a:gd name="connsiteY4" fmla="*/ 0 h 2238375"/>
              <a:gd name="connsiteX0" fmla="*/ 0 w 5629275"/>
              <a:gd name="connsiteY0" fmla="*/ 2238375 h 2242848"/>
              <a:gd name="connsiteX1" fmla="*/ 781050 w 5629275"/>
              <a:gd name="connsiteY1" fmla="*/ 2171700 h 2242848"/>
              <a:gd name="connsiteX2" fmla="*/ 1123950 w 5629275"/>
              <a:gd name="connsiteY2" fmla="*/ 19335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123950 w 5629275"/>
              <a:gd name="connsiteY2" fmla="*/ 19335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295400 w 5629275"/>
              <a:gd name="connsiteY2" fmla="*/ 15906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295400 w 5629275"/>
              <a:gd name="connsiteY2" fmla="*/ 1590675 h 2242848"/>
              <a:gd name="connsiteX3" fmla="*/ 2171700 w 5629275"/>
              <a:gd name="connsiteY3" fmla="*/ 628650 h 2242848"/>
              <a:gd name="connsiteX4" fmla="*/ 5629275 w 5629275"/>
              <a:gd name="connsiteY4" fmla="*/ 0 h 2242848"/>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5629275 w 5629275"/>
              <a:gd name="connsiteY4"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5629275 w 5629275"/>
              <a:gd name="connsiteY4"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235065 w 5629275"/>
              <a:gd name="connsiteY4" fmla="*/ 137849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1915291 w 5629275"/>
              <a:gd name="connsiteY3" fmla="*/ 673899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325566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4657388 w 5840435"/>
              <a:gd name="connsiteY3" fmla="*/ 447047 h 2151931"/>
              <a:gd name="connsiteX4" fmla="*/ 5840435 w 5840435"/>
              <a:gd name="connsiteY4" fmla="*/ 0 h 2151931"/>
              <a:gd name="connsiteX0" fmla="*/ 0 w 5840435"/>
              <a:gd name="connsiteY0" fmla="*/ 2147877 h 2224917"/>
              <a:gd name="connsiteX1" fmla="*/ 781050 w 5840435"/>
              <a:gd name="connsiteY1" fmla="*/ 2081202 h 2224917"/>
              <a:gd name="connsiteX2" fmla="*/ 4657388 w 5840435"/>
              <a:gd name="connsiteY2" fmla="*/ 447047 h 2224917"/>
              <a:gd name="connsiteX3" fmla="*/ 5840435 w 5840435"/>
              <a:gd name="connsiteY3" fmla="*/ 0 h 2224917"/>
              <a:gd name="connsiteX0" fmla="*/ 0 w 5840435"/>
              <a:gd name="connsiteY0" fmla="*/ 2147877 h 2147877"/>
              <a:gd name="connsiteX1" fmla="*/ 4657388 w 5840435"/>
              <a:gd name="connsiteY1" fmla="*/ 447047 h 2147877"/>
              <a:gd name="connsiteX2" fmla="*/ 5840435 w 5840435"/>
              <a:gd name="connsiteY2" fmla="*/ 0 h 2147877"/>
              <a:gd name="connsiteX0" fmla="*/ 0 w 1183047"/>
              <a:gd name="connsiteY0" fmla="*/ 447047 h 457880"/>
              <a:gd name="connsiteX1" fmla="*/ 1183047 w 1183047"/>
              <a:gd name="connsiteY1" fmla="*/ 0 h 457880"/>
            </a:gdLst>
            <a:ahLst/>
            <a:cxnLst>
              <a:cxn ang="0">
                <a:pos x="connsiteX0" y="connsiteY0"/>
              </a:cxn>
              <a:cxn ang="0">
                <a:pos x="connsiteX1" y="connsiteY1"/>
              </a:cxn>
            </a:cxnLst>
            <a:rect l="l" t="t" r="r" b="b"/>
            <a:pathLst>
              <a:path w="1183047" h="457880">
                <a:moveTo>
                  <a:pt x="0" y="447047"/>
                </a:moveTo>
                <a:cubicBezTo>
                  <a:pt x="628987" y="526926"/>
                  <a:pt x="875265" y="143638"/>
                  <a:pt x="1183047" y="0"/>
                </a:cubicBezTo>
              </a:path>
            </a:pathLst>
          </a:custGeom>
          <a:noFill/>
          <a:ln w="71438" cap="rnd" cmpd="sng" algn="ctr">
            <a:solidFill>
              <a:srgbClr val="60C09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endParaRPr lang="en-US"/>
          </a:p>
        </p:txBody>
      </p:sp>
      <p:sp>
        <p:nvSpPr>
          <p:cNvPr id="14" name="Rectangle 13"/>
          <p:cNvSpPr/>
          <p:nvPr/>
        </p:nvSpPr>
        <p:spPr>
          <a:xfrm rot="16200000">
            <a:off x="653636" y="3270407"/>
            <a:ext cx="2107406" cy="81757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0C090"/>
                </a:solidFill>
              </a14:hiddenFill>
            </a:ex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300" tIns="57150" rIns="114300" bIns="57150" numCol="1" spcCol="0" rtlCol="0" fromWordArt="0" anchor="ctr" anchorCtr="0" forceAA="0" compatLnSpc="1">
            <a:prstTxWarp prst="textNoShape">
              <a:avLst/>
            </a:prstTxWarp>
            <a:noAutofit/>
          </a:bodyPr>
          <a:lstStyle/>
          <a:p>
            <a:pPr>
              <a:buClr>
                <a:srgbClr val="60C090">
                  <a:lumMod val="100000"/>
                </a:srgbClr>
              </a:buClr>
              <a:buSzPct val="100000"/>
              <a:buFont typeface="Trebuchet MS" panose="020B0603020202020204" pitchFamily="34" charset="0"/>
              <a:buChar char="​"/>
            </a:pPr>
            <a:r>
              <a:rPr lang="en-US" sz="2250" b="1" dirty="0">
                <a:solidFill>
                  <a:srgbClr val="575757">
                    <a:lumMod val="100000"/>
                  </a:srgbClr>
                </a:solidFill>
                <a:latin typeface="Trebuchet MS" panose="020B0603020202020204" pitchFamily="34" charset="0"/>
              </a:rPr>
              <a:t>Market Share</a:t>
            </a:r>
          </a:p>
        </p:txBody>
      </p:sp>
      <p:sp>
        <p:nvSpPr>
          <p:cNvPr id="15" name="Rectangle 14"/>
          <p:cNvSpPr/>
          <p:nvPr/>
        </p:nvSpPr>
        <p:spPr>
          <a:xfrm>
            <a:off x="8872865" y="5206361"/>
            <a:ext cx="924849" cy="81757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0C090"/>
                </a:solidFill>
              </a14:hiddenFill>
            </a:ex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4300" tIns="57150" rIns="114300" bIns="57150" numCol="1" spcCol="0" rtlCol="0" fromWordArt="0" anchor="ctr" anchorCtr="0" forceAA="0" compatLnSpc="1">
            <a:prstTxWarp prst="textNoShape">
              <a:avLst/>
            </a:prstTxWarp>
            <a:noAutofit/>
          </a:bodyPr>
          <a:lstStyle/>
          <a:p>
            <a:pPr>
              <a:buClr>
                <a:srgbClr val="60C090">
                  <a:lumMod val="100000"/>
                </a:srgbClr>
              </a:buClr>
              <a:buSzPct val="100000"/>
              <a:buFont typeface="Trebuchet MS" panose="020B0603020202020204" pitchFamily="34" charset="0"/>
              <a:buChar char="​"/>
            </a:pPr>
            <a:r>
              <a:rPr lang="en-US" sz="2250" b="1" dirty="0">
                <a:solidFill>
                  <a:srgbClr val="575757">
                    <a:lumMod val="100000"/>
                  </a:srgbClr>
                </a:solidFill>
                <a:latin typeface="Trebuchet MS" panose="020B0603020202020204" pitchFamily="34" charset="0"/>
              </a:rPr>
              <a:t>Time</a:t>
            </a:r>
          </a:p>
        </p:txBody>
      </p:sp>
      <p:sp>
        <p:nvSpPr>
          <p:cNvPr id="16" name="Rectangle 15"/>
          <p:cNvSpPr/>
          <p:nvPr/>
        </p:nvSpPr>
        <p:spPr>
          <a:xfrm>
            <a:off x="7484720" y="4367411"/>
            <a:ext cx="2050212" cy="1442702"/>
          </a:xfrm>
          <a:prstGeom prst="rect">
            <a:avLst/>
          </a:prstGeom>
        </p:spPr>
        <p:txBody>
          <a:bodyPr wrap="square" lIns="114300" tIns="57150" rIns="114300" bIns="57150">
            <a:spAutoFit/>
          </a:bodyPr>
          <a:lstStyle/>
          <a:p>
            <a:pPr algn="ctr"/>
            <a:r>
              <a:rPr lang="en-US" sz="2250" b="1" dirty="0">
                <a:solidFill>
                  <a:srgbClr val="EE1C25"/>
                </a:solidFill>
              </a:rPr>
              <a:t>Won it all temporarily</a:t>
            </a:r>
          </a:p>
        </p:txBody>
      </p:sp>
      <p:sp>
        <p:nvSpPr>
          <p:cNvPr id="17" name="Rectangle 16"/>
          <p:cNvSpPr/>
          <p:nvPr/>
        </p:nvSpPr>
        <p:spPr>
          <a:xfrm>
            <a:off x="4532612" y="4364581"/>
            <a:ext cx="1764331" cy="1009891"/>
          </a:xfrm>
          <a:prstGeom prst="rect">
            <a:avLst/>
          </a:prstGeom>
        </p:spPr>
        <p:txBody>
          <a:bodyPr wrap="square" lIns="114300" tIns="57150" rIns="114300" bIns="57150">
            <a:spAutoFit/>
          </a:bodyPr>
          <a:lstStyle/>
          <a:p>
            <a:pPr algn="ctr"/>
            <a:r>
              <a:rPr lang="en-US" sz="2250" b="1" dirty="0">
                <a:solidFill>
                  <a:srgbClr val="920505"/>
                </a:solidFill>
              </a:rPr>
              <a:t>Never </a:t>
            </a:r>
            <a:br>
              <a:rPr lang="en-US" sz="2250" b="1" dirty="0">
                <a:solidFill>
                  <a:srgbClr val="920505"/>
                </a:solidFill>
              </a:rPr>
            </a:br>
            <a:r>
              <a:rPr lang="en-US" sz="2250" b="1" dirty="0">
                <a:solidFill>
                  <a:srgbClr val="920505"/>
                </a:solidFill>
              </a:rPr>
              <a:t>took off</a:t>
            </a:r>
          </a:p>
        </p:txBody>
      </p:sp>
      <p:sp>
        <p:nvSpPr>
          <p:cNvPr id="18" name="Rectangle 17"/>
          <p:cNvSpPr/>
          <p:nvPr/>
        </p:nvSpPr>
        <p:spPr>
          <a:xfrm>
            <a:off x="7685051" y="1647666"/>
            <a:ext cx="1942464" cy="1875514"/>
          </a:xfrm>
          <a:prstGeom prst="rect">
            <a:avLst/>
          </a:prstGeom>
        </p:spPr>
        <p:txBody>
          <a:bodyPr wrap="square" lIns="114300" tIns="57150" rIns="114300" bIns="57150">
            <a:spAutoFit/>
          </a:bodyPr>
          <a:lstStyle/>
          <a:p>
            <a:pPr algn="ctr"/>
            <a:r>
              <a:rPr lang="en-US" sz="2250" b="1" dirty="0">
                <a:solidFill>
                  <a:srgbClr val="60C090"/>
                </a:solidFill>
              </a:rPr>
              <a:t>Sustainable ecosystem </a:t>
            </a:r>
          </a:p>
        </p:txBody>
      </p:sp>
      <p:sp>
        <p:nvSpPr>
          <p:cNvPr id="19" name="Rectangle 18"/>
          <p:cNvSpPr/>
          <p:nvPr/>
        </p:nvSpPr>
        <p:spPr>
          <a:xfrm>
            <a:off x="8855057" y="2827293"/>
            <a:ext cx="1055946" cy="1154162"/>
          </a:xfrm>
          <a:prstGeom prst="rect">
            <a:avLst/>
          </a:prstGeom>
        </p:spPr>
        <p:txBody>
          <a:bodyPr wrap="square" lIns="114300" tIns="57150" rIns="114300" bIns="57150">
            <a:spAutoFit/>
          </a:bodyPr>
          <a:lstStyle/>
          <a:p>
            <a:pPr algn="ctr"/>
            <a:r>
              <a:rPr lang="en-US" sz="2250" b="1" dirty="0">
                <a:solidFill>
                  <a:srgbClr val="575757"/>
                </a:solidFill>
              </a:rPr>
              <a:t>Fork in the road</a:t>
            </a:r>
          </a:p>
        </p:txBody>
      </p:sp>
      <p:sp>
        <p:nvSpPr>
          <p:cNvPr id="20" name="Freeform 43"/>
          <p:cNvSpPr>
            <a:spLocks noEditPoints="1"/>
          </p:cNvSpPr>
          <p:nvPr/>
        </p:nvSpPr>
        <p:spPr bwMode="auto">
          <a:xfrm>
            <a:off x="8378956" y="3231083"/>
            <a:ext cx="90267" cy="209871"/>
          </a:xfrm>
          <a:custGeom>
            <a:avLst/>
            <a:gdLst>
              <a:gd name="T0" fmla="*/ 178 w 296"/>
              <a:gd name="T1" fmla="*/ 571 h 689"/>
              <a:gd name="T2" fmla="*/ 198 w 296"/>
              <a:gd name="T3" fmla="*/ 620 h 689"/>
              <a:gd name="T4" fmla="*/ 178 w 296"/>
              <a:gd name="T5" fmla="*/ 668 h 689"/>
              <a:gd name="T6" fmla="*/ 129 w 296"/>
              <a:gd name="T7" fmla="*/ 689 h 689"/>
              <a:gd name="T8" fmla="*/ 81 w 296"/>
              <a:gd name="T9" fmla="*/ 668 h 689"/>
              <a:gd name="T10" fmla="*/ 61 w 296"/>
              <a:gd name="T11" fmla="*/ 620 h 689"/>
              <a:gd name="T12" fmla="*/ 81 w 296"/>
              <a:gd name="T13" fmla="*/ 571 h 689"/>
              <a:gd name="T14" fmla="*/ 129 w 296"/>
              <a:gd name="T15" fmla="*/ 551 h 689"/>
              <a:gd name="T16" fmla="*/ 178 w 296"/>
              <a:gd name="T17" fmla="*/ 571 h 689"/>
              <a:gd name="T18" fmla="*/ 251 w 296"/>
              <a:gd name="T19" fmla="*/ 38 h 689"/>
              <a:gd name="T20" fmla="*/ 137 w 296"/>
              <a:gd name="T21" fmla="*/ 0 h 689"/>
              <a:gd name="T22" fmla="*/ 0 w 296"/>
              <a:gd name="T23" fmla="*/ 38 h 689"/>
              <a:gd name="T24" fmla="*/ 33 w 296"/>
              <a:gd name="T25" fmla="*/ 103 h 689"/>
              <a:gd name="T26" fmla="*/ 114 w 296"/>
              <a:gd name="T27" fmla="*/ 69 h 689"/>
              <a:gd name="T28" fmla="*/ 211 w 296"/>
              <a:gd name="T29" fmla="*/ 150 h 689"/>
              <a:gd name="T30" fmla="*/ 197 w 296"/>
              <a:gd name="T31" fmla="*/ 199 h 689"/>
              <a:gd name="T32" fmla="*/ 139 w 296"/>
              <a:gd name="T33" fmla="*/ 273 h 689"/>
              <a:gd name="T34" fmla="*/ 85 w 296"/>
              <a:gd name="T35" fmla="*/ 354 h 689"/>
              <a:gd name="T36" fmla="*/ 73 w 296"/>
              <a:gd name="T37" fmla="*/ 421 h 689"/>
              <a:gd name="T38" fmla="*/ 88 w 296"/>
              <a:gd name="T39" fmla="*/ 484 h 689"/>
              <a:gd name="T40" fmla="*/ 148 w 296"/>
              <a:gd name="T41" fmla="*/ 484 h 689"/>
              <a:gd name="T42" fmla="*/ 142 w 296"/>
              <a:gd name="T43" fmla="*/ 442 h 689"/>
              <a:gd name="T44" fmla="*/ 182 w 296"/>
              <a:gd name="T45" fmla="*/ 332 h 689"/>
              <a:gd name="T46" fmla="*/ 249 w 296"/>
              <a:gd name="T47" fmla="*/ 261 h 689"/>
              <a:gd name="T48" fmla="*/ 284 w 296"/>
              <a:gd name="T49" fmla="*/ 205 h 689"/>
              <a:gd name="T50" fmla="*/ 296 w 296"/>
              <a:gd name="T51" fmla="*/ 142 h 689"/>
              <a:gd name="T52" fmla="*/ 251 w 296"/>
              <a:gd name="T53" fmla="*/ 3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6" h="689">
                <a:moveTo>
                  <a:pt x="178" y="571"/>
                </a:moveTo>
                <a:cubicBezTo>
                  <a:pt x="191" y="585"/>
                  <a:pt x="198" y="601"/>
                  <a:pt x="198" y="620"/>
                </a:cubicBezTo>
                <a:cubicBezTo>
                  <a:pt x="198" y="639"/>
                  <a:pt x="191" y="655"/>
                  <a:pt x="178" y="668"/>
                </a:cubicBezTo>
                <a:cubicBezTo>
                  <a:pt x="164" y="682"/>
                  <a:pt x="148" y="689"/>
                  <a:pt x="129" y="689"/>
                </a:cubicBezTo>
                <a:cubicBezTo>
                  <a:pt x="110" y="689"/>
                  <a:pt x="94" y="682"/>
                  <a:pt x="81" y="668"/>
                </a:cubicBezTo>
                <a:cubicBezTo>
                  <a:pt x="67" y="655"/>
                  <a:pt x="61" y="639"/>
                  <a:pt x="61" y="620"/>
                </a:cubicBezTo>
                <a:cubicBezTo>
                  <a:pt x="61" y="601"/>
                  <a:pt x="67" y="585"/>
                  <a:pt x="81" y="571"/>
                </a:cubicBezTo>
                <a:cubicBezTo>
                  <a:pt x="94" y="558"/>
                  <a:pt x="110" y="551"/>
                  <a:pt x="129" y="551"/>
                </a:cubicBezTo>
                <a:cubicBezTo>
                  <a:pt x="148" y="551"/>
                  <a:pt x="164" y="558"/>
                  <a:pt x="178" y="571"/>
                </a:cubicBezTo>
                <a:close/>
                <a:moveTo>
                  <a:pt x="251" y="38"/>
                </a:moveTo>
                <a:cubicBezTo>
                  <a:pt x="220" y="13"/>
                  <a:pt x="183" y="0"/>
                  <a:pt x="137" y="0"/>
                </a:cubicBezTo>
                <a:cubicBezTo>
                  <a:pt x="76" y="0"/>
                  <a:pt x="30" y="12"/>
                  <a:pt x="0" y="38"/>
                </a:cubicBezTo>
                <a:cubicBezTo>
                  <a:pt x="33" y="103"/>
                  <a:pt x="33" y="103"/>
                  <a:pt x="33" y="103"/>
                </a:cubicBezTo>
                <a:cubicBezTo>
                  <a:pt x="56" y="81"/>
                  <a:pt x="83" y="69"/>
                  <a:pt x="114" y="69"/>
                </a:cubicBezTo>
                <a:cubicBezTo>
                  <a:pt x="179" y="69"/>
                  <a:pt x="211" y="96"/>
                  <a:pt x="211" y="150"/>
                </a:cubicBezTo>
                <a:cubicBezTo>
                  <a:pt x="211" y="166"/>
                  <a:pt x="206" y="182"/>
                  <a:pt x="197" y="199"/>
                </a:cubicBezTo>
                <a:cubicBezTo>
                  <a:pt x="187" y="216"/>
                  <a:pt x="168" y="241"/>
                  <a:pt x="139" y="273"/>
                </a:cubicBezTo>
                <a:cubicBezTo>
                  <a:pt x="111" y="304"/>
                  <a:pt x="93" y="332"/>
                  <a:pt x="85" y="354"/>
                </a:cubicBezTo>
                <a:cubicBezTo>
                  <a:pt x="77" y="377"/>
                  <a:pt x="73" y="400"/>
                  <a:pt x="73" y="421"/>
                </a:cubicBezTo>
                <a:cubicBezTo>
                  <a:pt x="73" y="434"/>
                  <a:pt x="78" y="455"/>
                  <a:pt x="88" y="484"/>
                </a:cubicBezTo>
                <a:cubicBezTo>
                  <a:pt x="148" y="484"/>
                  <a:pt x="148" y="484"/>
                  <a:pt x="148" y="484"/>
                </a:cubicBezTo>
                <a:cubicBezTo>
                  <a:pt x="144" y="463"/>
                  <a:pt x="142" y="449"/>
                  <a:pt x="142" y="442"/>
                </a:cubicBezTo>
                <a:cubicBezTo>
                  <a:pt x="142" y="402"/>
                  <a:pt x="155" y="365"/>
                  <a:pt x="182" y="332"/>
                </a:cubicBezTo>
                <a:cubicBezTo>
                  <a:pt x="249" y="261"/>
                  <a:pt x="249" y="261"/>
                  <a:pt x="249" y="261"/>
                </a:cubicBezTo>
                <a:cubicBezTo>
                  <a:pt x="265" y="244"/>
                  <a:pt x="277" y="225"/>
                  <a:pt x="284" y="205"/>
                </a:cubicBezTo>
                <a:cubicBezTo>
                  <a:pt x="292" y="185"/>
                  <a:pt x="296" y="164"/>
                  <a:pt x="296" y="142"/>
                </a:cubicBezTo>
                <a:cubicBezTo>
                  <a:pt x="296" y="99"/>
                  <a:pt x="281" y="64"/>
                  <a:pt x="251" y="38"/>
                </a:cubicBezTo>
                <a:close/>
              </a:path>
            </a:pathLst>
          </a:custGeom>
          <a:solidFill>
            <a:srgbClr val="797979"/>
          </a:solidFill>
          <a:ln w="11906" cap="flat" cmpd="sng" algn="ctr">
            <a:solidFill>
              <a:srgbClr val="797979"/>
            </a:solidFill>
            <a:prstDash val="solid"/>
            <a:round/>
            <a:headEnd type="none" w="med" len="med"/>
            <a:tailEnd type="none" w="med" len="med"/>
          </a:ln>
        </p:spPr>
        <p:txBody>
          <a:bodyPr vert="horz" wrap="square" lIns="114300" tIns="57150" rIns="114300" bIns="57150" numCol="1" anchor="t" anchorCtr="0" compatLnSpc="1">
            <a:prstTxWarp prst="textNoShape">
              <a:avLst/>
            </a:prstTxWarp>
          </a:bodyPr>
          <a:lstStyle/>
          <a:p>
            <a:endParaRPr lang="en-US" dirty="0"/>
          </a:p>
        </p:txBody>
      </p:sp>
      <p:sp>
        <p:nvSpPr>
          <p:cNvPr id="24" name="Rectangle 23"/>
          <p:cNvSpPr/>
          <p:nvPr/>
        </p:nvSpPr>
        <p:spPr>
          <a:xfrm>
            <a:off x="2236882" y="4132616"/>
            <a:ext cx="1359098" cy="48895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0C090"/>
                </a:solidFill>
              </a14:hiddenFill>
            </a:ex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Seize the opportunity</a:t>
            </a:r>
          </a:p>
        </p:txBody>
      </p:sp>
      <p:sp>
        <p:nvSpPr>
          <p:cNvPr id="26" name="Rectangle 25"/>
          <p:cNvSpPr/>
          <p:nvPr/>
        </p:nvSpPr>
        <p:spPr>
          <a:xfrm>
            <a:off x="4653173" y="2304862"/>
            <a:ext cx="1558697" cy="48895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0C090"/>
                </a:solidFill>
              </a14:hiddenFill>
            </a:ex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Evolve the model</a:t>
            </a:r>
          </a:p>
        </p:txBody>
      </p:sp>
      <p:sp>
        <p:nvSpPr>
          <p:cNvPr id="28" name="Rectangle 27"/>
          <p:cNvSpPr/>
          <p:nvPr/>
        </p:nvSpPr>
        <p:spPr>
          <a:xfrm>
            <a:off x="6948775" y="3484456"/>
            <a:ext cx="1558697" cy="48895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0C090"/>
                </a:solidFill>
              </a14:hiddenFill>
            </a:ext>
            <a:ext uri="{91240B29-F687-4F45-9708-019B960494DF}">
              <a14:hiddenLine xmlns:a14="http://schemas.microsoft.com/office/drawing/2010/main" w="952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rgbClr val="575757"/>
                </a:solidFill>
              </a:rPr>
              <a:t>Lock in leadership</a:t>
            </a:r>
          </a:p>
        </p:txBody>
      </p:sp>
      <p:sp>
        <p:nvSpPr>
          <p:cNvPr id="2" name="Oval 1"/>
          <p:cNvSpPr/>
          <p:nvPr/>
        </p:nvSpPr>
        <p:spPr>
          <a:xfrm>
            <a:off x="6057235" y="4621566"/>
            <a:ext cx="728576" cy="388695"/>
          </a:xfrm>
          <a:prstGeom prst="ellipse">
            <a:avLst/>
          </a:prstGeom>
          <a:solidFill>
            <a:srgbClr val="670F31"/>
          </a:solidFill>
          <a:ln w="28575" cap="rnd" cmpd="sng" algn="ctr">
            <a:noFill/>
            <a:prstDash val="solid"/>
            <a:round/>
            <a:headEnd type="none" w="med" len="med"/>
            <a:tailEnd type="none" w="med" len="med"/>
          </a:ln>
          <a:effectLst/>
          <a:extLst>
            <a:ext uri="{91240B29-F687-4F45-9708-019B960494DF}">
              <a14:hiddenLine xmlns:a14="http://schemas.microsoft.com/office/drawing/2010/main" w="2857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600" b="1" dirty="0">
                <a:solidFill>
                  <a:schemeClr val="bg1"/>
                </a:solidFill>
              </a:rPr>
              <a:t>~50%</a:t>
            </a:r>
          </a:p>
        </p:txBody>
      </p:sp>
      <p:sp>
        <p:nvSpPr>
          <p:cNvPr id="29" name="Oval 28"/>
          <p:cNvSpPr/>
          <p:nvPr/>
        </p:nvSpPr>
        <p:spPr>
          <a:xfrm>
            <a:off x="9431725" y="4621566"/>
            <a:ext cx="728576" cy="388695"/>
          </a:xfrm>
          <a:prstGeom prst="ellipse">
            <a:avLst/>
          </a:prstGeom>
          <a:solidFill>
            <a:srgbClr val="EE1C25"/>
          </a:solidFill>
          <a:ln w="28575" cap="rnd" cmpd="sng" algn="ctr">
            <a:noFill/>
            <a:prstDash val="solid"/>
            <a:round/>
            <a:headEnd type="none" w="med" len="med"/>
            <a:tailEnd type="none" w="med" len="med"/>
          </a:ln>
          <a:effectLst/>
          <a:extLst>
            <a:ext uri="{91240B29-F687-4F45-9708-019B960494DF}">
              <a14:hiddenLine xmlns:a14="http://schemas.microsoft.com/office/drawing/2010/main" w="2857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600" b="1" dirty="0">
                <a:solidFill>
                  <a:schemeClr val="bg1"/>
                </a:solidFill>
              </a:rPr>
              <a:t>~25%</a:t>
            </a:r>
          </a:p>
        </p:txBody>
      </p:sp>
      <p:sp>
        <p:nvSpPr>
          <p:cNvPr id="30" name="Oval 29"/>
          <p:cNvSpPr/>
          <p:nvPr/>
        </p:nvSpPr>
        <p:spPr>
          <a:xfrm>
            <a:off x="9948762" y="3082894"/>
            <a:ext cx="728576" cy="388695"/>
          </a:xfrm>
          <a:prstGeom prst="ellipse">
            <a:avLst/>
          </a:prstGeom>
          <a:solidFill>
            <a:srgbClr val="797979"/>
          </a:solidFill>
          <a:ln w="28575" cap="rnd" cmpd="sng" algn="ctr">
            <a:noFill/>
            <a:prstDash val="solid"/>
            <a:round/>
            <a:headEnd type="none" w="med" len="med"/>
            <a:tailEnd type="none" w="med" len="med"/>
          </a:ln>
          <a:effectLst/>
          <a:extLst>
            <a:ext uri="{91240B29-F687-4F45-9708-019B960494DF}">
              <a14:hiddenLine xmlns:a14="http://schemas.microsoft.com/office/drawing/2010/main" w="2857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600" b="1" dirty="0">
                <a:solidFill>
                  <a:schemeClr val="bg1"/>
                </a:solidFill>
              </a:rPr>
              <a:t>~10%</a:t>
            </a:r>
          </a:p>
        </p:txBody>
      </p:sp>
      <p:sp>
        <p:nvSpPr>
          <p:cNvPr id="31" name="Oval 30"/>
          <p:cNvSpPr/>
          <p:nvPr/>
        </p:nvSpPr>
        <p:spPr>
          <a:xfrm>
            <a:off x="9571831" y="1857069"/>
            <a:ext cx="728576" cy="388695"/>
          </a:xfrm>
          <a:prstGeom prst="ellipse">
            <a:avLst/>
          </a:prstGeom>
          <a:solidFill>
            <a:srgbClr val="60C090"/>
          </a:solidFill>
          <a:ln w="28575" cap="rnd" cmpd="sng" algn="ctr">
            <a:noFill/>
            <a:prstDash val="solid"/>
            <a:round/>
            <a:headEnd type="none" w="med" len="med"/>
            <a:tailEnd type="none" w="med" len="med"/>
          </a:ln>
          <a:effectLst/>
          <a:extLst>
            <a:ext uri="{91240B29-F687-4F45-9708-019B960494DF}">
              <a14:hiddenLine xmlns:a14="http://schemas.microsoft.com/office/drawing/2010/main" w="28575" cap="rnd" cmpd="sng" algn="ctr">
                <a:solidFill>
                  <a:srgbClr val="60C09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600" b="1" dirty="0">
                <a:solidFill>
                  <a:schemeClr val="bg1"/>
                </a:solidFill>
              </a:rPr>
              <a:t>~15%</a:t>
            </a:r>
          </a:p>
        </p:txBody>
      </p:sp>
      <p:sp>
        <p:nvSpPr>
          <p:cNvPr id="34"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575757">
                    <a:lumMod val="100000"/>
                  </a:srgbClr>
                </a:solidFill>
                <a:latin typeface="Trebuchet MS" panose="020B0603020202020204" pitchFamily="34" charset="0"/>
                <a:cs typeface="Arial" pitchFamily="34" charset="0"/>
              </a:rPr>
              <a:t>Source: "How Business Ecosystems Rise (and Often Fall),"  M. Reeves, H. Lotan, J. Legrand, M. Jacobides (</a:t>
            </a:r>
            <a:r>
              <a:rPr lang="en-US" sz="1000" dirty="0" err="1">
                <a:solidFill>
                  <a:srgbClr val="575757">
                    <a:lumMod val="100000"/>
                  </a:srgbClr>
                </a:solidFill>
                <a:latin typeface="Trebuchet MS" panose="020B0603020202020204" pitchFamily="34" charset="0"/>
                <a:cs typeface="Arial" pitchFamily="34" charset="0"/>
              </a:rPr>
              <a:t>SMR</a:t>
            </a:r>
            <a:r>
              <a:rPr lang="en-US" sz="1000" dirty="0">
                <a:solidFill>
                  <a:srgbClr val="575757">
                    <a:lumMod val="100000"/>
                  </a:srgbClr>
                </a:solidFill>
                <a:latin typeface="Trebuchet MS" panose="020B0603020202020204" pitchFamily="34" charset="0"/>
                <a:cs typeface="Arial" pitchFamily="34" charset="0"/>
              </a:rPr>
              <a:t>, Jul. 2019)</a:t>
            </a:r>
          </a:p>
        </p:txBody>
      </p:sp>
      <p:sp>
        <p:nvSpPr>
          <p:cNvPr id="35" name="Freeform 34"/>
          <p:cNvSpPr/>
          <p:nvPr/>
        </p:nvSpPr>
        <p:spPr>
          <a:xfrm>
            <a:off x="2068501" y="4869977"/>
            <a:ext cx="1387794" cy="442531"/>
          </a:xfrm>
          <a:custGeom>
            <a:avLst/>
            <a:gdLst>
              <a:gd name="connsiteX0" fmla="*/ 0 w 5629275"/>
              <a:gd name="connsiteY0" fmla="*/ 2238375 h 2238375"/>
              <a:gd name="connsiteX1" fmla="*/ 781050 w 5629275"/>
              <a:gd name="connsiteY1" fmla="*/ 2171700 h 2238375"/>
              <a:gd name="connsiteX2" fmla="*/ 1123950 w 5629275"/>
              <a:gd name="connsiteY2" fmla="*/ 1933575 h 2238375"/>
              <a:gd name="connsiteX3" fmla="*/ 2171700 w 5629275"/>
              <a:gd name="connsiteY3" fmla="*/ 628650 h 2238375"/>
              <a:gd name="connsiteX4" fmla="*/ 5629275 w 5629275"/>
              <a:gd name="connsiteY4" fmla="*/ 0 h 2238375"/>
              <a:gd name="connsiteX0" fmla="*/ 0 w 5629275"/>
              <a:gd name="connsiteY0" fmla="*/ 2238375 h 2242848"/>
              <a:gd name="connsiteX1" fmla="*/ 781050 w 5629275"/>
              <a:gd name="connsiteY1" fmla="*/ 2171700 h 2242848"/>
              <a:gd name="connsiteX2" fmla="*/ 1123950 w 5629275"/>
              <a:gd name="connsiteY2" fmla="*/ 19335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123950 w 5629275"/>
              <a:gd name="connsiteY2" fmla="*/ 19335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295400 w 5629275"/>
              <a:gd name="connsiteY2" fmla="*/ 15906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295400 w 5629275"/>
              <a:gd name="connsiteY2" fmla="*/ 1590675 h 2242848"/>
              <a:gd name="connsiteX3" fmla="*/ 2171700 w 5629275"/>
              <a:gd name="connsiteY3" fmla="*/ 628650 h 2242848"/>
              <a:gd name="connsiteX4" fmla="*/ 5629275 w 5629275"/>
              <a:gd name="connsiteY4" fmla="*/ 0 h 2242848"/>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5629275 w 5629275"/>
              <a:gd name="connsiteY4"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5629275 w 5629275"/>
              <a:gd name="connsiteY4"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235065 w 5629275"/>
              <a:gd name="connsiteY4" fmla="*/ 137849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1915291 w 5629275"/>
              <a:gd name="connsiteY3" fmla="*/ 673899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325566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4657388"/>
              <a:gd name="connsiteY0" fmla="*/ 1843430 h 1847484"/>
              <a:gd name="connsiteX1" fmla="*/ 781050 w 4657388"/>
              <a:gd name="connsiteY1" fmla="*/ 1776755 h 1847484"/>
              <a:gd name="connsiteX2" fmla="*/ 1295401 w 4657388"/>
              <a:gd name="connsiteY2" fmla="*/ 1203272 h 1847484"/>
              <a:gd name="connsiteX3" fmla="*/ 2081202 w 4657388"/>
              <a:gd name="connsiteY3" fmla="*/ 278955 h 1847484"/>
              <a:gd name="connsiteX4" fmla="*/ 4657388 w 4657388"/>
              <a:gd name="connsiteY4" fmla="*/ 142600 h 1847484"/>
              <a:gd name="connsiteX0" fmla="*/ 0 w 2081202"/>
              <a:gd name="connsiteY0" fmla="*/ 1564475 h 1568529"/>
              <a:gd name="connsiteX1" fmla="*/ 781050 w 2081202"/>
              <a:gd name="connsiteY1" fmla="*/ 1497800 h 1568529"/>
              <a:gd name="connsiteX2" fmla="*/ 1295401 w 2081202"/>
              <a:gd name="connsiteY2" fmla="*/ 924317 h 1568529"/>
              <a:gd name="connsiteX3" fmla="*/ 2081202 w 2081202"/>
              <a:gd name="connsiteY3" fmla="*/ 0 h 1568529"/>
              <a:gd name="connsiteX0" fmla="*/ 0 w 1295401"/>
              <a:gd name="connsiteY0" fmla="*/ 640158 h 644212"/>
              <a:gd name="connsiteX1" fmla="*/ 781050 w 1295401"/>
              <a:gd name="connsiteY1" fmla="*/ 573483 h 644212"/>
              <a:gd name="connsiteX2" fmla="*/ 1295401 w 1295401"/>
              <a:gd name="connsiteY2" fmla="*/ 0 h 644212"/>
              <a:gd name="connsiteX0" fmla="*/ 0 w 1112521"/>
              <a:gd name="connsiteY0" fmla="*/ 347550 h 347550"/>
              <a:gd name="connsiteX1" fmla="*/ 781050 w 1112521"/>
              <a:gd name="connsiteY1" fmla="*/ 280875 h 347550"/>
              <a:gd name="connsiteX2" fmla="*/ 1112521 w 1112521"/>
              <a:gd name="connsiteY2" fmla="*/ 0 h 347550"/>
              <a:gd name="connsiteX0" fmla="*/ 0 w 1112521"/>
              <a:gd name="connsiteY0" fmla="*/ 347550 h 347550"/>
              <a:gd name="connsiteX1" fmla="*/ 781050 w 1112521"/>
              <a:gd name="connsiteY1" fmla="*/ 280875 h 347550"/>
              <a:gd name="connsiteX2" fmla="*/ 1112521 w 1112521"/>
              <a:gd name="connsiteY2" fmla="*/ 0 h 347550"/>
              <a:gd name="connsiteX0" fmla="*/ 0 w 1112521"/>
              <a:gd name="connsiteY0" fmla="*/ 347550 h 347550"/>
              <a:gd name="connsiteX1" fmla="*/ 781050 w 1112521"/>
              <a:gd name="connsiteY1" fmla="*/ 280875 h 347550"/>
              <a:gd name="connsiteX2" fmla="*/ 1112521 w 1112521"/>
              <a:gd name="connsiteY2" fmla="*/ 0 h 347550"/>
              <a:gd name="connsiteX0" fmla="*/ 0 w 1112521"/>
              <a:gd name="connsiteY0" fmla="*/ 347550 h 347550"/>
              <a:gd name="connsiteX1" fmla="*/ 781050 w 1112521"/>
              <a:gd name="connsiteY1" fmla="*/ 280875 h 347550"/>
              <a:gd name="connsiteX2" fmla="*/ 1112521 w 1112521"/>
              <a:gd name="connsiteY2" fmla="*/ 0 h 347550"/>
              <a:gd name="connsiteX0" fmla="*/ 0 w 1112521"/>
              <a:gd name="connsiteY0" fmla="*/ 347550 h 347550"/>
              <a:gd name="connsiteX1" fmla="*/ 781050 w 1112521"/>
              <a:gd name="connsiteY1" fmla="*/ 280875 h 347550"/>
              <a:gd name="connsiteX2" fmla="*/ 1112521 w 1112521"/>
              <a:gd name="connsiteY2" fmla="*/ 0 h 347550"/>
              <a:gd name="connsiteX0" fmla="*/ 0 w 1112521"/>
              <a:gd name="connsiteY0" fmla="*/ 347550 h 347550"/>
              <a:gd name="connsiteX1" fmla="*/ 781050 w 1112521"/>
              <a:gd name="connsiteY1" fmla="*/ 280875 h 347550"/>
              <a:gd name="connsiteX2" fmla="*/ 1112521 w 1112521"/>
              <a:gd name="connsiteY2" fmla="*/ 0 h 347550"/>
              <a:gd name="connsiteX0" fmla="*/ 0 w 1112521"/>
              <a:gd name="connsiteY0" fmla="*/ 347550 h 347550"/>
              <a:gd name="connsiteX1" fmla="*/ 752602 w 1112521"/>
              <a:gd name="connsiteY1" fmla="*/ 301195 h 347550"/>
              <a:gd name="connsiteX2" fmla="*/ 1112521 w 1112521"/>
              <a:gd name="connsiteY2" fmla="*/ 0 h 347550"/>
              <a:gd name="connsiteX0" fmla="*/ 0 w 1112521"/>
              <a:gd name="connsiteY0" fmla="*/ 347550 h 347550"/>
              <a:gd name="connsiteX1" fmla="*/ 752602 w 1112521"/>
              <a:gd name="connsiteY1" fmla="*/ 301195 h 347550"/>
              <a:gd name="connsiteX2" fmla="*/ 1112521 w 1112521"/>
              <a:gd name="connsiteY2" fmla="*/ 0 h 347550"/>
              <a:gd name="connsiteX0" fmla="*/ 0 w 1112521"/>
              <a:gd name="connsiteY0" fmla="*/ 347550 h 365169"/>
              <a:gd name="connsiteX1" fmla="*/ 752602 w 1112521"/>
              <a:gd name="connsiteY1" fmla="*/ 301195 h 365169"/>
              <a:gd name="connsiteX2" fmla="*/ 1112521 w 1112521"/>
              <a:gd name="connsiteY2" fmla="*/ 0 h 365169"/>
              <a:gd name="connsiteX0" fmla="*/ 0 w 1112521"/>
              <a:gd name="connsiteY0" fmla="*/ 347550 h 347550"/>
              <a:gd name="connsiteX1" fmla="*/ 752602 w 1112521"/>
              <a:gd name="connsiteY1" fmla="*/ 301195 h 347550"/>
              <a:gd name="connsiteX2" fmla="*/ 1112521 w 1112521"/>
              <a:gd name="connsiteY2" fmla="*/ 0 h 347550"/>
              <a:gd name="connsiteX0" fmla="*/ 0 w 1112521"/>
              <a:gd name="connsiteY0" fmla="*/ 347550 h 348050"/>
              <a:gd name="connsiteX1" fmla="*/ 752602 w 1112521"/>
              <a:gd name="connsiteY1" fmla="*/ 301195 h 348050"/>
              <a:gd name="connsiteX2" fmla="*/ 1112521 w 1112521"/>
              <a:gd name="connsiteY2" fmla="*/ 0 h 348050"/>
              <a:gd name="connsiteX0" fmla="*/ 0 w 1112521"/>
              <a:gd name="connsiteY0" fmla="*/ 347550 h 348050"/>
              <a:gd name="connsiteX1" fmla="*/ 752602 w 1112521"/>
              <a:gd name="connsiteY1" fmla="*/ 301195 h 348050"/>
              <a:gd name="connsiteX2" fmla="*/ 1112521 w 1112521"/>
              <a:gd name="connsiteY2" fmla="*/ 0 h 348050"/>
              <a:gd name="connsiteX0" fmla="*/ 0 w 1112521"/>
              <a:gd name="connsiteY0" fmla="*/ 347550 h 347550"/>
              <a:gd name="connsiteX1" fmla="*/ 752602 w 1112521"/>
              <a:gd name="connsiteY1" fmla="*/ 301195 h 347550"/>
              <a:gd name="connsiteX2" fmla="*/ 1112521 w 1112521"/>
              <a:gd name="connsiteY2" fmla="*/ 0 h 347550"/>
              <a:gd name="connsiteX0" fmla="*/ 0 w 1112521"/>
              <a:gd name="connsiteY0" fmla="*/ 347550 h 356931"/>
              <a:gd name="connsiteX1" fmla="*/ 752602 w 1112521"/>
              <a:gd name="connsiteY1" fmla="*/ 301195 h 356931"/>
              <a:gd name="connsiteX2" fmla="*/ 1112521 w 1112521"/>
              <a:gd name="connsiteY2" fmla="*/ 0 h 356931"/>
              <a:gd name="connsiteX0" fmla="*/ 0 w 1112521"/>
              <a:gd name="connsiteY0" fmla="*/ 347550 h 355345"/>
              <a:gd name="connsiteX1" fmla="*/ 752602 w 1112521"/>
              <a:gd name="connsiteY1" fmla="*/ 301195 h 355345"/>
              <a:gd name="connsiteX2" fmla="*/ 1112521 w 1112521"/>
              <a:gd name="connsiteY2" fmla="*/ 0 h 355345"/>
              <a:gd name="connsiteX0" fmla="*/ 0 w 1112521"/>
              <a:gd name="connsiteY0" fmla="*/ 347550 h 347550"/>
              <a:gd name="connsiteX1" fmla="*/ 752602 w 1112521"/>
              <a:gd name="connsiteY1" fmla="*/ 301195 h 347550"/>
              <a:gd name="connsiteX2" fmla="*/ 1112521 w 1112521"/>
              <a:gd name="connsiteY2" fmla="*/ 0 h 347550"/>
              <a:gd name="connsiteX0" fmla="*/ 0 w 1112521"/>
              <a:gd name="connsiteY0" fmla="*/ 347550 h 347550"/>
              <a:gd name="connsiteX1" fmla="*/ 748538 w 1112521"/>
              <a:gd name="connsiteY1" fmla="*/ 297131 h 347550"/>
              <a:gd name="connsiteX2" fmla="*/ 1112521 w 1112521"/>
              <a:gd name="connsiteY2" fmla="*/ 0 h 347550"/>
              <a:gd name="connsiteX0" fmla="*/ 0 w 1112521"/>
              <a:gd name="connsiteY0" fmla="*/ 347550 h 347550"/>
              <a:gd name="connsiteX1" fmla="*/ 748538 w 1112521"/>
              <a:gd name="connsiteY1" fmla="*/ 297131 h 347550"/>
              <a:gd name="connsiteX2" fmla="*/ 1112521 w 1112521"/>
              <a:gd name="connsiteY2" fmla="*/ 0 h 347550"/>
              <a:gd name="connsiteX0" fmla="*/ 0 w 1116585"/>
              <a:gd name="connsiteY0" fmla="*/ 347550 h 347550"/>
              <a:gd name="connsiteX1" fmla="*/ 748538 w 1116585"/>
              <a:gd name="connsiteY1" fmla="*/ 297131 h 347550"/>
              <a:gd name="connsiteX2" fmla="*/ 1116585 w 1116585"/>
              <a:gd name="connsiteY2" fmla="*/ 0 h 347550"/>
              <a:gd name="connsiteX0" fmla="*/ 0 w 1116585"/>
              <a:gd name="connsiteY0" fmla="*/ 347550 h 347550"/>
              <a:gd name="connsiteX1" fmla="*/ 748538 w 1116585"/>
              <a:gd name="connsiteY1" fmla="*/ 297131 h 347550"/>
              <a:gd name="connsiteX2" fmla="*/ 1116585 w 1116585"/>
              <a:gd name="connsiteY2" fmla="*/ 0 h 347550"/>
              <a:gd name="connsiteX0" fmla="*/ 0 w 1116585"/>
              <a:gd name="connsiteY0" fmla="*/ 347550 h 347550"/>
              <a:gd name="connsiteX1" fmla="*/ 748538 w 1116585"/>
              <a:gd name="connsiteY1" fmla="*/ 297131 h 347550"/>
              <a:gd name="connsiteX2" fmla="*/ 1116585 w 1116585"/>
              <a:gd name="connsiteY2" fmla="*/ 0 h 347550"/>
              <a:gd name="connsiteX0" fmla="*/ 0 w 1116585"/>
              <a:gd name="connsiteY0" fmla="*/ 347550 h 347550"/>
              <a:gd name="connsiteX1" fmla="*/ 748538 w 1116585"/>
              <a:gd name="connsiteY1" fmla="*/ 297131 h 347550"/>
              <a:gd name="connsiteX2" fmla="*/ 1116585 w 1116585"/>
              <a:gd name="connsiteY2" fmla="*/ 0 h 347550"/>
              <a:gd name="connsiteX0" fmla="*/ 0 w 1116585"/>
              <a:gd name="connsiteY0" fmla="*/ 347550 h 347550"/>
              <a:gd name="connsiteX1" fmla="*/ 748538 w 1116585"/>
              <a:gd name="connsiteY1" fmla="*/ 297131 h 347550"/>
              <a:gd name="connsiteX2" fmla="*/ 1116585 w 1116585"/>
              <a:gd name="connsiteY2" fmla="*/ 0 h 347550"/>
              <a:gd name="connsiteX0" fmla="*/ 0 w 1116585"/>
              <a:gd name="connsiteY0" fmla="*/ 347550 h 347550"/>
              <a:gd name="connsiteX1" fmla="*/ 748538 w 1116585"/>
              <a:gd name="connsiteY1" fmla="*/ 297131 h 347550"/>
              <a:gd name="connsiteX2" fmla="*/ 1116585 w 1116585"/>
              <a:gd name="connsiteY2" fmla="*/ 0 h 347550"/>
              <a:gd name="connsiteX0" fmla="*/ 0 w 1110235"/>
              <a:gd name="connsiteY0" fmla="*/ 351360 h 351360"/>
              <a:gd name="connsiteX1" fmla="*/ 748538 w 1110235"/>
              <a:gd name="connsiteY1" fmla="*/ 300941 h 351360"/>
              <a:gd name="connsiteX2" fmla="*/ 1110235 w 1110235"/>
              <a:gd name="connsiteY2" fmla="*/ 0 h 351360"/>
              <a:gd name="connsiteX0" fmla="*/ 0 w 1110235"/>
              <a:gd name="connsiteY0" fmla="*/ 351360 h 351360"/>
              <a:gd name="connsiteX1" fmla="*/ 748538 w 1110235"/>
              <a:gd name="connsiteY1" fmla="*/ 300941 h 351360"/>
              <a:gd name="connsiteX2" fmla="*/ 1110235 w 1110235"/>
              <a:gd name="connsiteY2" fmla="*/ 0 h 351360"/>
              <a:gd name="connsiteX0" fmla="*/ 0 w 1110235"/>
              <a:gd name="connsiteY0" fmla="*/ 351360 h 351360"/>
              <a:gd name="connsiteX1" fmla="*/ 748538 w 1110235"/>
              <a:gd name="connsiteY1" fmla="*/ 300941 h 351360"/>
              <a:gd name="connsiteX2" fmla="*/ 1110235 w 1110235"/>
              <a:gd name="connsiteY2" fmla="*/ 0 h 351360"/>
              <a:gd name="connsiteX0" fmla="*/ 0 w 1110235"/>
              <a:gd name="connsiteY0" fmla="*/ 351360 h 351360"/>
              <a:gd name="connsiteX1" fmla="*/ 748538 w 1110235"/>
              <a:gd name="connsiteY1" fmla="*/ 300941 h 351360"/>
              <a:gd name="connsiteX2" fmla="*/ 1110235 w 1110235"/>
              <a:gd name="connsiteY2" fmla="*/ 0 h 351360"/>
              <a:gd name="connsiteX0" fmla="*/ 0 w 1110235"/>
              <a:gd name="connsiteY0" fmla="*/ 351360 h 351360"/>
              <a:gd name="connsiteX1" fmla="*/ 748538 w 1110235"/>
              <a:gd name="connsiteY1" fmla="*/ 300941 h 351360"/>
              <a:gd name="connsiteX2" fmla="*/ 1110235 w 1110235"/>
              <a:gd name="connsiteY2" fmla="*/ 0 h 351360"/>
              <a:gd name="connsiteX0" fmla="*/ 0 w 1110235"/>
              <a:gd name="connsiteY0" fmla="*/ 351360 h 352782"/>
              <a:gd name="connsiteX1" fmla="*/ 704089 w 1110235"/>
              <a:gd name="connsiteY1" fmla="*/ 316181 h 352782"/>
              <a:gd name="connsiteX2" fmla="*/ 1110235 w 1110235"/>
              <a:gd name="connsiteY2" fmla="*/ 0 h 352782"/>
              <a:gd name="connsiteX0" fmla="*/ 0 w 1110235"/>
              <a:gd name="connsiteY0" fmla="*/ 351360 h 352782"/>
              <a:gd name="connsiteX1" fmla="*/ 696469 w 1110235"/>
              <a:gd name="connsiteY1" fmla="*/ 316181 h 352782"/>
              <a:gd name="connsiteX2" fmla="*/ 1110235 w 1110235"/>
              <a:gd name="connsiteY2" fmla="*/ 0 h 352782"/>
              <a:gd name="connsiteX0" fmla="*/ 0 w 1110235"/>
              <a:gd name="connsiteY0" fmla="*/ 351360 h 356782"/>
              <a:gd name="connsiteX1" fmla="*/ 685039 w 1110235"/>
              <a:gd name="connsiteY1" fmla="*/ 323801 h 356782"/>
              <a:gd name="connsiteX2" fmla="*/ 1110235 w 1110235"/>
              <a:gd name="connsiteY2" fmla="*/ 0 h 356782"/>
              <a:gd name="connsiteX0" fmla="*/ 0 w 1110235"/>
              <a:gd name="connsiteY0" fmla="*/ 351360 h 354026"/>
              <a:gd name="connsiteX1" fmla="*/ 688849 w 1110235"/>
              <a:gd name="connsiteY1" fmla="*/ 318721 h 354026"/>
              <a:gd name="connsiteX2" fmla="*/ 1110235 w 1110235"/>
              <a:gd name="connsiteY2" fmla="*/ 0 h 354026"/>
            </a:gdLst>
            <a:ahLst/>
            <a:cxnLst>
              <a:cxn ang="0">
                <a:pos x="connsiteX0" y="connsiteY0"/>
              </a:cxn>
              <a:cxn ang="0">
                <a:pos x="connsiteX1" y="connsiteY1"/>
              </a:cxn>
              <a:cxn ang="0">
                <a:pos x="connsiteX2" y="connsiteY2"/>
              </a:cxn>
            </a:cxnLst>
            <a:rect l="l" t="t" r="r" b="b"/>
            <a:pathLst>
              <a:path w="1110235" h="354026">
                <a:moveTo>
                  <a:pt x="0" y="351360"/>
                </a:moveTo>
                <a:cubicBezTo>
                  <a:pt x="296862" y="343422"/>
                  <a:pt x="503810" y="377281"/>
                  <a:pt x="688849" y="318721"/>
                </a:cubicBezTo>
                <a:cubicBezTo>
                  <a:pt x="873888" y="260161"/>
                  <a:pt x="1002487" y="145941"/>
                  <a:pt x="1110235" y="0"/>
                </a:cubicBezTo>
              </a:path>
            </a:pathLst>
          </a:custGeom>
          <a:noFill/>
          <a:ln w="71438" cap="rnd" cmpd="sng" algn="ctr">
            <a:solidFill>
              <a:srgbClr val="60C09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endParaRPr lang="en-US"/>
          </a:p>
        </p:txBody>
      </p:sp>
      <p:sp>
        <p:nvSpPr>
          <p:cNvPr id="37" name="Freeform 36"/>
          <p:cNvSpPr/>
          <p:nvPr/>
        </p:nvSpPr>
        <p:spPr>
          <a:xfrm>
            <a:off x="2068501" y="3081540"/>
            <a:ext cx="3393495" cy="2232705"/>
          </a:xfrm>
          <a:custGeom>
            <a:avLst/>
            <a:gdLst>
              <a:gd name="connsiteX0" fmla="*/ 0 w 5629275"/>
              <a:gd name="connsiteY0" fmla="*/ 2238375 h 2238375"/>
              <a:gd name="connsiteX1" fmla="*/ 781050 w 5629275"/>
              <a:gd name="connsiteY1" fmla="*/ 2171700 h 2238375"/>
              <a:gd name="connsiteX2" fmla="*/ 1123950 w 5629275"/>
              <a:gd name="connsiteY2" fmla="*/ 1933575 h 2238375"/>
              <a:gd name="connsiteX3" fmla="*/ 2171700 w 5629275"/>
              <a:gd name="connsiteY3" fmla="*/ 628650 h 2238375"/>
              <a:gd name="connsiteX4" fmla="*/ 5629275 w 5629275"/>
              <a:gd name="connsiteY4" fmla="*/ 0 h 2238375"/>
              <a:gd name="connsiteX0" fmla="*/ 0 w 5629275"/>
              <a:gd name="connsiteY0" fmla="*/ 2238375 h 2242848"/>
              <a:gd name="connsiteX1" fmla="*/ 781050 w 5629275"/>
              <a:gd name="connsiteY1" fmla="*/ 2171700 h 2242848"/>
              <a:gd name="connsiteX2" fmla="*/ 1123950 w 5629275"/>
              <a:gd name="connsiteY2" fmla="*/ 19335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123950 w 5629275"/>
              <a:gd name="connsiteY2" fmla="*/ 19335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295400 w 5629275"/>
              <a:gd name="connsiteY2" fmla="*/ 15906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295400 w 5629275"/>
              <a:gd name="connsiteY2" fmla="*/ 1590675 h 2242848"/>
              <a:gd name="connsiteX3" fmla="*/ 2171700 w 5629275"/>
              <a:gd name="connsiteY3" fmla="*/ 628650 h 2242848"/>
              <a:gd name="connsiteX4" fmla="*/ 5629275 w 5629275"/>
              <a:gd name="connsiteY4" fmla="*/ 0 h 2242848"/>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5629275 w 5629275"/>
              <a:gd name="connsiteY4"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5629275 w 5629275"/>
              <a:gd name="connsiteY4"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235065 w 5629275"/>
              <a:gd name="connsiteY4" fmla="*/ 137849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1915291 w 5629275"/>
              <a:gd name="connsiteY3" fmla="*/ 673899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325566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4657388"/>
              <a:gd name="connsiteY0" fmla="*/ 1843430 h 1847484"/>
              <a:gd name="connsiteX1" fmla="*/ 781050 w 4657388"/>
              <a:gd name="connsiteY1" fmla="*/ 1776755 h 1847484"/>
              <a:gd name="connsiteX2" fmla="*/ 1295401 w 4657388"/>
              <a:gd name="connsiteY2" fmla="*/ 1203272 h 1847484"/>
              <a:gd name="connsiteX3" fmla="*/ 2081202 w 4657388"/>
              <a:gd name="connsiteY3" fmla="*/ 278955 h 1847484"/>
              <a:gd name="connsiteX4" fmla="*/ 4657388 w 4657388"/>
              <a:gd name="connsiteY4" fmla="*/ 142600 h 1847484"/>
              <a:gd name="connsiteX0" fmla="*/ 0 w 2714796"/>
              <a:gd name="connsiteY0" fmla="*/ 1884521 h 1888575"/>
              <a:gd name="connsiteX1" fmla="*/ 781050 w 2714796"/>
              <a:gd name="connsiteY1" fmla="*/ 1817846 h 1888575"/>
              <a:gd name="connsiteX2" fmla="*/ 1295401 w 2714796"/>
              <a:gd name="connsiteY2" fmla="*/ 1244363 h 1888575"/>
              <a:gd name="connsiteX3" fmla="*/ 2081202 w 2714796"/>
              <a:gd name="connsiteY3" fmla="*/ 320046 h 1888575"/>
              <a:gd name="connsiteX4" fmla="*/ 2714796 w 2714796"/>
              <a:gd name="connsiteY4" fmla="*/ 102411 h 1888575"/>
              <a:gd name="connsiteX0" fmla="*/ 0 w 2734330"/>
              <a:gd name="connsiteY0" fmla="*/ 1846615 h 1850669"/>
              <a:gd name="connsiteX1" fmla="*/ 781050 w 2734330"/>
              <a:gd name="connsiteY1" fmla="*/ 1779940 h 1850669"/>
              <a:gd name="connsiteX2" fmla="*/ 1295401 w 2734330"/>
              <a:gd name="connsiteY2" fmla="*/ 1206457 h 1850669"/>
              <a:gd name="connsiteX3" fmla="*/ 2081202 w 2734330"/>
              <a:gd name="connsiteY3" fmla="*/ 282140 h 1850669"/>
              <a:gd name="connsiteX4" fmla="*/ 2714796 w 2734330"/>
              <a:gd name="connsiteY4" fmla="*/ 64505 h 1850669"/>
              <a:gd name="connsiteX0" fmla="*/ 0 w 2714796"/>
              <a:gd name="connsiteY0" fmla="*/ 1782664 h 1786718"/>
              <a:gd name="connsiteX1" fmla="*/ 781050 w 2714796"/>
              <a:gd name="connsiteY1" fmla="*/ 1715989 h 1786718"/>
              <a:gd name="connsiteX2" fmla="*/ 1295401 w 2714796"/>
              <a:gd name="connsiteY2" fmla="*/ 1142506 h 1786718"/>
              <a:gd name="connsiteX3" fmla="*/ 2081202 w 2714796"/>
              <a:gd name="connsiteY3" fmla="*/ 218189 h 1786718"/>
              <a:gd name="connsiteX4" fmla="*/ 2714796 w 2714796"/>
              <a:gd name="connsiteY4" fmla="*/ 554 h 1786718"/>
              <a:gd name="connsiteX0" fmla="*/ 0 w 2714796"/>
              <a:gd name="connsiteY0" fmla="*/ 1782525 h 1786579"/>
              <a:gd name="connsiteX1" fmla="*/ 781050 w 2714796"/>
              <a:gd name="connsiteY1" fmla="*/ 1715850 h 1786579"/>
              <a:gd name="connsiteX2" fmla="*/ 1295401 w 2714796"/>
              <a:gd name="connsiteY2" fmla="*/ 1142367 h 1786579"/>
              <a:gd name="connsiteX3" fmla="*/ 2081202 w 2714796"/>
              <a:gd name="connsiteY3" fmla="*/ 218050 h 1786579"/>
              <a:gd name="connsiteX4" fmla="*/ 2714796 w 2714796"/>
              <a:gd name="connsiteY4" fmla="*/ 415 h 1786579"/>
              <a:gd name="connsiteX0" fmla="*/ 0 w 2714796"/>
              <a:gd name="connsiteY0" fmla="*/ 1782456 h 1786510"/>
              <a:gd name="connsiteX1" fmla="*/ 781050 w 2714796"/>
              <a:gd name="connsiteY1" fmla="*/ 1715781 h 1786510"/>
              <a:gd name="connsiteX2" fmla="*/ 1295401 w 2714796"/>
              <a:gd name="connsiteY2" fmla="*/ 1142298 h 1786510"/>
              <a:gd name="connsiteX3" fmla="*/ 2081202 w 2714796"/>
              <a:gd name="connsiteY3" fmla="*/ 217981 h 1786510"/>
              <a:gd name="connsiteX4" fmla="*/ 2714796 w 2714796"/>
              <a:gd name="connsiteY4" fmla="*/ 346 h 1786510"/>
              <a:gd name="connsiteX0" fmla="*/ 0 w 2714796"/>
              <a:gd name="connsiteY0" fmla="*/ 1782548 h 1786602"/>
              <a:gd name="connsiteX1" fmla="*/ 781050 w 2714796"/>
              <a:gd name="connsiteY1" fmla="*/ 1715873 h 1786602"/>
              <a:gd name="connsiteX2" fmla="*/ 1295401 w 2714796"/>
              <a:gd name="connsiteY2" fmla="*/ 1142390 h 1786602"/>
              <a:gd name="connsiteX3" fmla="*/ 2081202 w 2714796"/>
              <a:gd name="connsiteY3" fmla="*/ 218073 h 1786602"/>
              <a:gd name="connsiteX4" fmla="*/ 2714796 w 2714796"/>
              <a:gd name="connsiteY4" fmla="*/ 438 h 1786602"/>
              <a:gd name="connsiteX0" fmla="*/ 0 w 2714796"/>
              <a:gd name="connsiteY0" fmla="*/ 1782110 h 1786164"/>
              <a:gd name="connsiteX1" fmla="*/ 781050 w 2714796"/>
              <a:gd name="connsiteY1" fmla="*/ 1715435 h 1786164"/>
              <a:gd name="connsiteX2" fmla="*/ 1295401 w 2714796"/>
              <a:gd name="connsiteY2" fmla="*/ 1141952 h 1786164"/>
              <a:gd name="connsiteX3" fmla="*/ 2081202 w 2714796"/>
              <a:gd name="connsiteY3" fmla="*/ 217635 h 1786164"/>
              <a:gd name="connsiteX4" fmla="*/ 2714796 w 2714796"/>
              <a:gd name="connsiteY4" fmla="*/ 0 h 1786164"/>
              <a:gd name="connsiteX0" fmla="*/ 0 w 2834260"/>
              <a:gd name="connsiteY0" fmla="*/ 1825579 h 1829633"/>
              <a:gd name="connsiteX1" fmla="*/ 781050 w 2834260"/>
              <a:gd name="connsiteY1" fmla="*/ 1758904 h 1829633"/>
              <a:gd name="connsiteX2" fmla="*/ 1295401 w 2834260"/>
              <a:gd name="connsiteY2" fmla="*/ 1185421 h 1829633"/>
              <a:gd name="connsiteX3" fmla="*/ 2081202 w 2834260"/>
              <a:gd name="connsiteY3" fmla="*/ 261104 h 1829633"/>
              <a:gd name="connsiteX4" fmla="*/ 2714796 w 2834260"/>
              <a:gd name="connsiteY4" fmla="*/ 43469 h 1829633"/>
              <a:gd name="connsiteX0" fmla="*/ 0 w 2760092"/>
              <a:gd name="connsiteY0" fmla="*/ 1798647 h 1802701"/>
              <a:gd name="connsiteX1" fmla="*/ 781050 w 2760092"/>
              <a:gd name="connsiteY1" fmla="*/ 1731972 h 1802701"/>
              <a:gd name="connsiteX2" fmla="*/ 1295401 w 2760092"/>
              <a:gd name="connsiteY2" fmla="*/ 1158489 h 1802701"/>
              <a:gd name="connsiteX3" fmla="*/ 2081202 w 2760092"/>
              <a:gd name="connsiteY3" fmla="*/ 234172 h 1802701"/>
              <a:gd name="connsiteX4" fmla="*/ 2714796 w 2760092"/>
              <a:gd name="connsiteY4" fmla="*/ 16537 h 1802701"/>
              <a:gd name="connsiteX0" fmla="*/ 0 w 2714796"/>
              <a:gd name="connsiteY0" fmla="*/ 1782110 h 1786164"/>
              <a:gd name="connsiteX1" fmla="*/ 781050 w 2714796"/>
              <a:gd name="connsiteY1" fmla="*/ 1715435 h 1786164"/>
              <a:gd name="connsiteX2" fmla="*/ 1295401 w 2714796"/>
              <a:gd name="connsiteY2" fmla="*/ 1141952 h 1786164"/>
              <a:gd name="connsiteX3" fmla="*/ 2081202 w 2714796"/>
              <a:gd name="connsiteY3" fmla="*/ 217635 h 1786164"/>
              <a:gd name="connsiteX4" fmla="*/ 2714796 w 2714796"/>
              <a:gd name="connsiteY4" fmla="*/ 0 h 1786164"/>
              <a:gd name="connsiteX0" fmla="*/ 0 w 2714796"/>
              <a:gd name="connsiteY0" fmla="*/ 1782110 h 1786164"/>
              <a:gd name="connsiteX1" fmla="*/ 781050 w 2714796"/>
              <a:gd name="connsiteY1" fmla="*/ 1715435 h 1786164"/>
              <a:gd name="connsiteX2" fmla="*/ 1295401 w 2714796"/>
              <a:gd name="connsiteY2" fmla="*/ 1141952 h 1786164"/>
              <a:gd name="connsiteX3" fmla="*/ 2081202 w 2714796"/>
              <a:gd name="connsiteY3" fmla="*/ 217635 h 1786164"/>
              <a:gd name="connsiteX4" fmla="*/ 2714796 w 2714796"/>
              <a:gd name="connsiteY4" fmla="*/ 0 h 1786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796" h="1786164">
                <a:moveTo>
                  <a:pt x="0" y="1782110"/>
                </a:moveTo>
                <a:cubicBezTo>
                  <a:pt x="296862" y="1774172"/>
                  <a:pt x="565150" y="1822128"/>
                  <a:pt x="781050" y="1715435"/>
                </a:cubicBezTo>
                <a:cubicBezTo>
                  <a:pt x="996950" y="1608742"/>
                  <a:pt x="1154124" y="1421751"/>
                  <a:pt x="1295401" y="1141952"/>
                </a:cubicBezTo>
                <a:cubicBezTo>
                  <a:pt x="1436678" y="862153"/>
                  <a:pt x="1508304" y="399444"/>
                  <a:pt x="2081202" y="217635"/>
                </a:cubicBezTo>
                <a:cubicBezTo>
                  <a:pt x="2323452" y="117905"/>
                  <a:pt x="2616745" y="35855"/>
                  <a:pt x="2714796" y="0"/>
                </a:cubicBezTo>
              </a:path>
            </a:pathLst>
          </a:custGeom>
          <a:noFill/>
          <a:ln w="71438" cap="rnd" cmpd="sng" algn="ctr">
            <a:solidFill>
              <a:srgbClr val="60C09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endParaRPr lang="en-US"/>
          </a:p>
        </p:txBody>
      </p:sp>
      <p:sp>
        <p:nvSpPr>
          <p:cNvPr id="41" name="Freeform 40"/>
          <p:cNvSpPr/>
          <p:nvPr/>
        </p:nvSpPr>
        <p:spPr>
          <a:xfrm>
            <a:off x="5453171" y="2996018"/>
            <a:ext cx="2437065" cy="187121"/>
          </a:xfrm>
          <a:custGeom>
            <a:avLst/>
            <a:gdLst>
              <a:gd name="connsiteX0" fmla="*/ 0 w 5629275"/>
              <a:gd name="connsiteY0" fmla="*/ 2238375 h 2238375"/>
              <a:gd name="connsiteX1" fmla="*/ 781050 w 5629275"/>
              <a:gd name="connsiteY1" fmla="*/ 2171700 h 2238375"/>
              <a:gd name="connsiteX2" fmla="*/ 1123950 w 5629275"/>
              <a:gd name="connsiteY2" fmla="*/ 1933575 h 2238375"/>
              <a:gd name="connsiteX3" fmla="*/ 2171700 w 5629275"/>
              <a:gd name="connsiteY3" fmla="*/ 628650 h 2238375"/>
              <a:gd name="connsiteX4" fmla="*/ 5629275 w 5629275"/>
              <a:gd name="connsiteY4" fmla="*/ 0 h 2238375"/>
              <a:gd name="connsiteX0" fmla="*/ 0 w 5629275"/>
              <a:gd name="connsiteY0" fmla="*/ 2238375 h 2242848"/>
              <a:gd name="connsiteX1" fmla="*/ 781050 w 5629275"/>
              <a:gd name="connsiteY1" fmla="*/ 2171700 h 2242848"/>
              <a:gd name="connsiteX2" fmla="*/ 1123950 w 5629275"/>
              <a:gd name="connsiteY2" fmla="*/ 19335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123950 w 5629275"/>
              <a:gd name="connsiteY2" fmla="*/ 19335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295400 w 5629275"/>
              <a:gd name="connsiteY2" fmla="*/ 1590675 h 2242848"/>
              <a:gd name="connsiteX3" fmla="*/ 2171700 w 5629275"/>
              <a:gd name="connsiteY3" fmla="*/ 628650 h 2242848"/>
              <a:gd name="connsiteX4" fmla="*/ 5629275 w 5629275"/>
              <a:gd name="connsiteY4" fmla="*/ 0 h 2242848"/>
              <a:gd name="connsiteX0" fmla="*/ 0 w 5629275"/>
              <a:gd name="connsiteY0" fmla="*/ 2238375 h 2242848"/>
              <a:gd name="connsiteX1" fmla="*/ 781050 w 5629275"/>
              <a:gd name="connsiteY1" fmla="*/ 2171700 h 2242848"/>
              <a:gd name="connsiteX2" fmla="*/ 1295400 w 5629275"/>
              <a:gd name="connsiteY2" fmla="*/ 1590675 h 2242848"/>
              <a:gd name="connsiteX3" fmla="*/ 2171700 w 5629275"/>
              <a:gd name="connsiteY3" fmla="*/ 628650 h 2242848"/>
              <a:gd name="connsiteX4" fmla="*/ 5629275 w 5629275"/>
              <a:gd name="connsiteY4" fmla="*/ 0 h 2242848"/>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5629275 w 5629275"/>
              <a:gd name="connsiteY4"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5629275 w 5629275"/>
              <a:gd name="connsiteY4"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235065 w 5629275"/>
              <a:gd name="connsiteY4" fmla="*/ 137849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416061 w 5629275"/>
              <a:gd name="connsiteY4" fmla="*/ 220804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171700 w 5629275"/>
              <a:gd name="connsiteY3" fmla="*/ 538152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1915291 w 5629275"/>
              <a:gd name="connsiteY3" fmla="*/ 673899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629275"/>
              <a:gd name="connsiteY0" fmla="*/ 2147877 h 2152350"/>
              <a:gd name="connsiteX1" fmla="*/ 781050 w 5629275"/>
              <a:gd name="connsiteY1" fmla="*/ 2081202 h 2152350"/>
              <a:gd name="connsiteX2" fmla="*/ 1295400 w 5629275"/>
              <a:gd name="connsiteY2" fmla="*/ 1500177 h 2152350"/>
              <a:gd name="connsiteX3" fmla="*/ 2081202 w 5629275"/>
              <a:gd name="connsiteY3" fmla="*/ 575860 h 2152350"/>
              <a:gd name="connsiteX4" fmla="*/ 4657388 w 5629275"/>
              <a:gd name="connsiteY4" fmla="*/ 447047 h 2152350"/>
              <a:gd name="connsiteX5" fmla="*/ 5629275 w 562927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295400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2350"/>
              <a:gd name="connsiteX1" fmla="*/ 781050 w 5840435"/>
              <a:gd name="connsiteY1" fmla="*/ 2081202 h 2152350"/>
              <a:gd name="connsiteX2" fmla="*/ 1325566 w 5840435"/>
              <a:gd name="connsiteY2" fmla="*/ 1500177 h 2152350"/>
              <a:gd name="connsiteX3" fmla="*/ 2081202 w 5840435"/>
              <a:gd name="connsiteY3" fmla="*/ 575860 h 2152350"/>
              <a:gd name="connsiteX4" fmla="*/ 4657388 w 5840435"/>
              <a:gd name="connsiteY4" fmla="*/ 447047 h 2152350"/>
              <a:gd name="connsiteX5" fmla="*/ 5840435 w 5840435"/>
              <a:gd name="connsiteY5" fmla="*/ 0 h 2152350"/>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75860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38153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5840435"/>
              <a:gd name="connsiteY0" fmla="*/ 2147877 h 2151931"/>
              <a:gd name="connsiteX1" fmla="*/ 781050 w 5840435"/>
              <a:gd name="connsiteY1" fmla="*/ 2081202 h 2151931"/>
              <a:gd name="connsiteX2" fmla="*/ 1295401 w 5840435"/>
              <a:gd name="connsiteY2" fmla="*/ 1507719 h 2151931"/>
              <a:gd name="connsiteX3" fmla="*/ 2081202 w 5840435"/>
              <a:gd name="connsiteY3" fmla="*/ 583402 h 2151931"/>
              <a:gd name="connsiteX4" fmla="*/ 4657388 w 5840435"/>
              <a:gd name="connsiteY4" fmla="*/ 447047 h 2151931"/>
              <a:gd name="connsiteX5" fmla="*/ 5840435 w 5840435"/>
              <a:gd name="connsiteY5" fmla="*/ 0 h 2151931"/>
              <a:gd name="connsiteX0" fmla="*/ 0 w 4657388"/>
              <a:gd name="connsiteY0" fmla="*/ 1843430 h 1847484"/>
              <a:gd name="connsiteX1" fmla="*/ 781050 w 4657388"/>
              <a:gd name="connsiteY1" fmla="*/ 1776755 h 1847484"/>
              <a:gd name="connsiteX2" fmla="*/ 1295401 w 4657388"/>
              <a:gd name="connsiteY2" fmla="*/ 1203272 h 1847484"/>
              <a:gd name="connsiteX3" fmla="*/ 2081202 w 4657388"/>
              <a:gd name="connsiteY3" fmla="*/ 278955 h 1847484"/>
              <a:gd name="connsiteX4" fmla="*/ 4657388 w 4657388"/>
              <a:gd name="connsiteY4" fmla="*/ 142600 h 1847484"/>
              <a:gd name="connsiteX0" fmla="*/ 0 w 4657388"/>
              <a:gd name="connsiteY0" fmla="*/ 1982980 h 1987034"/>
              <a:gd name="connsiteX1" fmla="*/ 781050 w 4657388"/>
              <a:gd name="connsiteY1" fmla="*/ 1916305 h 1987034"/>
              <a:gd name="connsiteX2" fmla="*/ 1295401 w 4657388"/>
              <a:gd name="connsiteY2" fmla="*/ 1342822 h 1987034"/>
              <a:gd name="connsiteX3" fmla="*/ 2707736 w 4657388"/>
              <a:gd name="connsiteY3" fmla="*/ 205145 h 1987034"/>
              <a:gd name="connsiteX4" fmla="*/ 4657388 w 4657388"/>
              <a:gd name="connsiteY4" fmla="*/ 282150 h 1987034"/>
              <a:gd name="connsiteX0" fmla="*/ 0 w 4657388"/>
              <a:gd name="connsiteY0" fmla="*/ 1808390 h 1812444"/>
              <a:gd name="connsiteX1" fmla="*/ 781050 w 4657388"/>
              <a:gd name="connsiteY1" fmla="*/ 1741715 h 1812444"/>
              <a:gd name="connsiteX2" fmla="*/ 1295401 w 4657388"/>
              <a:gd name="connsiteY2" fmla="*/ 1168232 h 1812444"/>
              <a:gd name="connsiteX3" fmla="*/ 2707736 w 4657388"/>
              <a:gd name="connsiteY3" fmla="*/ 30555 h 1812444"/>
              <a:gd name="connsiteX4" fmla="*/ 4657388 w 4657388"/>
              <a:gd name="connsiteY4" fmla="*/ 107560 h 1812444"/>
              <a:gd name="connsiteX0" fmla="*/ 0 w 4657388"/>
              <a:gd name="connsiteY0" fmla="*/ 1808390 h 1812444"/>
              <a:gd name="connsiteX1" fmla="*/ 781050 w 4657388"/>
              <a:gd name="connsiteY1" fmla="*/ 1741715 h 1812444"/>
              <a:gd name="connsiteX2" fmla="*/ 1295401 w 4657388"/>
              <a:gd name="connsiteY2" fmla="*/ 1168232 h 1812444"/>
              <a:gd name="connsiteX3" fmla="*/ 2707736 w 4657388"/>
              <a:gd name="connsiteY3" fmla="*/ 30555 h 1812444"/>
              <a:gd name="connsiteX4" fmla="*/ 4657388 w 4657388"/>
              <a:gd name="connsiteY4" fmla="*/ 107560 h 1812444"/>
              <a:gd name="connsiteX0" fmla="*/ 0 w 4657388"/>
              <a:gd name="connsiteY0" fmla="*/ 1850527 h 1854581"/>
              <a:gd name="connsiteX1" fmla="*/ 781050 w 4657388"/>
              <a:gd name="connsiteY1" fmla="*/ 1783852 h 1854581"/>
              <a:gd name="connsiteX2" fmla="*/ 1295401 w 4657388"/>
              <a:gd name="connsiteY2" fmla="*/ 1210369 h 1854581"/>
              <a:gd name="connsiteX3" fmla="*/ 2707736 w 4657388"/>
              <a:gd name="connsiteY3" fmla="*/ 72692 h 1854581"/>
              <a:gd name="connsiteX4" fmla="*/ 4657388 w 4657388"/>
              <a:gd name="connsiteY4" fmla="*/ 149697 h 1854581"/>
              <a:gd name="connsiteX0" fmla="*/ 0 w 4657388"/>
              <a:gd name="connsiteY0" fmla="*/ 1850527 h 1933163"/>
              <a:gd name="connsiteX1" fmla="*/ 781050 w 4657388"/>
              <a:gd name="connsiteY1" fmla="*/ 1783852 h 1933163"/>
              <a:gd name="connsiteX2" fmla="*/ 2707736 w 4657388"/>
              <a:gd name="connsiteY2" fmla="*/ 72692 h 1933163"/>
              <a:gd name="connsiteX3" fmla="*/ 4657388 w 4657388"/>
              <a:gd name="connsiteY3" fmla="*/ 149697 h 1933163"/>
              <a:gd name="connsiteX0" fmla="*/ 0 w 4657388"/>
              <a:gd name="connsiteY0" fmla="*/ 1850527 h 1850527"/>
              <a:gd name="connsiteX1" fmla="*/ 2707736 w 4657388"/>
              <a:gd name="connsiteY1" fmla="*/ 72692 h 1850527"/>
              <a:gd name="connsiteX2" fmla="*/ 4657388 w 4657388"/>
              <a:gd name="connsiteY2" fmla="*/ 149697 h 1850527"/>
              <a:gd name="connsiteX0" fmla="*/ 0 w 1949652"/>
              <a:gd name="connsiteY0" fmla="*/ 72692 h 149697"/>
              <a:gd name="connsiteX1" fmla="*/ 1949652 w 1949652"/>
              <a:gd name="connsiteY1" fmla="*/ 149697 h 149697"/>
            </a:gdLst>
            <a:ahLst/>
            <a:cxnLst>
              <a:cxn ang="0">
                <a:pos x="connsiteX0" y="connsiteY0"/>
              </a:cxn>
              <a:cxn ang="0">
                <a:pos x="connsiteX1" y="connsiteY1"/>
              </a:cxn>
            </a:cxnLst>
            <a:rect l="l" t="t" r="r" b="b"/>
            <a:pathLst>
              <a:path w="1949652" h="149697">
                <a:moveTo>
                  <a:pt x="0" y="72692"/>
                </a:moveTo>
                <a:cubicBezTo>
                  <a:pt x="703514" y="-82580"/>
                  <a:pt x="1111953" y="43312"/>
                  <a:pt x="1949652" y="149697"/>
                </a:cubicBezTo>
              </a:path>
            </a:pathLst>
          </a:custGeom>
          <a:noFill/>
          <a:ln w="71438" cap="rnd" cmpd="sng" algn="ctr">
            <a:solidFill>
              <a:srgbClr val="60C09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endParaRPr lang="en-US"/>
          </a:p>
        </p:txBody>
      </p:sp>
      <p:sp>
        <p:nvSpPr>
          <p:cNvPr id="27" name="Oval 20"/>
          <p:cNvSpPr>
            <a:spLocks noChangeAspect="1" noChangeArrowheads="1"/>
          </p:cNvSpPr>
          <p:nvPr/>
        </p:nvSpPr>
        <p:spPr bwMode="auto">
          <a:xfrm>
            <a:off x="7862612" y="3082894"/>
            <a:ext cx="306910" cy="306910"/>
          </a:xfrm>
          <a:prstGeom prst="ellipse">
            <a:avLst/>
          </a:prstGeom>
          <a:solidFill>
            <a:srgbClr val="797979"/>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Trebuchet MS" panose="020B0603020202020204" pitchFamily="34" charset="0"/>
              </a:rPr>
              <a:t>C</a:t>
            </a:r>
          </a:p>
        </p:txBody>
      </p:sp>
      <p:sp>
        <p:nvSpPr>
          <p:cNvPr id="23" name="Oval 20"/>
          <p:cNvSpPr>
            <a:spLocks noChangeAspect="1" noChangeArrowheads="1"/>
          </p:cNvSpPr>
          <p:nvPr/>
        </p:nvSpPr>
        <p:spPr bwMode="auto">
          <a:xfrm>
            <a:off x="3343693" y="4688363"/>
            <a:ext cx="306910" cy="306910"/>
          </a:xfrm>
          <a:prstGeom prst="ellipse">
            <a:avLst/>
          </a:prstGeom>
          <a:solidFill>
            <a:srgbClr val="797979"/>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Trebuchet MS" panose="020B0603020202020204" pitchFamily="34" charset="0"/>
              </a:rPr>
              <a:t>A</a:t>
            </a:r>
          </a:p>
        </p:txBody>
      </p:sp>
      <p:sp>
        <p:nvSpPr>
          <p:cNvPr id="25" name="Oval 20"/>
          <p:cNvSpPr>
            <a:spLocks noChangeAspect="1" noChangeArrowheads="1"/>
          </p:cNvSpPr>
          <p:nvPr/>
        </p:nvSpPr>
        <p:spPr bwMode="auto">
          <a:xfrm>
            <a:off x="5279066" y="2911742"/>
            <a:ext cx="306910" cy="306910"/>
          </a:xfrm>
          <a:prstGeom prst="ellipse">
            <a:avLst/>
          </a:prstGeom>
          <a:solidFill>
            <a:srgbClr val="797979"/>
          </a:solidFill>
          <a:ln>
            <a:noFill/>
          </a:ln>
        </p:spPr>
        <p:txBody>
          <a:bodyPr vert="horz" wrap="square" lIns="0" tIns="0" rIns="0" bIns="0" numCol="1" anchor="ctr" anchorCtr="0" compatLnSpc="1">
            <a:prstTxWarp prst="textNoShape">
              <a:avLst/>
            </a:prstTxWarp>
          </a:bodyPr>
          <a:lstStyle/>
          <a:p>
            <a:pPr algn="ctr"/>
            <a:r>
              <a:rPr lang="en-US" sz="1600" dirty="0">
                <a:solidFill>
                  <a:srgbClr val="FFFFFF">
                    <a:lumMod val="100000"/>
                  </a:srgbClr>
                </a:solidFill>
                <a:latin typeface="Trebuchet MS" panose="020B0603020202020204" pitchFamily="34" charset="0"/>
              </a:rPr>
              <a:t>B</a:t>
            </a:r>
          </a:p>
        </p:txBody>
      </p:sp>
    </p:spTree>
    <p:extLst>
      <p:ext uri="{BB962C8B-B14F-4D97-AF65-F5344CB8AC3E}">
        <p14:creationId xmlns:p14="http://schemas.microsoft.com/office/powerpoint/2010/main" val="4086086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P spid="13" grpId="0" animBg="1"/>
      <p:bldP spid="16" grpId="0"/>
      <p:bldP spid="17" grpId="0"/>
      <p:bldP spid="18" grpId="0"/>
      <p:bldP spid="19" grpId="0"/>
      <p:bldP spid="20" grpId="0" animBg="1"/>
      <p:bldP spid="24" grpId="0"/>
      <p:bldP spid="26" grpId="0"/>
      <p:bldP spid="28" grpId="0"/>
      <p:bldP spid="2" grpId="0" animBg="1"/>
      <p:bldP spid="29" grpId="0" animBg="1"/>
      <p:bldP spid="30" grpId="0" animBg="1"/>
      <p:bldP spid="31" grpId="0" animBg="1"/>
      <p:bldP spid="35" grpId="0" animBg="1"/>
      <p:bldP spid="37" grpId="0" animBg="1"/>
      <p:bldP spid="41" grpId="0" animBg="1"/>
      <p:bldP spid="27" grpId="0" animBg="1"/>
      <p:bldP spid="23" grpId="0" animBg="1"/>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828A7-4F0B-7F4F-9110-3040D01742B5}"/>
              </a:ext>
            </a:extLst>
          </p:cNvPr>
          <p:cNvSpPr>
            <a:spLocks noGrp="1"/>
          </p:cNvSpPr>
          <p:nvPr>
            <p:ph type="title"/>
          </p:nvPr>
        </p:nvSpPr>
        <p:spPr/>
        <p:txBody>
          <a:bodyPr/>
          <a:lstStyle/>
          <a:p>
            <a:r>
              <a:rPr lang="en-US" dirty="0"/>
              <a:t>Old wine in new bottles?</a:t>
            </a:r>
          </a:p>
        </p:txBody>
      </p:sp>
      <p:sp>
        <p:nvSpPr>
          <p:cNvPr id="3" name="TextBox 2">
            <a:extLst>
              <a:ext uri="{FF2B5EF4-FFF2-40B4-BE49-F238E27FC236}">
                <a16:creationId xmlns:a16="http://schemas.microsoft.com/office/drawing/2014/main" id="{10AB0672-9CC5-D047-9ABE-615DF999EF36}"/>
              </a:ext>
            </a:extLst>
          </p:cNvPr>
          <p:cNvSpPr txBox="1"/>
          <p:nvPr/>
        </p:nvSpPr>
        <p:spPr>
          <a:xfrm>
            <a:off x="5180354" y="579020"/>
            <a:ext cx="6685429" cy="692497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2400" dirty="0">
                <a:solidFill>
                  <a:srgbClr val="575757"/>
                </a:solidFill>
              </a:rPr>
              <a:t>New choices</a:t>
            </a:r>
          </a:p>
          <a:p>
            <a:pPr marL="457200" indent="-457200">
              <a:buFont typeface="Arial" panose="020B0604020202020204" pitchFamily="34" charset="0"/>
              <a:buChar char="•"/>
            </a:pPr>
            <a:r>
              <a:rPr lang="en-US" sz="2400" dirty="0">
                <a:solidFill>
                  <a:srgbClr val="575757"/>
                </a:solidFill>
              </a:rPr>
              <a:t>Ecosystem or not </a:t>
            </a:r>
          </a:p>
          <a:p>
            <a:pPr marL="457200" indent="-457200">
              <a:buFont typeface="Arial" panose="020B0604020202020204" pitchFamily="34" charset="0"/>
              <a:buChar char="•"/>
            </a:pPr>
            <a:r>
              <a:rPr lang="en-US" sz="2400" dirty="0">
                <a:solidFill>
                  <a:srgbClr val="575757"/>
                </a:solidFill>
              </a:rPr>
              <a:t>Design choices: open?  nested? …</a:t>
            </a:r>
          </a:p>
          <a:p>
            <a:endParaRPr lang="en-US" sz="2400" dirty="0">
              <a:solidFill>
                <a:srgbClr val="575757"/>
              </a:solidFill>
            </a:endParaRPr>
          </a:p>
          <a:p>
            <a:r>
              <a:rPr lang="en-US" sz="2400" dirty="0">
                <a:solidFill>
                  <a:srgbClr val="575757"/>
                </a:solidFill>
              </a:rPr>
              <a:t>New thinking</a:t>
            </a:r>
          </a:p>
          <a:p>
            <a:pPr marL="457200" indent="-457200">
              <a:buFont typeface="Arial" panose="020B0604020202020204" pitchFamily="34" charset="0"/>
              <a:buChar char="•"/>
            </a:pPr>
            <a:r>
              <a:rPr lang="en-US" sz="2400" dirty="0">
                <a:solidFill>
                  <a:srgbClr val="575757"/>
                </a:solidFill>
              </a:rPr>
              <a:t>Boundaries </a:t>
            </a:r>
          </a:p>
          <a:p>
            <a:pPr marL="457200" indent="-457200">
              <a:buFont typeface="Arial" panose="020B0604020202020204" pitchFamily="34" charset="0"/>
              <a:buChar char="•"/>
            </a:pPr>
            <a:r>
              <a:rPr lang="en-US" sz="2400" dirty="0">
                <a:solidFill>
                  <a:srgbClr val="575757"/>
                </a:solidFill>
              </a:rPr>
              <a:t>Multilateralism</a:t>
            </a:r>
          </a:p>
          <a:p>
            <a:pPr marL="457200" indent="-457200">
              <a:buFont typeface="Arial" panose="020B0604020202020204" pitchFamily="34" charset="0"/>
              <a:buChar char="•"/>
            </a:pPr>
            <a:r>
              <a:rPr lang="en-US" sz="2400" dirty="0">
                <a:solidFill>
                  <a:srgbClr val="575757"/>
                </a:solidFill>
              </a:rPr>
              <a:t>Emergence</a:t>
            </a:r>
          </a:p>
          <a:p>
            <a:pPr marL="457200" indent="-457200">
              <a:buFont typeface="Arial" panose="020B0604020202020204" pitchFamily="34" charset="0"/>
              <a:buChar char="•"/>
            </a:pPr>
            <a:r>
              <a:rPr lang="en-US" sz="2400" dirty="0">
                <a:solidFill>
                  <a:srgbClr val="575757"/>
                </a:solidFill>
              </a:rPr>
              <a:t>Succession</a:t>
            </a:r>
          </a:p>
          <a:p>
            <a:pPr marL="457200" indent="-457200">
              <a:buFont typeface="Arial" panose="020B0604020202020204" pitchFamily="34" charset="0"/>
              <a:buChar char="•"/>
            </a:pPr>
            <a:r>
              <a:rPr lang="en-US" sz="2400" dirty="0">
                <a:solidFill>
                  <a:srgbClr val="575757"/>
                </a:solidFill>
              </a:rPr>
              <a:t>Shaping …</a:t>
            </a:r>
          </a:p>
          <a:p>
            <a:endParaRPr lang="en-US" sz="2400" dirty="0">
              <a:solidFill>
                <a:srgbClr val="575757"/>
              </a:solidFill>
            </a:endParaRPr>
          </a:p>
          <a:p>
            <a:r>
              <a:rPr lang="en-US" sz="2400" dirty="0">
                <a:solidFill>
                  <a:srgbClr val="575757"/>
                </a:solidFill>
              </a:rPr>
              <a:t>New questions, where practice leads</a:t>
            </a:r>
          </a:p>
          <a:p>
            <a:pPr marL="457200" indent="-457200">
              <a:buFont typeface="Arial" panose="020B0604020202020204" pitchFamily="34" charset="0"/>
              <a:buChar char="•"/>
            </a:pPr>
            <a:r>
              <a:rPr lang="en-US" sz="2400" dirty="0">
                <a:solidFill>
                  <a:srgbClr val="575757"/>
                </a:solidFill>
              </a:rPr>
              <a:t>Complementer strategy?</a:t>
            </a:r>
          </a:p>
          <a:p>
            <a:pPr marL="457200" indent="-457200">
              <a:buFont typeface="Arial" panose="020B0604020202020204" pitchFamily="34" charset="0"/>
              <a:buChar char="•"/>
            </a:pPr>
            <a:r>
              <a:rPr lang="en-US" sz="2400" dirty="0">
                <a:solidFill>
                  <a:srgbClr val="575757"/>
                </a:solidFill>
              </a:rPr>
              <a:t>Regulation?</a:t>
            </a:r>
          </a:p>
          <a:p>
            <a:pPr marL="457200" indent="-457200">
              <a:buFont typeface="Arial" panose="020B0604020202020204" pitchFamily="34" charset="0"/>
              <a:buChar char="•"/>
            </a:pPr>
            <a:r>
              <a:rPr lang="en-US" sz="2400" dirty="0">
                <a:solidFill>
                  <a:srgbClr val="575757"/>
                </a:solidFill>
              </a:rPr>
              <a:t>Health indicators?....</a:t>
            </a:r>
          </a:p>
          <a:p>
            <a:pPr marL="457200" indent="-457200">
              <a:buFont typeface="Arial" panose="020B0604020202020204" pitchFamily="34" charset="0"/>
              <a:buChar char="•"/>
            </a:pPr>
            <a:endParaRPr lang="en-US" sz="2800" dirty="0">
              <a:solidFill>
                <a:srgbClr val="575757"/>
              </a:solidFill>
            </a:endParaRPr>
          </a:p>
          <a:p>
            <a:pPr marL="457200" indent="-457200">
              <a:buFont typeface="Arial" panose="020B0604020202020204" pitchFamily="34" charset="0"/>
              <a:buChar char="•"/>
            </a:pPr>
            <a:endParaRPr lang="en-US" sz="2800" dirty="0">
              <a:solidFill>
                <a:srgbClr val="575757"/>
              </a:solidFill>
            </a:endParaRPr>
          </a:p>
          <a:p>
            <a:pPr marL="457200" indent="-457200">
              <a:buFont typeface="Arial" panose="020B0604020202020204" pitchFamily="34" charset="0"/>
              <a:buChar char="•"/>
            </a:pPr>
            <a:endParaRPr lang="en-US" sz="2800" dirty="0">
              <a:solidFill>
                <a:srgbClr val="575757"/>
              </a:solidFill>
            </a:endParaRPr>
          </a:p>
        </p:txBody>
      </p:sp>
    </p:spTree>
    <p:extLst>
      <p:ext uri="{BB962C8B-B14F-4D97-AF65-F5344CB8AC3E}">
        <p14:creationId xmlns:p14="http://schemas.microsoft.com/office/powerpoint/2010/main" val="2527067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315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MASTERWIZARD_MARGINS" val="0"/>
  <p:tag name="EE4P_LANGUAGE_ID" val="1033"/>
  <p:tag name="EE4P_STYLE_ID" val="L5qexLe0"/>
  <p:tag name="EE4P_STYLE_NAME" val="BCG Henderson Institute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SJlWBmYTyi9sWBzW_s3Gg"/>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_d0qExZjRRS6rQD8QO0z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H01BdjNSymz2ITOD1bn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2VlPJrRR4aYy5dJfRqq2Q"/>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BCG Grid 16:9">
  <a:themeElements>
    <a:clrScheme name="BCG Henderson Institute">
      <a:dk1>
        <a:srgbClr val="575757"/>
      </a:dk1>
      <a:lt1>
        <a:sysClr val="window" lastClr="FFFFFF"/>
      </a:lt1>
      <a:dk2>
        <a:srgbClr val="60C090"/>
      </a:dk2>
      <a:lt2>
        <a:srgbClr val="F2F2F2"/>
      </a:lt2>
      <a:accent1>
        <a:srgbClr val="215649"/>
      </a:accent1>
      <a:accent2>
        <a:srgbClr val="97DF65"/>
      </a:accent2>
      <a:accent3>
        <a:srgbClr val="FFFF00"/>
      </a:accent3>
      <a:accent4>
        <a:srgbClr val="44AD93"/>
      </a:accent4>
      <a:accent5>
        <a:srgbClr val="797979"/>
      </a:accent5>
      <a:accent6>
        <a:srgbClr val="00B0F0"/>
      </a:accent6>
      <a:hlink>
        <a:srgbClr val="7030A0"/>
      </a:hlink>
      <a:folHlink>
        <a:srgbClr val="7030A0"/>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0C090"/>
        </a:solidFill>
        <a:ln w="9525" cap="rnd" cmpd="sng" algn="ctr">
          <a:solidFill>
            <a:srgbClr val="60C09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6126517997334D91E53431C65E4D6B" ma:contentTypeVersion="10" ma:contentTypeDescription="Create a new document." ma:contentTypeScope="" ma:versionID="0a2afeaf563955a2cf8776e8f1437095">
  <xsd:schema xmlns:xsd="http://www.w3.org/2001/XMLSchema" xmlns:xs="http://www.w3.org/2001/XMLSchema" xmlns:p="http://schemas.microsoft.com/office/2006/metadata/properties" xmlns:ns2="26c2e727-2f0d-48bf-9251-b80434e351af" xmlns:ns3="67d0f3fe-3e97-4055-b051-a9bc1cbd7eef" targetNamespace="http://schemas.microsoft.com/office/2006/metadata/properties" ma:root="true" ma:fieldsID="1ea7ee5c17973b052f0fbe2db2f0a029" ns2:_="" ns3:_="">
    <xsd:import namespace="26c2e727-2f0d-48bf-9251-b80434e351af"/>
    <xsd:import namespace="67d0f3fe-3e97-4055-b051-a9bc1cbd7e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Locatio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c2e727-2f0d-48bf-9251-b80434e351a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d0f3fe-3e97-4055-b051-a9bc1cbd7eef" elementFormDefault="qualified">
    <xsd:import namespace="http://schemas.microsoft.com/office/2006/documentManagement/types"/>
    <xsd:import namespace="http://schemas.microsoft.com/office/infopath/2007/PartnerControls"/>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B8CA3AE-EB0E-4CAB-89A5-310164ACA22C}"/>
</file>

<file path=customXml/itemProps2.xml><?xml version="1.0" encoding="utf-8"?>
<ds:datastoreItem xmlns:ds="http://schemas.openxmlformats.org/officeDocument/2006/customXml" ds:itemID="{1EA86E69-C522-4FCD-8D7E-5B15929A7E60}"/>
</file>

<file path=customXml/itemProps3.xml><?xml version="1.0" encoding="utf-8"?>
<ds:datastoreItem xmlns:ds="http://schemas.openxmlformats.org/officeDocument/2006/customXml" ds:itemID="{2B1BBE38-A559-4026-A8EC-F1769687D5C1}"/>
</file>

<file path=docProps/app.xml><?xml version="1.0" encoding="utf-8"?>
<Properties xmlns="http://schemas.openxmlformats.org/officeDocument/2006/extended-properties" xmlns:vt="http://schemas.openxmlformats.org/officeDocument/2006/docPropsVTypes">
  <Template/>
  <TotalTime>154</TotalTime>
  <Words>226</Words>
  <Application>Microsoft Macintosh PowerPoint</Application>
  <PresentationFormat>Widescreen</PresentationFormat>
  <Paragraphs>61</Paragraphs>
  <Slides>6</Slides>
  <Notes>0</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ariant>
        <vt:lpstr>Custom Shows</vt:lpstr>
      </vt:variant>
      <vt:variant>
        <vt:i4>1</vt:i4>
      </vt:variant>
    </vt:vector>
  </HeadingPairs>
  <TitlesOfParts>
    <vt:vector size="12" baseType="lpstr">
      <vt:lpstr>Arial</vt:lpstr>
      <vt:lpstr>MV Boli</vt:lpstr>
      <vt:lpstr>Trebuchet MS</vt:lpstr>
      <vt:lpstr>BCG Grid 16:9</vt:lpstr>
      <vt:lpstr>think-cell Slide</vt:lpstr>
      <vt:lpstr>Ecosystem strategy?</vt:lpstr>
      <vt:lpstr>What is a business ecosystem?</vt:lpstr>
      <vt:lpstr>When do you need an ecosystem? </vt:lpstr>
      <vt:lpstr>How to develop an ecosystem?</vt:lpstr>
      <vt:lpstr>Old wine in new bottles?</vt:lpstr>
      <vt:lpstr>PowerPoint Presentation</vt:lpstr>
      <vt:lpstr>Format Guide Workshop</vt:lpstr>
    </vt:vector>
  </TitlesOfParts>
  <Company>The Boston Consulting Group</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Torres, Nicole</cp:lastModifiedBy>
  <cp:revision>426</cp:revision>
  <cp:lastPrinted>2000-01-01T05:00:00Z</cp:lastPrinted>
  <dcterms:created xsi:type="dcterms:W3CDTF">2019-11-05T20:28:27Z</dcterms:created>
  <dcterms:modified xsi:type="dcterms:W3CDTF">2019-11-20T15:4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C96126517997334D91E53431C65E4D6B</vt:lpwstr>
  </property>
</Properties>
</file>